
<file path=[Content_Types].xml><?xml version="1.0" encoding="utf-8"?>
<Types xmlns="http://schemas.openxmlformats.org/package/2006/content-types">
  <Override PartName="/ppt/tags/tag8.xml" ContentType="application/vnd.openxmlformats-officedocument.presentationml.tags+xml"/>
  <Override PartName="/ppt/tags/tag140.xml" ContentType="application/vnd.openxmlformats-officedocument.presentationml.tags+xml"/>
  <Override PartName="/ppt/tags/tag238.xml" ContentType="application/vnd.openxmlformats-officedocument.presentationml.tags+xml"/>
  <Override PartName="/ppt/tags/tag285.xml" ContentType="application/vnd.openxmlformats-officedocument.presentationml.tags+xml"/>
  <Override PartName="/ppt/slideLayouts/slideLayout2.xml" ContentType="application/vnd.openxmlformats-officedocument.presentationml.slideLayout+xml"/>
  <Override PartName="/ppt/tags/tag216.xml" ContentType="application/vnd.openxmlformats-officedocument.presentationml.tags+xml"/>
  <Override PartName="/ppt/tags/tag263.xml" ContentType="application/vnd.openxmlformats-officedocument.presentationml.tags+xml"/>
  <Default Extension="xml" ContentType="application/xml"/>
  <Override PartName="/ppt/tags/tag38.xml" ContentType="application/vnd.openxmlformats-officedocument.presentationml.tags+xml"/>
  <Override PartName="/ppt/tags/tag85.xml" ContentType="application/vnd.openxmlformats-officedocument.presentationml.tags+xml"/>
  <Override PartName="/ppt/tags/tag241.xml" ContentType="application/vnd.openxmlformats-officedocument.presentationml.tags+xml"/>
  <Override PartName="/ppt/tags/tag339.xml" ContentType="application/vnd.openxmlformats-officedocument.presentationml.tags+xml"/>
  <Override PartName="/ppt/tags/tag16.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tags/tag317.xml" ContentType="application/vnd.openxmlformats-officedocument.presentationml.tags+xml"/>
  <Override PartName="/ppt/tags/tag364.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41.xml" ContentType="application/vnd.openxmlformats-officedocument.presentationml.tags+xml"/>
  <Override PartName="/ppt/tags/tag279.xml" ContentType="application/vnd.openxmlformats-officedocument.presentationml.tags+xml"/>
  <Override PartName="/ppt/tags/tag342.xml" ContentType="application/vnd.openxmlformats-officedocument.presentationml.tags+xml"/>
  <Override PartName="/ppt/tags/tag134.xml" ContentType="application/vnd.openxmlformats-officedocument.presentationml.tags+xml"/>
  <Override PartName="/ppt/tags/tag181.xml" ContentType="application/vnd.openxmlformats-officedocument.presentationml.tags+xml"/>
  <Override PartName="/ppt/tags/tag320.xml" ContentType="application/vnd.openxmlformats-officedocument.presentationml.tags+xml"/>
  <Default Extension="png" ContentType="image/png"/>
  <Override PartName="/ppt/tags/tag112.xml" ContentType="application/vnd.openxmlformats-officedocument.presentationml.tags+xml"/>
  <Override PartName="/ppt/tags/tag257.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Default Extension="emf" ContentType="image/x-emf"/>
  <Override PartName="/ppt/tags/tag68.xml" ContentType="application/vnd.openxmlformats-officedocument.presentationml.tags+xml"/>
  <Override PartName="/ppt/tags/tag224.xml" ContentType="application/vnd.openxmlformats-officedocument.presentationml.tags+xml"/>
  <Override PartName="/ppt/tags/tag235.xml" ContentType="application/vnd.openxmlformats-officedocument.presentationml.tags+xml"/>
  <Override PartName="/ppt/tags/tag271.xml" ContentType="application/vnd.openxmlformats-officedocument.presentationml.tags+xml"/>
  <Override PartName="/ppt/tags/tag282.xml" ContentType="application/vnd.openxmlformats-officedocument.presentationml.tags+xml"/>
  <Override PartName="/ppt/tags/tag369.xml" ContentType="application/vnd.openxmlformats-officedocument.presentationml.tags+xml"/>
  <Override PartName="/ppt/presentation.xml" ContentType="application/vnd.openxmlformats-officedocument.presentationml.presentation.main+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ppt/tags/tag347.xml" ContentType="application/vnd.openxmlformats-officedocument.presentationml.tags+xml"/>
  <Override PartName="/ppt/tags/tag35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35.xml" ContentType="application/vnd.openxmlformats-officedocument.presentationml.tags+xml"/>
  <Override PartName="/ppt/tags/tag46.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197.xml" ContentType="application/vnd.openxmlformats-officedocument.presentationml.tags+xml"/>
  <Override PartName="/ppt/tags/tag202.xml" ContentType="application/vnd.openxmlformats-officedocument.presentationml.tags+xml"/>
  <Override PartName="/ppt/tags/tag336.xml" ContentType="application/vnd.openxmlformats-officedocument.presentationml.tags+xml"/>
  <Override PartName="/ppt/tags/tag383.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325.xml" ContentType="application/vnd.openxmlformats-officedocument.presentationml.tags+xml"/>
  <Override PartName="/ppt/tags/tag372.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361.xml" ContentType="application/vnd.openxmlformats-officedocument.presentationml.tags+xml"/>
  <Override PartName="/ppt/tags/tag106.xml" ContentType="application/vnd.openxmlformats-officedocument.presentationml.tags+xml"/>
  <Override PartName="/ppt/tags/tag142.xml" ContentType="application/vnd.openxmlformats-officedocument.presentationml.tags+xml"/>
  <Override PartName="/ppt/tags/tag153.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tags/tag350.xml" ContentType="application/vnd.openxmlformats-officedocument.presentationml.tags+xml"/>
  <Override PartName="/ppt/tags/tag131.xml" ContentType="application/vnd.openxmlformats-officedocument.presentationml.tags+xml"/>
  <Override PartName="/ppt/tags/tag229.xml" ContentType="application/vnd.openxmlformats-officedocument.presentationml.tags+xml"/>
  <Override PartName="/ppt/tags/tag276.xml" ContentType="application/vnd.openxmlformats-officedocument.presentationml.tags+xml"/>
  <Override PartName="/ppt/slideLayouts/slideLayout4.xml" ContentType="application/vnd.openxmlformats-officedocument.presentationml.slideLayout+xml"/>
  <Override PartName="/ppt/tags/tag98.xml" ContentType="application/vnd.openxmlformats-officedocument.presentationml.tags+xml"/>
  <Override PartName="/ppt/tags/tag120.xml" ContentType="application/vnd.openxmlformats-officedocument.presentationml.tags+xml"/>
  <Override PartName="/ppt/tags/tag207.xml" ContentType="application/vnd.openxmlformats-officedocument.presentationml.tags+xml"/>
  <Override PartName="/ppt/tags/tag218.xml" ContentType="application/vnd.openxmlformats-officedocument.presentationml.tags+xml"/>
  <Override PartName="/ppt/tags/tag254.xml" ContentType="application/vnd.openxmlformats-officedocument.presentationml.tags+xml"/>
  <Override PartName="/ppt/tags/tag265.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tags/tag87.xml" ContentType="application/vnd.openxmlformats-officedocument.presentationml.tags+xml"/>
  <Override PartName="/ppt/tags/tag243.xml" ContentType="application/vnd.openxmlformats-officedocument.presentationml.tags+xml"/>
  <Override PartName="/ppt/tags/tag290.xml" ContentType="application/vnd.openxmlformats-officedocument.presentationml.tags+xml"/>
  <Override PartName="/ppt/tags/tag2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19.xml" ContentType="application/vnd.openxmlformats-officedocument.presentationml.tags+xml"/>
  <Override PartName="/ppt/tags/tag366.xml" ContentType="application/vnd.openxmlformats-officedocument.presentationml.tags+xml"/>
  <Override PartName="/ppt/tags/tag377.xml" ContentType="application/vnd.openxmlformats-officedocument.presentationml.tags+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221.xml" ContentType="application/vnd.openxmlformats-officedocument.presentationml.tags+xml"/>
  <Override PartName="/ppt/tags/tag308.xml" ContentType="application/vnd.openxmlformats-officedocument.presentationml.tags+xml"/>
  <Override PartName="/ppt/tags/tag355.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tags/tag344.xml" ContentType="application/vnd.openxmlformats-officedocument.presentationml.tags+xml"/>
  <Override PartName="/ppt/tags/tag32.xml" ContentType="application/vnd.openxmlformats-officedocument.presentationml.tags+xml"/>
  <Override PartName="/ppt/tags/tag136.xml" ContentType="application/vnd.openxmlformats-officedocument.presentationml.tags+xml"/>
  <Override PartName="/ppt/tags/tag183.xml" ContentType="application/vnd.openxmlformats-officedocument.presentationml.tags+xml"/>
  <Override PartName="/ppt/tags/tag322.xml" ContentType="application/vnd.openxmlformats-officedocument.presentationml.tags+xml"/>
  <Override PartName="/ppt/tags/tag333.xml" ContentType="application/vnd.openxmlformats-officedocument.presentationml.tags+xml"/>
  <Override PartName="/ppt/tags/tag38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tags/tag259.xml" ContentType="application/vnd.openxmlformats-officedocument.presentationml.tags+xml"/>
  <Override PartName="/ppt/tags/tag311.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103.xml" ContentType="application/vnd.openxmlformats-officedocument.presentationml.tags+xml"/>
  <Override PartName="/ppt/tags/tag150.xml" ContentType="application/vnd.openxmlformats-officedocument.presentationml.tags+xml"/>
  <Override PartName="/ppt/tags/tag248.xml" ContentType="application/vnd.openxmlformats-officedocument.presentationml.tags+xml"/>
  <Override PartName="/ppt/tags/tag295.xml" ContentType="application/vnd.openxmlformats-officedocument.presentationml.tags+xml"/>
  <Override PartName="/ppt/tags/tag300.xml" ContentType="application/vnd.openxmlformats-officedocument.presentationml.tags+xml"/>
  <Override PartName="/ppt/tags/tag226.xml" ContentType="application/vnd.openxmlformats-officedocument.presentationml.tags+xml"/>
  <Override PartName="/ppt/tags/tag237.xml" ContentType="application/vnd.openxmlformats-officedocument.presentationml.tags+xml"/>
  <Override PartName="/ppt/tags/tag273.xml" ContentType="application/vnd.openxmlformats-officedocument.presentationml.tags+xml"/>
  <Override PartName="/ppt/tags/tag284.xml" ContentType="application/vnd.openxmlformats-officedocument.presentationml.tags+xml"/>
  <Override PartName="/ppt/tags/tag59.xml" ContentType="application/vnd.openxmlformats-officedocument.presentationml.tags+xml"/>
  <Override PartName="/ppt/tags/tag215.xml" ContentType="application/vnd.openxmlformats-officedocument.presentationml.tags+xml"/>
  <Override PartName="/ppt/tags/tag262.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199.xml" ContentType="application/vnd.openxmlformats-officedocument.presentationml.tags+xml"/>
  <Override PartName="/ppt/tags/tag204.xml" ContentType="application/vnd.openxmlformats-officedocument.presentationml.tags+xml"/>
  <Override PartName="/ppt/tags/tag251.xml" ContentType="application/vnd.openxmlformats-officedocument.presentationml.tags+xml"/>
  <Override PartName="/ppt/tags/tag338.xml" ContentType="application/vnd.openxmlformats-officedocument.presentationml.tags+xml"/>
  <Override PartName="/ppt/tags/tag349.xml" ContentType="application/vnd.openxmlformats-officedocument.presentationml.tags+xml"/>
  <Override PartName="/ppt/tags/tag385.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tags/tag177.xml" ContentType="application/vnd.openxmlformats-officedocument.presentationml.tags+xml"/>
  <Override PartName="/ppt/tags/tag240.xml" ContentType="application/vnd.openxmlformats-officedocument.presentationml.tags+xml"/>
  <Override PartName="/ppt/tags/tag327.xml" ContentType="application/vnd.openxmlformats-officedocument.presentationml.tags+xml"/>
  <Override PartName="/ppt/tags/tag374.xml" ContentType="application/vnd.openxmlformats-officedocument.presentationml.tags+xml"/>
  <Override PartName="/ppt/ink/ink1.xml" ContentType="application/inkml+xml"/>
  <Override PartName="/ppt/tags/tag15.xml" ContentType="application/vnd.openxmlformats-officedocument.presentationml.tags+xml"/>
  <Override PartName="/ppt/tags/tag62.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tags/tag316.xml" ContentType="application/vnd.openxmlformats-officedocument.presentationml.tags+xml"/>
  <Override PartName="/ppt/tags/tag363.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tags/tag289.xml" ContentType="application/vnd.openxmlformats-officedocument.presentationml.tags+xml"/>
  <Override PartName="/ppt/tags/tag305.xml" ContentType="application/vnd.openxmlformats-officedocument.presentationml.tags+xml"/>
  <Override PartName="/ppt/tags/tag341.xml" ContentType="application/vnd.openxmlformats-officedocument.presentationml.tags+xml"/>
  <Override PartName="/ppt/tags/tag352.xml" ContentType="application/vnd.openxmlformats-officedocument.presentationml.tags+xml"/>
  <Override PartName="/ppt/tags/tag133.xml" ContentType="application/vnd.openxmlformats-officedocument.presentationml.tags+xml"/>
  <Override PartName="/ppt/tags/tag144.xml" ContentType="application/vnd.openxmlformats-officedocument.presentationml.tags+xml"/>
  <Override PartName="/ppt/tags/tag180.xml" ContentType="application/vnd.openxmlformats-officedocument.presentationml.tags+xml"/>
  <Override PartName="/ppt/tags/tag191.xml" ContentType="application/vnd.openxmlformats-officedocument.presentationml.tags+xml"/>
  <Override PartName="/ppt/tags/tag278.xml" ContentType="application/vnd.openxmlformats-officedocument.presentationml.tags+xml"/>
  <Override PartName="/ppt/tags/tag330.xml" ContentType="application/vnd.openxmlformats-officedocument.presentationml.tags+xml"/>
  <Override PartName="/ppt/tags/tag122.xml" ContentType="application/vnd.openxmlformats-officedocument.presentationml.tags+xml"/>
  <Override PartName="/ppt/tags/tag209.xml" ContentType="application/vnd.openxmlformats-officedocument.presentationml.tags+xml"/>
  <Override PartName="/ppt/tags/tag256.xml" ContentType="application/vnd.openxmlformats-officedocument.presentationml.tags+xml"/>
  <Override PartName="/ppt/tags/tag267.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tags/tag245.xml" ContentType="application/vnd.openxmlformats-officedocument.presentationml.tags+xml"/>
  <Override PartName="/ppt/tags/tag292.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tags/tag234.xml" ContentType="application/vnd.openxmlformats-officedocument.presentationml.tags+xml"/>
  <Override PartName="/ppt/tags/tag281.xml" ContentType="application/vnd.openxmlformats-officedocument.presentationml.tags+xml"/>
  <Override PartName="/ppt/tags/tag368.xml" ContentType="application/vnd.openxmlformats-officedocument.presentationml.tags+xml"/>
  <Override PartName="/ppt/tags/tag379.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tags/tag270.xml" ContentType="application/vnd.openxmlformats-officedocument.presentationml.tags+xml"/>
  <Override PartName="/ppt/tags/tag357.xml" ContentType="application/vnd.openxmlformats-officedocument.presentationml.tags+xml"/>
  <Override PartName="/ppt/slides/slide10.xml" ContentType="application/vnd.openxmlformats-officedocument.presentationml.slide+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ppt/tags/tag346.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324.xml" ContentType="application/vnd.openxmlformats-officedocument.presentationml.tags+xml"/>
  <Override PartName="/ppt/tags/tag335.xml" ContentType="application/vnd.openxmlformats-officedocument.presentationml.tags+xml"/>
  <Override PartName="/ppt/tags/tag371.xml" ContentType="application/vnd.openxmlformats-officedocument.presentationml.tags+xml"/>
  <Override PartName="/ppt/tags/tag38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tags/tag360.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tags/tag302.xml" ContentType="application/vnd.openxmlformats-officedocument.presentationml.tags+xml"/>
  <Override PartName="/ppt/tags/tag141.xml" ContentType="application/vnd.openxmlformats-officedocument.presentationml.tags+xml"/>
  <Override PartName="/ppt/tags/tag228.xml" ContentType="application/vnd.openxmlformats-officedocument.presentationml.tags+xml"/>
  <Override PartName="/ppt/tags/tag239.xml" ContentType="application/vnd.openxmlformats-officedocument.presentationml.tags+xml"/>
  <Override PartName="/ppt/tags/tag275.xml" ContentType="application/vnd.openxmlformats-officedocument.presentationml.tags+xml"/>
  <Override PartName="/ppt/tags/tag286.xml" ContentType="application/vnd.openxmlformats-officedocument.presentationml.tags+xml"/>
  <Override PartName="/ppt/presProps.xml" ContentType="application/vnd.openxmlformats-officedocument.presentationml.presProps+xml"/>
  <Override PartName="/ppt/tags/tag130.xml" ContentType="application/vnd.openxmlformats-officedocument.presentationml.tags+xml"/>
  <Override PartName="/ppt/tags/tag217.xml" ContentType="application/vnd.openxmlformats-officedocument.presentationml.tags+xml"/>
  <Override PartName="/ppt/tags/tag264.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tags/tag75.xml" ContentType="application/vnd.openxmlformats-officedocument.presentationml.tags+xml"/>
  <Override PartName="/ppt/tags/tag179.xml" ContentType="application/vnd.openxmlformats-officedocument.presentationml.tags+xml"/>
  <Override PartName="/ppt/tags/tag231.xml" ContentType="application/vnd.openxmlformats-officedocument.presentationml.tags+xml"/>
  <Override PartName="/ppt/tags/tag242.xml" ContentType="application/vnd.openxmlformats-officedocument.presentationml.tags+xml"/>
  <Override PartName="/ppt/tags/tag329.xml" ContentType="application/vnd.openxmlformats-officedocument.presentationml.tags+xml"/>
  <Override PartName="/ppt/tags/tag376.xml" ContentType="application/vnd.openxmlformats-officedocument.presentationml.tags+xml"/>
  <Override PartName="/ppt/tags/tag17.xml" ContentType="application/vnd.openxmlformats-officedocument.presentationml.tags+xml"/>
  <Override PartName="/ppt/tags/tag64.xml" ContentType="application/vnd.openxmlformats-officedocument.presentationml.tags+xml"/>
  <Override PartName="/ppt/tags/tag168.xml" ContentType="application/vnd.openxmlformats-officedocument.presentationml.tags+xml"/>
  <Override PartName="/ppt/tags/tag220.xml" ContentType="application/vnd.openxmlformats-officedocument.presentationml.tags+xml"/>
  <Override PartName="/ppt/tags/tag318.xml" ContentType="application/vnd.openxmlformats-officedocument.presentationml.tags+xml"/>
  <Override PartName="/ppt/tags/tag365.xml" ContentType="application/vnd.openxmlformats-officedocument.presentationml.tags+xml"/>
  <Default Extension="wdp" ContentType="image/vnd.ms-photo"/>
  <Override PartName="/ppt/tags/tag53.xml" ContentType="application/vnd.openxmlformats-officedocument.presentationml.tags+xml"/>
  <Override PartName="/ppt/tags/tag157.xml" ContentType="application/vnd.openxmlformats-officedocument.presentationml.tags+xml"/>
  <Override PartName="/ppt/tags/tag307.xml" ContentType="application/vnd.openxmlformats-officedocument.presentationml.tags+xml"/>
  <Override PartName="/ppt/tags/tag343.xml" ContentType="application/vnd.openxmlformats-officedocument.presentationml.tags+xml"/>
  <Override PartName="/ppt/tags/tag354.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tags/tag332.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32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tags/tag113.xml" ContentType="application/vnd.openxmlformats-officedocument.presentationml.tags+xml"/>
  <Override PartName="/ppt/tags/tag160.xml" ContentType="application/vnd.openxmlformats-officedocument.presentationml.tags+xml"/>
  <Override PartName="/ppt/tags/tag247.xml" ContentType="application/vnd.openxmlformats-officedocument.presentationml.tags+xml"/>
  <Override PartName="/ppt/tags/tag258.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slideMasters/slideMaster1.xml" ContentType="application/vnd.openxmlformats-officedocument.presentationml.slideMaster+xml"/>
  <Override PartName="/ppt/theme/theme3.xml" ContentType="application/vnd.openxmlformats-officedocument.theme+xml"/>
  <Override PartName="/ppt/tags/tag102.xml" ContentType="application/vnd.openxmlformats-officedocument.presentationml.tags+xml"/>
  <Override PartName="/ppt/tags/tag236.xml" ContentType="application/vnd.openxmlformats-officedocument.presentationml.tags+xml"/>
  <Override PartName="/ppt/tags/tag283.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Override PartName="/ppt/tags/tag359.xml" ContentType="application/vnd.openxmlformats-officedocument.presentationml.tags+xml"/>
  <Default Extension="rels" ContentType="application/vnd.openxmlformats-package.relationships+xml"/>
  <Override PartName="/ppt/tags/tag47.xml" ContentType="application/vnd.openxmlformats-officedocument.presentationml.tags+xml"/>
  <Override PartName="/ppt/tags/tag94.xml" ContentType="application/vnd.openxmlformats-officedocument.presentationml.tags+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tags/tag250.xml" ContentType="application/vnd.openxmlformats-officedocument.presentationml.tags+xml"/>
  <Override PartName="/ppt/tags/tag261.xml" ContentType="application/vnd.openxmlformats-officedocument.presentationml.tags+xml"/>
  <Override PartName="/ppt/tags/tag348.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tags/tag187.xml" ContentType="application/vnd.openxmlformats-officedocument.presentationml.tags+xml"/>
  <Override PartName="/ppt/tags/tag337.xml" ContentType="application/vnd.openxmlformats-officedocument.presentationml.tags+xml"/>
  <Override PartName="/ppt/tags/tag384.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tags/tag315.xml" ContentType="application/vnd.openxmlformats-officedocument.presentationml.tags+xml"/>
  <Override PartName="/ppt/tags/tag326.xml" ContentType="application/vnd.openxmlformats-officedocument.presentationml.tags+xml"/>
  <Override PartName="/ppt/tags/tag362.xml" ContentType="application/vnd.openxmlformats-officedocument.presentationml.tags+xml"/>
  <Override PartName="/ppt/tags/tag373.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tags/tag299.xml" ContentType="application/vnd.openxmlformats-officedocument.presentationml.tags+xml"/>
  <Override PartName="/ppt/tags/tag304.xml" ContentType="application/vnd.openxmlformats-officedocument.presentationml.tags+xml"/>
  <Override PartName="/ppt/tags/tag351.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tags/tag277.xml" ContentType="application/vnd.openxmlformats-officedocument.presentationml.tags+xml"/>
  <Override PartName="/ppt/tags/tag288.xml" ContentType="application/vnd.openxmlformats-officedocument.presentationml.tags+xml"/>
  <Override PartName="/ppt/tags/tag340.xml" ContentType="application/vnd.openxmlformats-officedocument.presentationml.tags+xml"/>
  <Override PartName="/ppt/tags/tag132.xml" ContentType="application/vnd.openxmlformats-officedocument.presentationml.tags+xml"/>
  <Override PartName="/ppt/tags/tag219.xml" ContentType="application/vnd.openxmlformats-officedocument.presentationml.tags+xml"/>
  <Override PartName="/ppt/tags/tag266.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tags/tag208.xml" ContentType="application/vnd.openxmlformats-officedocument.presentationml.tags+xml"/>
  <Override PartName="/ppt/tags/tag255.xml" ContentType="application/vnd.openxmlformats-officedocument.presentationml.tags+xml"/>
  <Override PartName="/ppt/slideLayouts/slideLayout16.xml" ContentType="application/vnd.openxmlformats-officedocument.presentationml.slideLayout+xml"/>
  <Default Extension="jpeg" ContentType="image/jpeg"/>
  <Override PartName="/ppt/tags/tag3.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tags/tag233.xml" ContentType="application/vnd.openxmlformats-officedocument.presentationml.tags+xml"/>
  <Override PartName="/ppt/tags/tag244.xml" ContentType="application/vnd.openxmlformats-officedocument.presentationml.tags+xml"/>
  <Override PartName="/ppt/tags/tag280.xml" ContentType="application/vnd.openxmlformats-officedocument.presentationml.tags+xml"/>
  <Override PartName="/ppt/tags/tag291.xml" ContentType="application/vnd.openxmlformats-officedocument.presentationml.tags+xml"/>
  <Override PartName="/ppt/tags/tag378.xml" ContentType="application/vnd.openxmlformats-officedocument.presentationml.tags+xml"/>
  <Override PartName="/ppt/tags/tag19.xml" ContentType="application/vnd.openxmlformats-officedocument.presentationml.tags+xml"/>
  <Override PartName="/ppt/tags/tag66.xml" ContentType="application/vnd.openxmlformats-officedocument.presentationml.tags+xml"/>
  <Override PartName="/ppt/tags/tag222.xml" ContentType="application/vnd.openxmlformats-officedocument.presentationml.tags+xml"/>
  <Override PartName="/ppt/tags/tag367.xml" ContentType="application/vnd.openxmlformats-officedocument.presentationml.tags+xml"/>
  <Override PartName="/ppt/tags/tag55.xml" ContentType="application/vnd.openxmlformats-officedocument.presentationml.tags+xml"/>
  <Override PartName="/ppt/tags/tag159.xml" ContentType="application/vnd.openxmlformats-officedocument.presentationml.tags+xml"/>
  <Override PartName="/ppt/tags/tag211.xml" ContentType="application/vnd.openxmlformats-officedocument.presentationml.tags+xml"/>
  <Override PartName="/ppt/tags/tag309.xml" ContentType="application/vnd.openxmlformats-officedocument.presentationml.tags+xml"/>
  <Override PartName="/ppt/tags/tag345.xml" ContentType="application/vnd.openxmlformats-officedocument.presentationml.tags+xml"/>
  <Override PartName="/ppt/tags/tag356.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tags/tag334.xml" ContentType="application/vnd.openxmlformats-officedocument.presentationml.tags+xml"/>
  <Override PartName="/ppt/tags/tag381.xml" ContentType="application/vnd.openxmlformats-officedocument.presentationml.tags+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tags/tag323.xml" ContentType="application/vnd.openxmlformats-officedocument.presentationml.tags+xml"/>
  <Override PartName="/ppt/tags/tag370.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tags/tag249.xml" ContentType="application/vnd.openxmlformats-officedocument.presentationml.tags+xml"/>
  <Override PartName="/ppt/tags/tag296.xml" ContentType="application/vnd.openxmlformats-officedocument.presentationml.tags+xml"/>
  <Override PartName="/ppt/tags/tag301.xml" ContentType="application/vnd.openxmlformats-officedocument.presentationml.tags+xml"/>
  <Override PartName="/ppt/tags/tag312.xml" ContentType="application/vnd.openxmlformats-officedocument.presentationml.tags+xml"/>
  <Override PartName="/ppt/tags/tag104.xml" ContentType="application/vnd.openxmlformats-officedocument.presentationml.tags+xml"/>
  <Override PartName="/ppt/tags/tag151.xml" ContentType="application/vnd.openxmlformats-officedocument.presentationml.tags+xml"/>
  <Override PartName="/ppt/tags/tag227.xml" ContentType="application/vnd.openxmlformats-officedocument.presentationml.tags+xml"/>
  <Override PartName="/ppt/tags/tag274.xml" ContentType="application/vnd.openxmlformats-officedocument.presentationml.tags+xml"/>
  <Override PartName="/ppt/tags/tag49.xml" ContentType="application/vnd.openxmlformats-officedocument.presentationml.tags+xml"/>
  <Override PartName="/ppt/tags/tag96.xml" ContentType="application/vnd.openxmlformats-officedocument.presentationml.tags+xml"/>
  <Override PartName="/ppt/tags/tag205.xml" ContentType="application/vnd.openxmlformats-officedocument.presentationml.tags+xml"/>
  <Override PartName="/ppt/tags/tag252.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189.xml" ContentType="application/vnd.openxmlformats-officedocument.presentationml.tags+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328.xml" ContentType="application/vnd.openxmlformats-officedocument.presentationml.tags+xml"/>
  <Override PartName="/ppt/tags/tag375.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06.xml" ContentType="application/vnd.openxmlformats-officedocument.presentationml.tags+xml"/>
  <Override PartName="/ppt/tags/tag353.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tags/tag30.xml" ContentType="application/vnd.openxmlformats-officedocument.presentationml.tags+xml"/>
  <Override PartName="/ppt/tags/tag268.xml" ContentType="application/vnd.openxmlformats-officedocument.presentationml.tags+xml"/>
  <Override PartName="/ppt/tags/tag331.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tags/tag123.xml" ContentType="application/vnd.openxmlformats-officedocument.presentationml.tags+xml"/>
  <Override PartName="/ppt/tags/tag170.xml" ContentType="application/vnd.openxmlformats-officedocument.presentationml.tags+xml"/>
  <Override PartName="/ppt/tags/tag101.xml" ContentType="application/vnd.openxmlformats-officedocument.presentationml.tags+xml"/>
  <Override PartName="/ppt/tags/tag246.xml" ContentType="application/vnd.openxmlformats-officedocument.presentationml.tags+xml"/>
  <Override PartName="/ppt/tags/tag293.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1"/>
  </p:sldMasterIdLst>
  <p:notesMasterIdLst>
    <p:notesMasterId r:id="rId20"/>
  </p:notesMasterIdLst>
  <p:handoutMasterIdLst>
    <p:handoutMasterId r:id="rId21"/>
  </p:handoutMasterIdLst>
  <p:sldIdLst>
    <p:sldId id="669" r:id="rId2"/>
    <p:sldId id="677" r:id="rId3"/>
    <p:sldId id="693" r:id="rId4"/>
    <p:sldId id="678" r:id="rId5"/>
    <p:sldId id="685" r:id="rId6"/>
    <p:sldId id="707" r:id="rId7"/>
    <p:sldId id="686" r:id="rId8"/>
    <p:sldId id="698" r:id="rId9"/>
    <p:sldId id="681" r:id="rId10"/>
    <p:sldId id="710" r:id="rId11"/>
    <p:sldId id="711" r:id="rId12"/>
    <p:sldId id="687" r:id="rId13"/>
    <p:sldId id="705" r:id="rId14"/>
    <p:sldId id="706" r:id="rId15"/>
    <p:sldId id="702" r:id="rId16"/>
    <p:sldId id="703" r:id="rId17"/>
    <p:sldId id="708" r:id="rId18"/>
    <p:sldId id="709" r:id="rId19"/>
  </p:sldIdLst>
  <p:sldSz cx="9144000" cy="6858000" type="screen4x3"/>
  <p:notesSz cx="6797675" cy="9872663"/>
  <p:custDataLst>
    <p:tags r:id="rId22"/>
  </p:custDataLst>
  <p:defaultTextStyle>
    <a:defPPr>
      <a:defRPr lang="en-US"/>
    </a:defPPr>
    <a:lvl1pPr marL="0" algn="l" defTabSz="914353" rtl="0" eaLnBrk="1" latinLnBrk="0" hangingPunct="1">
      <a:defRPr sz="1800" kern="1200">
        <a:solidFill>
          <a:schemeClr val="tx1"/>
        </a:solidFill>
        <a:latin typeface="+mn-lt"/>
        <a:ea typeface="+mn-ea"/>
        <a:cs typeface="+mn-cs"/>
      </a:defRPr>
    </a:lvl1pPr>
    <a:lvl2pPr marL="457177" algn="l" defTabSz="914353" rtl="0" eaLnBrk="1" latinLnBrk="0" hangingPunct="1">
      <a:defRPr sz="1800" kern="1200">
        <a:solidFill>
          <a:schemeClr val="tx1"/>
        </a:solidFill>
        <a:latin typeface="+mn-lt"/>
        <a:ea typeface="+mn-ea"/>
        <a:cs typeface="+mn-cs"/>
      </a:defRPr>
    </a:lvl2pPr>
    <a:lvl3pPr marL="914353" algn="l" defTabSz="914353" rtl="0" eaLnBrk="1" latinLnBrk="0" hangingPunct="1">
      <a:defRPr sz="1800" kern="1200">
        <a:solidFill>
          <a:schemeClr val="tx1"/>
        </a:solidFill>
        <a:latin typeface="+mn-lt"/>
        <a:ea typeface="+mn-ea"/>
        <a:cs typeface="+mn-cs"/>
      </a:defRPr>
    </a:lvl3pPr>
    <a:lvl4pPr marL="1371530" algn="l" defTabSz="914353" rtl="0" eaLnBrk="1" latinLnBrk="0" hangingPunct="1">
      <a:defRPr sz="1800" kern="1200">
        <a:solidFill>
          <a:schemeClr val="tx1"/>
        </a:solidFill>
        <a:latin typeface="+mn-lt"/>
        <a:ea typeface="+mn-ea"/>
        <a:cs typeface="+mn-cs"/>
      </a:defRPr>
    </a:lvl4pPr>
    <a:lvl5pPr marL="1828706" algn="l" defTabSz="914353" rtl="0" eaLnBrk="1" latinLnBrk="0" hangingPunct="1">
      <a:defRPr sz="1800" kern="1200">
        <a:solidFill>
          <a:schemeClr val="tx1"/>
        </a:solidFill>
        <a:latin typeface="+mn-lt"/>
        <a:ea typeface="+mn-ea"/>
        <a:cs typeface="+mn-cs"/>
      </a:defRPr>
    </a:lvl5pPr>
    <a:lvl6pPr marL="2285883" algn="l" defTabSz="914353" rtl="0" eaLnBrk="1" latinLnBrk="0" hangingPunct="1">
      <a:defRPr sz="1800" kern="1200">
        <a:solidFill>
          <a:schemeClr val="tx1"/>
        </a:solidFill>
        <a:latin typeface="+mn-lt"/>
        <a:ea typeface="+mn-ea"/>
        <a:cs typeface="+mn-cs"/>
      </a:defRPr>
    </a:lvl6pPr>
    <a:lvl7pPr marL="2743060" algn="l" defTabSz="914353" rtl="0" eaLnBrk="1" latinLnBrk="0" hangingPunct="1">
      <a:defRPr sz="1800" kern="1200">
        <a:solidFill>
          <a:schemeClr val="tx1"/>
        </a:solidFill>
        <a:latin typeface="+mn-lt"/>
        <a:ea typeface="+mn-ea"/>
        <a:cs typeface="+mn-cs"/>
      </a:defRPr>
    </a:lvl7pPr>
    <a:lvl8pPr marL="3200236" algn="l" defTabSz="914353" rtl="0" eaLnBrk="1" latinLnBrk="0" hangingPunct="1">
      <a:defRPr sz="1800" kern="1200">
        <a:solidFill>
          <a:schemeClr val="tx1"/>
        </a:solidFill>
        <a:latin typeface="+mn-lt"/>
        <a:ea typeface="+mn-ea"/>
        <a:cs typeface="+mn-cs"/>
      </a:defRPr>
    </a:lvl8pPr>
    <a:lvl9pPr marL="3657413" algn="l" defTabSz="91435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640" userDrawn="1">
          <p15:clr>
            <a:srgbClr val="A4A3A4"/>
          </p15:clr>
        </p15:guide>
        <p15:guide id="2" pos="158" userDrawn="1">
          <p15:clr>
            <a:srgbClr val="A4A3A4"/>
          </p15:clr>
        </p15:guide>
        <p15:guide id="3" pos="5012" userDrawn="1">
          <p15:clr>
            <a:srgbClr val="A4A3A4"/>
          </p15:clr>
        </p15:guide>
        <p15:guide id="4" orient="horz" pos="4042" userDrawn="1">
          <p15:clr>
            <a:srgbClr val="A4A3A4"/>
          </p15:clr>
        </p15:guide>
        <p15:guide id="5" orient="horz" pos="958" userDrawn="1">
          <p15:clr>
            <a:srgbClr val="A4A3A4"/>
          </p15:clr>
        </p15:guide>
        <p15:guide id="6" orient="horz" pos="2205" userDrawn="1">
          <p15:clr>
            <a:srgbClr val="A4A3A4"/>
          </p15:clr>
        </p15:guide>
        <p15:guide id="7" pos="1247"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i-Louize van Wijk" initials="MvW" lastIdx="6" clrIdx="0">
    <p:extLst>
      <p:ext uri="{19B8F6BF-5375-455C-9EA6-DF929625EA0E}">
        <p15:presenceInfo xmlns:p15="http://schemas.microsoft.com/office/powerpoint/2012/main" xmlns="" userId="b2080d57c995c18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9193"/>
    <a:srgbClr val="000000"/>
    <a:srgbClr val="FF2F92"/>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120" autoAdjust="0"/>
    <p:restoredTop sz="86399" autoAdjust="0"/>
  </p:normalViewPr>
  <p:slideViewPr>
    <p:cSldViewPr snapToGrid="0" snapToObjects="1" showGuides="1">
      <p:cViewPr varScale="1">
        <p:scale>
          <a:sx n="100" d="100"/>
          <a:sy n="100" d="100"/>
        </p:scale>
        <p:origin x="-1944" y="-96"/>
      </p:cViewPr>
      <p:guideLst>
        <p:guide orient="horz" pos="640"/>
        <p:guide orient="horz" pos="4042"/>
        <p:guide orient="horz" pos="958"/>
        <p:guide orient="horz" pos="2205"/>
        <p:guide pos="158"/>
        <p:guide pos="5012"/>
        <p:guide pos="1247"/>
      </p:guideLst>
    </p:cSldViewPr>
  </p:slideViewPr>
  <p:outlineViewPr>
    <p:cViewPr>
      <p:scale>
        <a:sx n="33" d="100"/>
        <a:sy n="33" d="100"/>
      </p:scale>
      <p:origin x="0" y="0"/>
    </p:cViewPr>
  </p:outlineViewPr>
  <p:notesTextViewPr>
    <p:cViewPr>
      <p:scale>
        <a:sx n="3" d="2"/>
        <a:sy n="3" d="2"/>
      </p:scale>
      <p:origin x="0" y="0"/>
    </p:cViewPr>
  </p:notesTextViewPr>
  <p:sorterViewPr>
    <p:cViewPr>
      <p:scale>
        <a:sx n="30" d="100"/>
        <a:sy n="30"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5348"/>
          </a:xfrm>
          <a:prstGeom prst="rect">
            <a:avLst/>
          </a:prstGeom>
        </p:spPr>
        <p:txBody>
          <a:bodyPr vert="horz" lIns="91438" tIns="45720" rIns="91438" bIns="45720" rtlCol="0"/>
          <a:lstStyle>
            <a:lvl1pPr algn="l">
              <a:defRPr sz="1200"/>
            </a:lvl1pPr>
          </a:lstStyle>
          <a:p>
            <a:endParaRPr lang="en-US" dirty="0"/>
          </a:p>
        </p:txBody>
      </p:sp>
      <p:sp>
        <p:nvSpPr>
          <p:cNvPr id="3" name="Date Placeholder 2"/>
          <p:cNvSpPr>
            <a:spLocks noGrp="1"/>
          </p:cNvSpPr>
          <p:nvPr>
            <p:ph type="dt" sz="quarter" idx="1"/>
          </p:nvPr>
        </p:nvSpPr>
        <p:spPr>
          <a:xfrm>
            <a:off x="3850444" y="0"/>
            <a:ext cx="2945659" cy="495348"/>
          </a:xfrm>
          <a:prstGeom prst="rect">
            <a:avLst/>
          </a:prstGeom>
        </p:spPr>
        <p:txBody>
          <a:bodyPr vert="horz" lIns="91438" tIns="45720" rIns="91438" bIns="45720" rtlCol="0"/>
          <a:lstStyle>
            <a:lvl1pPr algn="r">
              <a:defRPr sz="1200"/>
            </a:lvl1pPr>
          </a:lstStyle>
          <a:p>
            <a:fld id="{046238A1-C7AE-EB4E-AA25-60C5D3CF4A38}" type="datetimeFigureOut">
              <a:rPr lang="en-US" smtClean="0"/>
              <a:pPr/>
              <a:t>8/31/2018</a:t>
            </a:fld>
            <a:endParaRPr lang="en-US" dirty="0"/>
          </a:p>
        </p:txBody>
      </p:sp>
      <p:sp>
        <p:nvSpPr>
          <p:cNvPr id="4" name="Footer Placeholder 3"/>
          <p:cNvSpPr>
            <a:spLocks noGrp="1"/>
          </p:cNvSpPr>
          <p:nvPr>
            <p:ph type="ftr" sz="quarter" idx="2"/>
          </p:nvPr>
        </p:nvSpPr>
        <p:spPr>
          <a:xfrm>
            <a:off x="1" y="9377317"/>
            <a:ext cx="2945659" cy="495347"/>
          </a:xfrm>
          <a:prstGeom prst="rect">
            <a:avLst/>
          </a:prstGeom>
        </p:spPr>
        <p:txBody>
          <a:bodyPr vert="horz" lIns="91438" tIns="45720" rIns="91438"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50444" y="9377317"/>
            <a:ext cx="2945659" cy="495347"/>
          </a:xfrm>
          <a:prstGeom prst="rect">
            <a:avLst/>
          </a:prstGeom>
        </p:spPr>
        <p:txBody>
          <a:bodyPr vert="horz" lIns="91438" tIns="45720" rIns="91438" bIns="45720" rtlCol="0" anchor="b"/>
          <a:lstStyle>
            <a:lvl1pPr algn="r">
              <a:defRPr sz="1200"/>
            </a:lvl1pPr>
          </a:lstStyle>
          <a:p>
            <a:fld id="{33D6C926-267C-AE4E-8268-B298C4E8717E}" type="slidenum">
              <a:rPr lang="en-US" smtClean="0"/>
              <a:pPr/>
              <a:t>‹#›</a:t>
            </a:fld>
            <a:endParaRPr lang="en-US" dirty="0"/>
          </a:p>
        </p:txBody>
      </p:sp>
    </p:spTree>
    <p:extLst>
      <p:ext uri="{BB962C8B-B14F-4D97-AF65-F5344CB8AC3E}">
        <p14:creationId xmlns:p14="http://schemas.microsoft.com/office/powerpoint/2010/main" xmlns="" val="1622115681"/>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8-08-08T08:31:59.460"/>
    </inkml:context>
    <inkml:brush xml:id="br0">
      <inkml:brushProperty name="width" value="0.05" units="cm"/>
      <inkml:brushProperty name="height" value="0.05" units="cm"/>
      <inkml:brushProperty name="color" value="#FFFFFF"/>
      <inkml:brushProperty name="ignorePressure" value="1"/>
    </inkml:brush>
  </inkml:definitions>
  <inkml:trace contextRef="#ctx0" brushRef="#br0">445 115</inkml:trace>
  <inkml:trace contextRef="#ctx0" brushRef="#br0" timeOffset="867.449">631 115,'-2'0,"-9"0,-6 0,-3 0,-1 0,0 0,2 0,2 0,1 0,3 0,0 0,-2-1,-5-1,-4-2,-8-1,-7-1,-8-2,-1 1,-4 0,4 2,4-2,7-2,6 1,7 0</inkml:trace>
  <inkml:trace contextRef="#ctx0" brushRef="#br0" timeOffset="24339.095">454 0,'0'2,"0"3,2 1,0 1,0 0,-1 2,0-1,0 1,-1 0,0 0,0 0,0 0,0 0,0 0,0 0,0-1,0 1,0 0,0 0,0 0,0-1,-1 1,-1 0,0 0,0 0,1 0,0-1,1 1,0 0,0 0,0 0,0 1,0 1,2 0,0 0,0 1,-1 0,0-2,0 0,-1 0,-1-2,-3-2,-1 0,0-1,0 1,2 0,2 0,2-2</inkml:trace>
  <inkml:trace contextRef="#ctx0" brushRef="#br0" timeOffset="131980.046">445 406</inkml:trace>
  <inkml:trace contextRef="#ctx0" brushRef="#br0" timeOffset="138220.014">481 388</inkml:trace>
  <inkml:trace contextRef="#ctx0" brushRef="#br0" timeOffset="160050.5259">445 406</inkml:trace>
  <inkml:trace contextRef="#ctx0" brushRef="#br0" timeOffset="205676.536">412 22,'0'1,"0"2,2 1,-1 1,0 1,1 1,-2 0,2-1,0 1,-1 0,1 0,-2 1,1 0,-1 0,0 0,0-1,0 0,1 0,0 0,1 0,-1-1,0 1,-1-1,2 1,-1-1,1 1,-1 0,-1-1,2 0,0-1,-1 0,0 1,0-1,0 1,-1 1,0-1,0 1,0 0,0-1,0 1,0 0,0-1,0 1,0-1,0 1,-2 1,1 0,-1 0,1 0,1-1,-1 0,1 0,0 0,0 0,0-1,1 1,0-1,1 1,-1-1,0 1,-1-2</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5348"/>
          </a:xfrm>
          <a:prstGeom prst="rect">
            <a:avLst/>
          </a:prstGeom>
        </p:spPr>
        <p:txBody>
          <a:bodyPr vert="horz" lIns="91438" tIns="45720" rIns="91438" bIns="45720" rtlCol="0"/>
          <a:lstStyle>
            <a:lvl1pPr algn="l">
              <a:defRPr sz="1200"/>
            </a:lvl1pPr>
          </a:lstStyle>
          <a:p>
            <a:endParaRPr lang="en-US" dirty="0"/>
          </a:p>
        </p:txBody>
      </p:sp>
      <p:sp>
        <p:nvSpPr>
          <p:cNvPr id="3" name="Date Placeholder 2"/>
          <p:cNvSpPr>
            <a:spLocks noGrp="1"/>
          </p:cNvSpPr>
          <p:nvPr>
            <p:ph type="dt" idx="1"/>
          </p:nvPr>
        </p:nvSpPr>
        <p:spPr>
          <a:xfrm>
            <a:off x="3850444" y="0"/>
            <a:ext cx="2945659" cy="495348"/>
          </a:xfrm>
          <a:prstGeom prst="rect">
            <a:avLst/>
          </a:prstGeom>
        </p:spPr>
        <p:txBody>
          <a:bodyPr vert="horz" lIns="91438" tIns="45720" rIns="91438" bIns="45720" rtlCol="0"/>
          <a:lstStyle>
            <a:lvl1pPr algn="r">
              <a:defRPr sz="1200"/>
            </a:lvl1pPr>
          </a:lstStyle>
          <a:p>
            <a:fld id="{5FEA3E53-6171-C44A-9408-A6AC2712C0E1}" type="datetimeFigureOut">
              <a:rPr lang="en-US" smtClean="0"/>
              <a:pPr/>
              <a:t>8/31/2018</a:t>
            </a:fld>
            <a:endParaRPr lang="en-US" dirty="0"/>
          </a:p>
        </p:txBody>
      </p:sp>
      <p:sp>
        <p:nvSpPr>
          <p:cNvPr id="4" name="Slide Image Placeholder 3"/>
          <p:cNvSpPr>
            <a:spLocks noGrp="1" noRot="1" noChangeAspect="1"/>
          </p:cNvSpPr>
          <p:nvPr>
            <p:ph type="sldImg" idx="2"/>
          </p:nvPr>
        </p:nvSpPr>
        <p:spPr>
          <a:xfrm>
            <a:off x="1177925" y="1235075"/>
            <a:ext cx="4441825" cy="3330575"/>
          </a:xfrm>
          <a:prstGeom prst="rect">
            <a:avLst/>
          </a:prstGeom>
          <a:noFill/>
          <a:ln w="12700">
            <a:solidFill>
              <a:prstClr val="black"/>
            </a:solidFill>
          </a:ln>
        </p:spPr>
        <p:txBody>
          <a:bodyPr vert="horz" lIns="91438" tIns="45720" rIns="91438" bIns="45720" rtlCol="0" anchor="ctr"/>
          <a:lstStyle/>
          <a:p>
            <a:endParaRPr lang="en-US" dirty="0"/>
          </a:p>
        </p:txBody>
      </p:sp>
      <p:sp>
        <p:nvSpPr>
          <p:cNvPr id="5" name="Notes Placeholder 4"/>
          <p:cNvSpPr>
            <a:spLocks noGrp="1"/>
          </p:cNvSpPr>
          <p:nvPr>
            <p:ph type="body" sz="quarter" idx="3"/>
          </p:nvPr>
        </p:nvSpPr>
        <p:spPr>
          <a:xfrm>
            <a:off x="679768" y="4751220"/>
            <a:ext cx="5438140" cy="3887361"/>
          </a:xfrm>
          <a:prstGeom prst="rect">
            <a:avLst/>
          </a:prstGeom>
        </p:spPr>
        <p:txBody>
          <a:bodyPr vert="horz" lIns="91438" tIns="45720" rIns="91438"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377317"/>
            <a:ext cx="2945659" cy="495347"/>
          </a:xfrm>
          <a:prstGeom prst="rect">
            <a:avLst/>
          </a:prstGeom>
        </p:spPr>
        <p:txBody>
          <a:bodyPr vert="horz" lIns="91438" tIns="45720" rIns="91438"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0444" y="9377317"/>
            <a:ext cx="2945659" cy="495347"/>
          </a:xfrm>
          <a:prstGeom prst="rect">
            <a:avLst/>
          </a:prstGeom>
        </p:spPr>
        <p:txBody>
          <a:bodyPr vert="horz" lIns="91438" tIns="45720" rIns="91438" bIns="45720" rtlCol="0" anchor="b"/>
          <a:lstStyle>
            <a:lvl1pPr algn="r">
              <a:defRPr sz="1200"/>
            </a:lvl1pPr>
          </a:lstStyle>
          <a:p>
            <a:fld id="{FDC0B262-53D5-AD4B-8F73-B06DE62580CA}" type="slidenum">
              <a:rPr lang="en-US" smtClean="0"/>
              <a:pPr/>
              <a:t>‹#›</a:t>
            </a:fld>
            <a:endParaRPr lang="en-US" dirty="0"/>
          </a:p>
        </p:txBody>
      </p:sp>
    </p:spTree>
    <p:extLst>
      <p:ext uri="{BB962C8B-B14F-4D97-AF65-F5344CB8AC3E}">
        <p14:creationId xmlns:p14="http://schemas.microsoft.com/office/powerpoint/2010/main" xmlns="" val="220972939"/>
      </p:ext>
    </p:extLst>
  </p:cSld>
  <p:clrMap bg1="lt1" tx1="dk1" bg2="lt2" tx2="dk2" accent1="accent1" accent2="accent2" accent3="accent3" accent4="accent4" accent5="accent5" accent6="accent6" hlink="hlink" folHlink="folHlink"/>
  <p:notesStyle>
    <a:lvl1pPr marL="0" algn="l" defTabSz="914353" rtl="0" eaLnBrk="1" latinLnBrk="0" hangingPunct="1">
      <a:defRPr sz="1200" kern="1200">
        <a:solidFill>
          <a:schemeClr val="tx1"/>
        </a:solidFill>
        <a:latin typeface="+mn-lt"/>
        <a:ea typeface="+mn-ea"/>
        <a:cs typeface="+mn-cs"/>
      </a:defRPr>
    </a:lvl1pPr>
    <a:lvl2pPr marL="457177" algn="l" defTabSz="914353" rtl="0" eaLnBrk="1" latinLnBrk="0" hangingPunct="1">
      <a:defRPr sz="1200" kern="1200">
        <a:solidFill>
          <a:schemeClr val="tx1"/>
        </a:solidFill>
        <a:latin typeface="+mn-lt"/>
        <a:ea typeface="+mn-ea"/>
        <a:cs typeface="+mn-cs"/>
      </a:defRPr>
    </a:lvl2pPr>
    <a:lvl3pPr marL="914353" algn="l" defTabSz="914353" rtl="0" eaLnBrk="1" latinLnBrk="0" hangingPunct="1">
      <a:defRPr sz="1200" kern="1200">
        <a:solidFill>
          <a:schemeClr val="tx1"/>
        </a:solidFill>
        <a:latin typeface="+mn-lt"/>
        <a:ea typeface="+mn-ea"/>
        <a:cs typeface="+mn-cs"/>
      </a:defRPr>
    </a:lvl3pPr>
    <a:lvl4pPr marL="1371530" algn="l" defTabSz="914353" rtl="0" eaLnBrk="1" latinLnBrk="0" hangingPunct="1">
      <a:defRPr sz="1200" kern="1200">
        <a:solidFill>
          <a:schemeClr val="tx1"/>
        </a:solidFill>
        <a:latin typeface="+mn-lt"/>
        <a:ea typeface="+mn-ea"/>
        <a:cs typeface="+mn-cs"/>
      </a:defRPr>
    </a:lvl4pPr>
    <a:lvl5pPr marL="1828706" algn="l" defTabSz="914353" rtl="0" eaLnBrk="1" latinLnBrk="0" hangingPunct="1">
      <a:defRPr sz="1200" kern="1200">
        <a:solidFill>
          <a:schemeClr val="tx1"/>
        </a:solidFill>
        <a:latin typeface="+mn-lt"/>
        <a:ea typeface="+mn-ea"/>
        <a:cs typeface="+mn-cs"/>
      </a:defRPr>
    </a:lvl5pPr>
    <a:lvl6pPr marL="2285883" algn="l" defTabSz="914353" rtl="0" eaLnBrk="1" latinLnBrk="0" hangingPunct="1">
      <a:defRPr sz="1200" kern="1200">
        <a:solidFill>
          <a:schemeClr val="tx1"/>
        </a:solidFill>
        <a:latin typeface="+mn-lt"/>
        <a:ea typeface="+mn-ea"/>
        <a:cs typeface="+mn-cs"/>
      </a:defRPr>
    </a:lvl6pPr>
    <a:lvl7pPr marL="2743060" algn="l" defTabSz="914353" rtl="0" eaLnBrk="1" latinLnBrk="0" hangingPunct="1">
      <a:defRPr sz="1200" kern="1200">
        <a:solidFill>
          <a:schemeClr val="tx1"/>
        </a:solidFill>
        <a:latin typeface="+mn-lt"/>
        <a:ea typeface="+mn-ea"/>
        <a:cs typeface="+mn-cs"/>
      </a:defRPr>
    </a:lvl7pPr>
    <a:lvl8pPr marL="3200236" algn="l" defTabSz="914353" rtl="0" eaLnBrk="1" latinLnBrk="0" hangingPunct="1">
      <a:defRPr sz="1200" kern="1200">
        <a:solidFill>
          <a:schemeClr val="tx1"/>
        </a:solidFill>
        <a:latin typeface="+mn-lt"/>
        <a:ea typeface="+mn-ea"/>
        <a:cs typeface="+mn-cs"/>
      </a:defRPr>
    </a:lvl8pPr>
    <a:lvl9pPr marL="3657413" algn="l" defTabSz="91435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6AC2152-0F58-DF45-B2A1-A721CABF627D}" type="slidenum">
              <a:rPr lang="en-US" smtClean="0"/>
              <a:pPr/>
              <a:t>1</a:t>
            </a:fld>
            <a:endParaRPr lang="en-US" dirty="0"/>
          </a:p>
        </p:txBody>
      </p:sp>
    </p:spTree>
    <p:extLst>
      <p:ext uri="{BB962C8B-B14F-4D97-AF65-F5344CB8AC3E}">
        <p14:creationId xmlns:p14="http://schemas.microsoft.com/office/powerpoint/2010/main" xmlns="" val="172204749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6787335" y="6356515"/>
            <a:ext cx="2057400" cy="365125"/>
          </a:xfrm>
        </p:spPr>
        <p:txBody>
          <a:bodyPr/>
          <a:lstStyle/>
          <a:p>
            <a:fld id="{3B9F6E38-0256-4C4B-981B-FAA90C720E3E}" type="slidenum">
              <a:rPr lang="en-US" smtClean="0"/>
              <a:pPr/>
              <a:t>‹#›</a:t>
            </a:fld>
            <a:endParaRPr lang="en-US" dirty="0"/>
          </a:p>
        </p:txBody>
      </p:sp>
      <p:sp>
        <p:nvSpPr>
          <p:cNvPr id="7" name="Footer Placeholder 4"/>
          <p:cNvSpPr>
            <a:spLocks noGrp="1"/>
          </p:cNvSpPr>
          <p:nvPr>
            <p:ph type="ftr" sz="quarter" idx="11"/>
          </p:nvPr>
        </p:nvSpPr>
        <p:spPr>
          <a:xfrm>
            <a:off x="255031" y="6356356"/>
            <a:ext cx="3086100" cy="365125"/>
          </a:xfrm>
        </p:spPr>
        <p:txBody>
          <a:bodyPr/>
          <a:lstStyle>
            <a:lvl1pPr>
              <a:defRPr sz="900"/>
            </a:lvl1pPr>
          </a:lstStyle>
          <a:p>
            <a:pPr algn="l"/>
            <a:r>
              <a:rPr lang="en-US" dirty="0"/>
              <a:t>PUBLIC</a:t>
            </a:r>
          </a:p>
        </p:txBody>
      </p:sp>
      <p:sp>
        <p:nvSpPr>
          <p:cNvPr id="9" name="Title 1"/>
          <p:cNvSpPr>
            <a:spLocks noGrp="1"/>
          </p:cNvSpPr>
          <p:nvPr>
            <p:ph type="title" hasCustomPrompt="1"/>
          </p:nvPr>
        </p:nvSpPr>
        <p:spPr>
          <a:xfrm>
            <a:off x="255031" y="2906098"/>
            <a:ext cx="7886700" cy="766196"/>
          </a:xfrm>
        </p:spPr>
        <p:txBody>
          <a:bodyPr>
            <a:normAutofit/>
          </a:bodyPr>
          <a:lstStyle>
            <a:lvl1pPr>
              <a:defRPr sz="2600"/>
            </a:lvl1pPr>
          </a:lstStyle>
          <a:p>
            <a:r>
              <a:rPr lang="en-US" dirty="0"/>
              <a:t>CLICK TO EDIT MASTER TITLE STYLE</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xmlns=""/>
              </a:ext>
            </a:extLst>
          </a:blip>
          <a:stretch>
            <a:fillRect/>
          </a:stretch>
        </p:blipFill>
        <p:spPr>
          <a:xfrm>
            <a:off x="6881446" y="-108396"/>
            <a:ext cx="2090618" cy="1263618"/>
          </a:xfrm>
          <a:prstGeom prst="rect">
            <a:avLst/>
          </a:prstGeom>
        </p:spPr>
      </p:pic>
    </p:spTree>
    <p:extLst>
      <p:ext uri="{BB962C8B-B14F-4D97-AF65-F5344CB8AC3E}">
        <p14:creationId xmlns:p14="http://schemas.microsoft.com/office/powerpoint/2010/main" xmlns="" val="896905889"/>
      </p:ext>
    </p:extLst>
  </p:cSld>
  <p:clrMapOvr>
    <a:masterClrMapping/>
  </p:clrMapOvr>
  <p:extLst mod="1">
    <p:ext uri="{DCECCB84-F9BA-43D5-87BE-67443E8EF086}">
      <p15:sldGuideLst xmlns:p15="http://schemas.microsoft.com/office/powerpoint/2012/main" xmlns="">
        <p15:guide id="1" orient="horz" pos="255" userDrawn="1">
          <p15:clr>
            <a:srgbClr val="FBAE40"/>
          </p15:clr>
        </p15:guide>
        <p15:guide id="2" pos="138" userDrawn="1">
          <p15:clr>
            <a:srgbClr val="FBAE40"/>
          </p15:clr>
        </p15:guide>
        <p15:guide id="3" pos="5581"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2" y="457200"/>
            <a:ext cx="2949178" cy="1600200"/>
          </a:xfrm>
        </p:spPr>
        <p:txBody>
          <a:bodyPr anchor="b"/>
          <a:lstStyle>
            <a:lvl1pPr>
              <a:defRPr sz="3000"/>
            </a:lvl1pPr>
          </a:lstStyle>
          <a:p>
            <a:r>
              <a:rPr lang="en-US"/>
              <a:t>Click to edit Master title style</a:t>
            </a:r>
            <a:endParaRPr lang="en-US" dirty="0"/>
          </a:p>
        </p:txBody>
      </p:sp>
      <p:sp>
        <p:nvSpPr>
          <p:cNvPr id="3" name="Content Placeholder 2"/>
          <p:cNvSpPr>
            <a:spLocks noGrp="1"/>
          </p:cNvSpPr>
          <p:nvPr>
            <p:ph idx="1"/>
          </p:nvPr>
        </p:nvSpPr>
        <p:spPr>
          <a:xfrm>
            <a:off x="3887391" y="987429"/>
            <a:ext cx="4629150" cy="4873625"/>
          </a:xfrm>
        </p:spPr>
        <p:txBody>
          <a:bodyPr/>
          <a:lstStyle>
            <a:lvl1pPr>
              <a:defRPr sz="3000"/>
            </a:lvl1pPr>
            <a:lvl2pPr>
              <a:defRPr sz="2600"/>
            </a:lvl2pPr>
            <a:lvl3pPr>
              <a:defRPr sz="22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2" y="2057400"/>
            <a:ext cx="2949178" cy="3811588"/>
          </a:xfrm>
        </p:spPr>
        <p:txBody>
          <a:bodyPr/>
          <a:lstStyle>
            <a:lvl1pPr marL="0" indent="0">
              <a:buNone/>
              <a:defRPr sz="1500"/>
            </a:lvl1pPr>
            <a:lvl2pPr marL="422020" indent="0">
              <a:buNone/>
              <a:defRPr sz="1300"/>
            </a:lvl2pPr>
            <a:lvl3pPr marL="844040" indent="0">
              <a:buNone/>
              <a:defRPr sz="1100"/>
            </a:lvl3pPr>
            <a:lvl4pPr marL="1266060" indent="0">
              <a:buNone/>
              <a:defRPr sz="900"/>
            </a:lvl4pPr>
            <a:lvl5pPr marL="1688078" indent="0">
              <a:buNone/>
              <a:defRPr sz="900"/>
            </a:lvl5pPr>
            <a:lvl6pPr marL="2110099" indent="0">
              <a:buNone/>
              <a:defRPr sz="900"/>
            </a:lvl6pPr>
            <a:lvl7pPr marL="2532118" indent="0">
              <a:buNone/>
              <a:defRPr sz="900"/>
            </a:lvl7pPr>
            <a:lvl8pPr marL="2954138" indent="0">
              <a:buNone/>
              <a:defRPr sz="900"/>
            </a:lvl8pPr>
            <a:lvl9pPr marL="3376158" indent="0">
              <a:buNone/>
              <a:defRPr sz="900"/>
            </a:lvl9pPr>
          </a:lstStyle>
          <a:p>
            <a:pPr lvl="0"/>
            <a:r>
              <a:rPr lang="en-US"/>
              <a:t>Click to edit Master text styles</a:t>
            </a:r>
          </a:p>
        </p:txBody>
      </p:sp>
      <p:sp>
        <p:nvSpPr>
          <p:cNvPr id="5" name="Date Placeholder 4"/>
          <p:cNvSpPr>
            <a:spLocks noGrp="1"/>
          </p:cNvSpPr>
          <p:nvPr>
            <p:ph type="dt" sz="half" idx="10"/>
          </p:nvPr>
        </p:nvSpPr>
        <p:spPr>
          <a:xfrm>
            <a:off x="628650" y="6356356"/>
            <a:ext cx="2057400" cy="365125"/>
          </a:xfrm>
          <a:prstGeom prst="rect">
            <a:avLst/>
          </a:prstGeom>
        </p:spPr>
        <p:txBody>
          <a:bodyPr lIns="91435" tIns="45718" rIns="91435" bIns="45718"/>
          <a:lstStyle/>
          <a:p>
            <a:endParaRPr lang="en-US" dirty="0"/>
          </a:p>
        </p:txBody>
      </p:sp>
      <p:sp>
        <p:nvSpPr>
          <p:cNvPr id="6" name="Footer Placeholder 5"/>
          <p:cNvSpPr>
            <a:spLocks noGrp="1"/>
          </p:cNvSpPr>
          <p:nvPr>
            <p:ph type="ftr" sz="quarter" idx="11"/>
          </p:nvPr>
        </p:nvSpPr>
        <p:spPr/>
        <p:txBody>
          <a:bodyPr/>
          <a:lstStyle/>
          <a:p>
            <a:r>
              <a:rPr lang="en-US" dirty="0"/>
              <a:t>PUBLIC</a:t>
            </a:r>
          </a:p>
        </p:txBody>
      </p:sp>
      <p:sp>
        <p:nvSpPr>
          <p:cNvPr id="7" name="Slide Number Placeholder 6"/>
          <p:cNvSpPr>
            <a:spLocks noGrp="1"/>
          </p:cNvSpPr>
          <p:nvPr>
            <p:ph type="sldNum" sz="quarter" idx="12"/>
          </p:nvPr>
        </p:nvSpPr>
        <p:spPr/>
        <p:txBody>
          <a:bodyPr/>
          <a:lstStyle/>
          <a:p>
            <a:fld id="{3B9F6E38-0256-4C4B-981B-FAA90C720E3E}" type="slidenum">
              <a:rPr lang="en-US" smtClean="0"/>
              <a:pPr/>
              <a:t>‹#›</a:t>
            </a:fld>
            <a:endParaRPr lang="en-US" dirty="0"/>
          </a:p>
        </p:txBody>
      </p:sp>
    </p:spTree>
    <p:extLst>
      <p:ext uri="{BB962C8B-B14F-4D97-AF65-F5344CB8AC3E}">
        <p14:creationId xmlns:p14="http://schemas.microsoft.com/office/powerpoint/2010/main" xmlns="" val="14351902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2" y="457200"/>
            <a:ext cx="2949178" cy="1600200"/>
          </a:xfrm>
        </p:spPr>
        <p:txBody>
          <a:bodyPr anchor="b"/>
          <a:lstStyle>
            <a:lvl1pPr>
              <a:defRPr sz="30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9"/>
            <a:ext cx="4629150" cy="4873625"/>
          </a:xfrm>
        </p:spPr>
        <p:txBody>
          <a:bodyPr anchor="t"/>
          <a:lstStyle>
            <a:lvl1pPr marL="0" indent="0">
              <a:buNone/>
              <a:defRPr sz="3000"/>
            </a:lvl1pPr>
            <a:lvl2pPr marL="422020" indent="0">
              <a:buNone/>
              <a:defRPr sz="2600"/>
            </a:lvl2pPr>
            <a:lvl3pPr marL="844040" indent="0">
              <a:buNone/>
              <a:defRPr sz="2200"/>
            </a:lvl3pPr>
            <a:lvl4pPr marL="1266060" indent="0">
              <a:buNone/>
              <a:defRPr sz="1800"/>
            </a:lvl4pPr>
            <a:lvl5pPr marL="1688078" indent="0">
              <a:buNone/>
              <a:defRPr sz="1800"/>
            </a:lvl5pPr>
            <a:lvl6pPr marL="2110099" indent="0">
              <a:buNone/>
              <a:defRPr sz="1800"/>
            </a:lvl6pPr>
            <a:lvl7pPr marL="2532118" indent="0">
              <a:buNone/>
              <a:defRPr sz="1800"/>
            </a:lvl7pPr>
            <a:lvl8pPr marL="2954138" indent="0">
              <a:buNone/>
              <a:defRPr sz="1800"/>
            </a:lvl8pPr>
            <a:lvl9pPr marL="3376158" indent="0">
              <a:buNone/>
              <a:defRPr sz="1800"/>
            </a:lvl9pPr>
          </a:lstStyle>
          <a:p>
            <a:r>
              <a:rPr lang="en-US" dirty="0"/>
              <a:t>Drag picture to placeholder or click icon to add</a:t>
            </a:r>
          </a:p>
        </p:txBody>
      </p:sp>
      <p:sp>
        <p:nvSpPr>
          <p:cNvPr id="4" name="Text Placeholder 3"/>
          <p:cNvSpPr>
            <a:spLocks noGrp="1"/>
          </p:cNvSpPr>
          <p:nvPr>
            <p:ph type="body" sz="half" idx="2"/>
          </p:nvPr>
        </p:nvSpPr>
        <p:spPr>
          <a:xfrm>
            <a:off x="629842" y="2057400"/>
            <a:ext cx="2949178" cy="3811588"/>
          </a:xfrm>
        </p:spPr>
        <p:txBody>
          <a:bodyPr/>
          <a:lstStyle>
            <a:lvl1pPr marL="0" indent="0">
              <a:buNone/>
              <a:defRPr sz="1500"/>
            </a:lvl1pPr>
            <a:lvl2pPr marL="422020" indent="0">
              <a:buNone/>
              <a:defRPr sz="1300"/>
            </a:lvl2pPr>
            <a:lvl3pPr marL="844040" indent="0">
              <a:buNone/>
              <a:defRPr sz="1100"/>
            </a:lvl3pPr>
            <a:lvl4pPr marL="1266060" indent="0">
              <a:buNone/>
              <a:defRPr sz="900"/>
            </a:lvl4pPr>
            <a:lvl5pPr marL="1688078" indent="0">
              <a:buNone/>
              <a:defRPr sz="900"/>
            </a:lvl5pPr>
            <a:lvl6pPr marL="2110099" indent="0">
              <a:buNone/>
              <a:defRPr sz="900"/>
            </a:lvl6pPr>
            <a:lvl7pPr marL="2532118" indent="0">
              <a:buNone/>
              <a:defRPr sz="900"/>
            </a:lvl7pPr>
            <a:lvl8pPr marL="2954138" indent="0">
              <a:buNone/>
              <a:defRPr sz="900"/>
            </a:lvl8pPr>
            <a:lvl9pPr marL="3376158" indent="0">
              <a:buNone/>
              <a:defRPr sz="900"/>
            </a:lvl9pPr>
          </a:lstStyle>
          <a:p>
            <a:pPr lvl="0"/>
            <a:r>
              <a:rPr lang="en-US"/>
              <a:t>Click to edit Master text styles</a:t>
            </a:r>
          </a:p>
        </p:txBody>
      </p:sp>
      <p:sp>
        <p:nvSpPr>
          <p:cNvPr id="5" name="Date Placeholder 4"/>
          <p:cNvSpPr>
            <a:spLocks noGrp="1"/>
          </p:cNvSpPr>
          <p:nvPr>
            <p:ph type="dt" sz="half" idx="10"/>
          </p:nvPr>
        </p:nvSpPr>
        <p:spPr>
          <a:xfrm>
            <a:off x="628650" y="6356356"/>
            <a:ext cx="2057400" cy="365125"/>
          </a:xfrm>
          <a:prstGeom prst="rect">
            <a:avLst/>
          </a:prstGeom>
        </p:spPr>
        <p:txBody>
          <a:bodyPr lIns="91435" tIns="45718" rIns="91435" bIns="45718"/>
          <a:lstStyle/>
          <a:p>
            <a:endParaRPr lang="en-US" dirty="0"/>
          </a:p>
        </p:txBody>
      </p:sp>
      <p:sp>
        <p:nvSpPr>
          <p:cNvPr id="6" name="Footer Placeholder 5"/>
          <p:cNvSpPr>
            <a:spLocks noGrp="1"/>
          </p:cNvSpPr>
          <p:nvPr>
            <p:ph type="ftr" sz="quarter" idx="11"/>
          </p:nvPr>
        </p:nvSpPr>
        <p:spPr/>
        <p:txBody>
          <a:bodyPr/>
          <a:lstStyle/>
          <a:p>
            <a:r>
              <a:rPr lang="en-US" dirty="0"/>
              <a:t>PUBLIC</a:t>
            </a:r>
          </a:p>
        </p:txBody>
      </p:sp>
      <p:sp>
        <p:nvSpPr>
          <p:cNvPr id="7" name="Slide Number Placeholder 6"/>
          <p:cNvSpPr>
            <a:spLocks noGrp="1"/>
          </p:cNvSpPr>
          <p:nvPr>
            <p:ph type="sldNum" sz="quarter" idx="12"/>
          </p:nvPr>
        </p:nvSpPr>
        <p:spPr/>
        <p:txBody>
          <a:bodyPr/>
          <a:lstStyle/>
          <a:p>
            <a:fld id="{3B9F6E38-0256-4C4B-981B-FAA90C720E3E}" type="slidenum">
              <a:rPr lang="en-US" smtClean="0"/>
              <a:pPr/>
              <a:t>‹#›</a:t>
            </a:fld>
            <a:endParaRPr lang="en-US" dirty="0"/>
          </a:p>
        </p:txBody>
      </p:sp>
    </p:spTree>
    <p:extLst>
      <p:ext uri="{BB962C8B-B14F-4D97-AF65-F5344CB8AC3E}">
        <p14:creationId xmlns:p14="http://schemas.microsoft.com/office/powerpoint/2010/main" xmlns="" val="7054859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6"/>
            <a:ext cx="2057400" cy="365125"/>
          </a:xfrm>
          <a:prstGeom prst="rect">
            <a:avLst/>
          </a:prstGeom>
        </p:spPr>
        <p:txBody>
          <a:bodyPr lIns="91435" tIns="45718" rIns="91435" bIns="45718"/>
          <a:lstStyle/>
          <a:p>
            <a:endParaRPr lang="en-US" dirty="0"/>
          </a:p>
        </p:txBody>
      </p:sp>
      <p:sp>
        <p:nvSpPr>
          <p:cNvPr id="5" name="Footer Placeholder 4"/>
          <p:cNvSpPr>
            <a:spLocks noGrp="1"/>
          </p:cNvSpPr>
          <p:nvPr>
            <p:ph type="ftr" sz="quarter" idx="11"/>
          </p:nvPr>
        </p:nvSpPr>
        <p:spPr/>
        <p:txBody>
          <a:bodyPr/>
          <a:lstStyle/>
          <a:p>
            <a:r>
              <a:rPr lang="en-US" dirty="0"/>
              <a:t>PUBLIC</a:t>
            </a:r>
          </a:p>
        </p:txBody>
      </p:sp>
      <p:sp>
        <p:nvSpPr>
          <p:cNvPr id="6" name="Slide Number Placeholder 5"/>
          <p:cNvSpPr>
            <a:spLocks noGrp="1"/>
          </p:cNvSpPr>
          <p:nvPr>
            <p:ph type="sldNum" sz="quarter" idx="12"/>
          </p:nvPr>
        </p:nvSpPr>
        <p:spPr/>
        <p:txBody>
          <a:bodyPr/>
          <a:lstStyle/>
          <a:p>
            <a:fld id="{3B9F6E38-0256-4C4B-981B-FAA90C720E3E}" type="slidenum">
              <a:rPr lang="en-US" smtClean="0"/>
              <a:pPr/>
              <a:t>‹#›</a:t>
            </a:fld>
            <a:endParaRPr lang="en-US" dirty="0"/>
          </a:p>
        </p:txBody>
      </p:sp>
    </p:spTree>
    <p:extLst>
      <p:ext uri="{BB962C8B-B14F-4D97-AF65-F5344CB8AC3E}">
        <p14:creationId xmlns:p14="http://schemas.microsoft.com/office/powerpoint/2010/main" xmlns="" val="8450625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8"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4"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6"/>
            <a:ext cx="2057400" cy="365125"/>
          </a:xfrm>
          <a:prstGeom prst="rect">
            <a:avLst/>
          </a:prstGeom>
        </p:spPr>
        <p:txBody>
          <a:bodyPr lIns="91435" tIns="45718" rIns="91435" bIns="45718"/>
          <a:lstStyle/>
          <a:p>
            <a:endParaRPr lang="en-US" dirty="0"/>
          </a:p>
        </p:txBody>
      </p:sp>
      <p:sp>
        <p:nvSpPr>
          <p:cNvPr id="5" name="Footer Placeholder 4"/>
          <p:cNvSpPr>
            <a:spLocks noGrp="1"/>
          </p:cNvSpPr>
          <p:nvPr>
            <p:ph type="ftr" sz="quarter" idx="11"/>
          </p:nvPr>
        </p:nvSpPr>
        <p:spPr/>
        <p:txBody>
          <a:bodyPr/>
          <a:lstStyle/>
          <a:p>
            <a:r>
              <a:rPr lang="en-US" dirty="0"/>
              <a:t>PUBLIC</a:t>
            </a:r>
          </a:p>
        </p:txBody>
      </p:sp>
      <p:sp>
        <p:nvSpPr>
          <p:cNvPr id="6" name="Slide Number Placeholder 5"/>
          <p:cNvSpPr>
            <a:spLocks noGrp="1"/>
          </p:cNvSpPr>
          <p:nvPr>
            <p:ph type="sldNum" sz="quarter" idx="12"/>
          </p:nvPr>
        </p:nvSpPr>
        <p:spPr/>
        <p:txBody>
          <a:bodyPr/>
          <a:lstStyle/>
          <a:p>
            <a:fld id="{3B9F6E38-0256-4C4B-981B-FAA90C720E3E}" type="slidenum">
              <a:rPr lang="en-US" smtClean="0"/>
              <a:pPr/>
              <a:t>‹#›</a:t>
            </a:fld>
            <a:endParaRPr lang="en-US" dirty="0"/>
          </a:p>
        </p:txBody>
      </p:sp>
    </p:spTree>
    <p:extLst>
      <p:ext uri="{BB962C8B-B14F-4D97-AF65-F5344CB8AC3E}">
        <p14:creationId xmlns:p14="http://schemas.microsoft.com/office/powerpoint/2010/main" xmlns="" val="16565504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NONE">
    <p:spTree>
      <p:nvGrpSpPr>
        <p:cNvPr id="1" name=""/>
        <p:cNvGrpSpPr/>
        <p:nvPr/>
      </p:nvGrpSpPr>
      <p:grpSpPr>
        <a:xfrm>
          <a:off x="0" y="0"/>
          <a:ext cx="0" cy="0"/>
          <a:chOff x="0" y="0"/>
          <a:chExt cx="0" cy="0"/>
        </a:xfrm>
      </p:grpSpPr>
      <p:sp>
        <p:nvSpPr>
          <p:cNvPr id="16" name="Content Placeholder 14"/>
          <p:cNvSpPr>
            <a:spLocks noGrp="1"/>
          </p:cNvSpPr>
          <p:nvPr>
            <p:ph sz="quarter" idx="14" hasCustomPrompt="1"/>
          </p:nvPr>
        </p:nvSpPr>
        <p:spPr>
          <a:xfrm>
            <a:off x="205372" y="1426516"/>
            <a:ext cx="7792336" cy="486658"/>
          </a:xfrm>
        </p:spPr>
        <p:txBody>
          <a:bodyPr>
            <a:noAutofit/>
          </a:bodyPr>
          <a:lstStyle>
            <a:lvl1pPr marL="0" indent="0">
              <a:buNone/>
              <a:defRPr sz="1300" b="0"/>
            </a:lvl1pPr>
          </a:lstStyle>
          <a:p>
            <a:pPr lvl="0"/>
            <a:r>
              <a:rPr lang="en-US" dirty="0"/>
              <a:t>CLICK TO EDIT</a:t>
            </a:r>
          </a:p>
        </p:txBody>
      </p:sp>
      <p:cxnSp>
        <p:nvCxnSpPr>
          <p:cNvPr id="22" name="Straight Connector 21"/>
          <p:cNvCxnSpPr/>
          <p:nvPr userDrawn="1"/>
        </p:nvCxnSpPr>
        <p:spPr>
          <a:xfrm flipV="1">
            <a:off x="178777" y="981077"/>
            <a:ext cx="8641374" cy="32141"/>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pic>
        <p:nvPicPr>
          <p:cNvPr id="23" name="Picture 22"/>
          <p:cNvPicPr>
            <a:picLocks noChangeAspect="1"/>
          </p:cNvPicPr>
          <p:nvPr userDrawn="1"/>
        </p:nvPicPr>
        <p:blipFill>
          <a:blip r:embed="rId2" cstate="screen">
            <a:extLst>
              <a:ext uri="{28A0092B-C50C-407E-A947-70E740481C1C}">
                <a14:useLocalDpi xmlns:a14="http://schemas.microsoft.com/office/drawing/2010/main" xmlns=""/>
              </a:ext>
            </a:extLst>
          </a:blip>
          <a:stretch>
            <a:fillRect/>
          </a:stretch>
        </p:blipFill>
        <p:spPr>
          <a:xfrm>
            <a:off x="7064524" y="-108396"/>
            <a:ext cx="1907540" cy="1263618"/>
          </a:xfrm>
          <a:prstGeom prst="rect">
            <a:avLst/>
          </a:prstGeom>
        </p:spPr>
      </p:pic>
      <p:sp>
        <p:nvSpPr>
          <p:cNvPr id="25" name="Title 1"/>
          <p:cNvSpPr>
            <a:spLocks noGrp="1"/>
          </p:cNvSpPr>
          <p:nvPr>
            <p:ph type="title" hasCustomPrompt="1"/>
          </p:nvPr>
        </p:nvSpPr>
        <p:spPr>
          <a:xfrm>
            <a:off x="178777" y="162898"/>
            <a:ext cx="7886700" cy="766196"/>
          </a:xfrm>
        </p:spPr>
        <p:txBody>
          <a:bodyPr>
            <a:normAutofit/>
          </a:bodyPr>
          <a:lstStyle>
            <a:lvl1pPr>
              <a:defRPr sz="2600"/>
            </a:lvl1pPr>
          </a:lstStyle>
          <a:p>
            <a:r>
              <a:rPr lang="en-US" dirty="0"/>
              <a:t>CLICK TO EDIT MASTER TITLE STYLE</a:t>
            </a:r>
          </a:p>
        </p:txBody>
      </p:sp>
      <p:sp>
        <p:nvSpPr>
          <p:cNvPr id="27" name="Footer Placeholder 26"/>
          <p:cNvSpPr>
            <a:spLocks noGrp="1"/>
          </p:cNvSpPr>
          <p:nvPr>
            <p:ph type="ftr" sz="quarter" idx="16"/>
          </p:nvPr>
        </p:nvSpPr>
        <p:spPr>
          <a:xfrm>
            <a:off x="205372" y="6334212"/>
            <a:ext cx="3086100" cy="365125"/>
          </a:xfrm>
        </p:spPr>
        <p:txBody>
          <a:bodyPr/>
          <a:lstStyle/>
          <a:p>
            <a:r>
              <a:rPr lang="en-US" dirty="0"/>
              <a:t>PUBLIC</a:t>
            </a:r>
          </a:p>
        </p:txBody>
      </p:sp>
      <p:sp>
        <p:nvSpPr>
          <p:cNvPr id="28" name="Slide Number Placeholder 27"/>
          <p:cNvSpPr>
            <a:spLocks noGrp="1"/>
          </p:cNvSpPr>
          <p:nvPr>
            <p:ph type="sldNum" sz="quarter" idx="17"/>
          </p:nvPr>
        </p:nvSpPr>
        <p:spPr/>
        <p:txBody>
          <a:bodyPr/>
          <a:lstStyle/>
          <a:p>
            <a:fld id="{3B9F6E38-0256-4C4B-981B-FAA90C720E3E}" type="slidenum">
              <a:rPr lang="en-US" smtClean="0"/>
              <a:pPr/>
              <a:t>‹#›</a:t>
            </a:fld>
            <a:endParaRPr lang="en-US" dirty="0"/>
          </a:p>
        </p:txBody>
      </p:sp>
    </p:spTree>
    <p:extLst>
      <p:ext uri="{BB962C8B-B14F-4D97-AF65-F5344CB8AC3E}">
        <p14:creationId xmlns:p14="http://schemas.microsoft.com/office/powerpoint/2010/main" xmlns="" val="2012736319"/>
      </p:ext>
    </p:extLst>
  </p:cSld>
  <p:clrMapOvr>
    <a:masterClrMapping/>
  </p:clrMapOvr>
  <p:extLst mod="1">
    <p:ext uri="{DCECCB84-F9BA-43D5-87BE-67443E8EF086}">
      <p15:sldGuideLst xmlns:p15="http://schemas.microsoft.com/office/powerpoint/2012/main" xmlns="">
        <p15:guide id="1" orient="horz" pos="414" userDrawn="1">
          <p15:clr>
            <a:srgbClr val="FBAE40"/>
          </p15:clr>
        </p15:guide>
        <p15:guide id="2" pos="5556" userDrawn="1">
          <p15:clr>
            <a:srgbClr val="FBAE40"/>
          </p15:clr>
        </p15:guide>
        <p15:guide id="3" orient="horz" pos="640" userDrawn="1">
          <p15:clr>
            <a:srgbClr val="FBAE40"/>
          </p15:clr>
        </p15:guide>
        <p15:guide id="4" orient="horz" pos="890" userDrawn="1">
          <p15:clr>
            <a:srgbClr val="FBAE40"/>
          </p15:clr>
        </p15:guide>
        <p15:guide id="5" pos="113"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1_Vertical Title and Tex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6F103886-7247-BE4C-8651-642887018C5A}" type="slidenum">
              <a:rPr lang="en-US" smtClean="0">
                <a:solidFill>
                  <a:srgbClr val="313231">
                    <a:tint val="75000"/>
                  </a:srgbClr>
                </a:solidFill>
              </a:rPr>
              <a:pPr/>
              <a:t>‹#›</a:t>
            </a:fld>
            <a:endParaRPr lang="en-US" dirty="0">
              <a:solidFill>
                <a:srgbClr val="313231">
                  <a:tint val="75000"/>
                </a:srgbClr>
              </a:solidFill>
            </a:endParaRPr>
          </a:p>
        </p:txBody>
      </p:sp>
    </p:spTree>
    <p:extLst>
      <p:ext uri="{BB962C8B-B14F-4D97-AF65-F5344CB8AC3E}">
        <p14:creationId xmlns:p14="http://schemas.microsoft.com/office/powerpoint/2010/main" xmlns="" val="13720280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WC  2015 open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42909"/>
            <a:ext cx="4951596" cy="294834"/>
          </a:xfrm>
          <a:solidFill>
            <a:schemeClr val="accent1"/>
          </a:solidFill>
        </p:spPr>
        <p:txBody>
          <a:bodyPr>
            <a:normAutofit/>
          </a:bodyPr>
          <a:lstStyle>
            <a:lvl1pPr algn="l">
              <a:defRPr sz="1100" spc="222"/>
            </a:lvl1pPr>
          </a:lstStyle>
          <a:p>
            <a:r>
              <a:rPr lang="en-US" dirty="0"/>
              <a:t>CLICK TO EDIT MASTER TITLE STYLE</a:t>
            </a:r>
          </a:p>
        </p:txBody>
      </p:sp>
      <p:sp>
        <p:nvSpPr>
          <p:cNvPr id="6" name="Slide Number Placeholder 5"/>
          <p:cNvSpPr>
            <a:spLocks noGrp="1"/>
          </p:cNvSpPr>
          <p:nvPr>
            <p:ph type="sldNum" sz="quarter" idx="12"/>
          </p:nvPr>
        </p:nvSpPr>
        <p:spPr/>
        <p:txBody>
          <a:bodyPr/>
          <a:lstStyle/>
          <a:p>
            <a:fld id="{D7297D94-7B1D-1C49-8CC0-5D4CDFA9CE85}" type="slidenum">
              <a:rPr lang="en-US" smtClean="0"/>
              <a:pPr/>
              <a:t>‹#›</a:t>
            </a:fld>
            <a:endParaRPr lang="en-US" dirty="0"/>
          </a:p>
        </p:txBody>
      </p:sp>
      <p:sp>
        <p:nvSpPr>
          <p:cNvPr id="14" name="Footer Placeholder 4"/>
          <p:cNvSpPr txBox="1">
            <a:spLocks/>
          </p:cNvSpPr>
          <p:nvPr userDrawn="1"/>
        </p:nvSpPr>
        <p:spPr>
          <a:xfrm>
            <a:off x="435120" y="6362342"/>
            <a:ext cx="4346732" cy="359137"/>
          </a:xfrm>
          <a:prstGeom prst="rect">
            <a:avLst/>
          </a:prstGeom>
        </p:spPr>
        <p:txBody>
          <a:bodyPr vert="horz" lIns="84402" tIns="42201" rIns="84402" bIns="42201" rtlCol="0" anchor="ctr"/>
          <a:lstStyle>
            <a:defPPr>
              <a:defRPr lang="en-US"/>
            </a:defPPr>
            <a:lvl1pPr marL="0" algn="ctr" defTabSz="457200" rtl="0" eaLnBrk="1" latinLnBrk="0" hangingPunct="1">
              <a:defRPr sz="1200" kern="1200" spc="100">
                <a:solidFill>
                  <a:schemeClr val="bg1">
                    <a:lumMod val="50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900" dirty="0"/>
              <a:t>STEINHOFF WORLD CONFERENCE 2015</a:t>
            </a:r>
          </a:p>
        </p:txBody>
      </p:sp>
    </p:spTree>
    <p:extLst>
      <p:ext uri="{BB962C8B-B14F-4D97-AF65-F5344CB8AC3E}">
        <p14:creationId xmlns:p14="http://schemas.microsoft.com/office/powerpoint/2010/main" xmlns="" val="5209329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SHF TEXT SLIDE">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185341" y="6486977"/>
            <a:ext cx="3086100" cy="365125"/>
          </a:xfrm>
        </p:spPr>
        <p:txBody>
          <a:bodyPr/>
          <a:lstStyle>
            <a:lvl1pPr algn="l">
              <a:defRPr sz="900"/>
            </a:lvl1pPr>
          </a:lstStyle>
          <a:p>
            <a:r>
              <a:rPr lang="en-US" dirty="0"/>
              <a:t>PUBLIC</a:t>
            </a:r>
          </a:p>
        </p:txBody>
      </p:sp>
      <p:sp>
        <p:nvSpPr>
          <p:cNvPr id="6" name="Slide Number Placeholder 5"/>
          <p:cNvSpPr>
            <a:spLocks noGrp="1"/>
          </p:cNvSpPr>
          <p:nvPr>
            <p:ph type="sldNum" sz="quarter" idx="12"/>
          </p:nvPr>
        </p:nvSpPr>
        <p:spPr>
          <a:xfrm>
            <a:off x="6859392" y="6499010"/>
            <a:ext cx="2057400" cy="365125"/>
          </a:xfrm>
        </p:spPr>
        <p:txBody>
          <a:bodyPr/>
          <a:lstStyle>
            <a:lvl1pPr>
              <a:defRPr b="1"/>
            </a:lvl1pPr>
          </a:lstStyle>
          <a:p>
            <a:fld id="{3B9F6E38-0256-4C4B-981B-FAA90C720E3E}" type="slidenum">
              <a:rPr lang="en-US" smtClean="0"/>
              <a:pPr/>
              <a:t>‹#›</a:t>
            </a:fld>
            <a:endParaRPr lang="en-US" dirty="0"/>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xmlns=""/>
              </a:ext>
            </a:extLst>
          </a:blip>
          <a:stretch>
            <a:fillRect/>
          </a:stretch>
        </p:blipFill>
        <p:spPr>
          <a:xfrm>
            <a:off x="6924509" y="-85884"/>
            <a:ext cx="2038815" cy="1246689"/>
          </a:xfrm>
          <a:prstGeom prst="rect">
            <a:avLst/>
          </a:prstGeom>
        </p:spPr>
      </p:pic>
      <p:sp>
        <p:nvSpPr>
          <p:cNvPr id="15" name="Content Placeholder 14"/>
          <p:cNvSpPr>
            <a:spLocks noGrp="1"/>
          </p:cNvSpPr>
          <p:nvPr>
            <p:ph sz="quarter" idx="13" hasCustomPrompt="1"/>
          </p:nvPr>
        </p:nvSpPr>
        <p:spPr>
          <a:xfrm>
            <a:off x="191937" y="242006"/>
            <a:ext cx="7792336" cy="486657"/>
          </a:xfrm>
        </p:spPr>
        <p:txBody>
          <a:bodyPr>
            <a:noAutofit/>
          </a:bodyPr>
          <a:lstStyle>
            <a:lvl1pPr marL="0" indent="0">
              <a:buNone/>
              <a:defRPr sz="4000" b="1"/>
            </a:lvl1pPr>
          </a:lstStyle>
          <a:p>
            <a:pPr lvl="0"/>
            <a:r>
              <a:rPr lang="en-US" dirty="0"/>
              <a:t>CLICK TO EDIT</a:t>
            </a:r>
          </a:p>
        </p:txBody>
      </p:sp>
      <p:sp>
        <p:nvSpPr>
          <p:cNvPr id="16" name="Content Placeholder 14"/>
          <p:cNvSpPr>
            <a:spLocks noGrp="1"/>
          </p:cNvSpPr>
          <p:nvPr>
            <p:ph sz="quarter" idx="14" hasCustomPrompt="1"/>
          </p:nvPr>
        </p:nvSpPr>
        <p:spPr>
          <a:xfrm>
            <a:off x="179388" y="994922"/>
            <a:ext cx="7792336" cy="486657"/>
          </a:xfrm>
        </p:spPr>
        <p:txBody>
          <a:bodyPr>
            <a:noAutofit/>
          </a:bodyPr>
          <a:lstStyle>
            <a:lvl1pPr marL="0" indent="0">
              <a:buNone/>
              <a:defRPr sz="1400" b="0"/>
            </a:lvl1pPr>
          </a:lstStyle>
          <a:p>
            <a:pPr lvl="0"/>
            <a:r>
              <a:rPr lang="en-US" dirty="0"/>
              <a:t>CLICK TO EDIT</a:t>
            </a:r>
          </a:p>
        </p:txBody>
      </p:sp>
      <p:sp>
        <p:nvSpPr>
          <p:cNvPr id="17" name="Content Placeholder 14"/>
          <p:cNvSpPr>
            <a:spLocks noGrp="1"/>
          </p:cNvSpPr>
          <p:nvPr>
            <p:ph sz="quarter" idx="15" hasCustomPrompt="1"/>
          </p:nvPr>
        </p:nvSpPr>
        <p:spPr>
          <a:xfrm>
            <a:off x="179388" y="1989138"/>
            <a:ext cx="7792336" cy="4021369"/>
          </a:xfrm>
        </p:spPr>
        <p:txBody>
          <a:bodyPr>
            <a:noAutofit/>
          </a:bodyPr>
          <a:lstStyle>
            <a:lvl1pPr marL="342882" indent="-342882">
              <a:buFont typeface="Arial" charset="0"/>
              <a:buChar char="•"/>
              <a:defRPr sz="2400" b="0"/>
            </a:lvl1pPr>
          </a:lstStyle>
          <a:p>
            <a:pPr lvl="0"/>
            <a:r>
              <a:rPr lang="en-US" dirty="0"/>
              <a:t>CLICK TO EDIT</a:t>
            </a:r>
          </a:p>
          <a:p>
            <a:pPr lvl="0"/>
            <a:endParaRPr lang="en-US" dirty="0"/>
          </a:p>
          <a:p>
            <a:pPr lvl="0"/>
            <a:endParaRPr lang="en-US" dirty="0"/>
          </a:p>
          <a:p>
            <a:pPr lvl="0"/>
            <a:endParaRPr lang="en-US" dirty="0"/>
          </a:p>
        </p:txBody>
      </p:sp>
    </p:spTree>
    <p:extLst>
      <p:ext uri="{BB962C8B-B14F-4D97-AF65-F5344CB8AC3E}">
        <p14:creationId xmlns:p14="http://schemas.microsoft.com/office/powerpoint/2010/main" xmlns="" val="613202847"/>
      </p:ext>
    </p:extLst>
  </p:cSld>
  <p:clrMapOvr>
    <a:masterClrMapping/>
  </p:clrMapOvr>
  <p:extLst mod="1">
    <p:ext uri="{DCECCB84-F9BA-43D5-87BE-67443E8EF086}">
      <p15:sldGuideLst xmlns:p15="http://schemas.microsoft.com/office/powerpoint/2012/main" xmlns="">
        <p15:guide id="1" orient="horz" pos="459">
          <p15:clr>
            <a:srgbClr val="FBAE40"/>
          </p15:clr>
        </p15:guide>
        <p15:guide id="2" pos="5556">
          <p15:clr>
            <a:srgbClr val="FBAE40"/>
          </p15:clr>
        </p15:guide>
        <p15:guide id="3" orient="horz" pos="618">
          <p15:clr>
            <a:srgbClr val="FBAE40"/>
          </p15:clr>
        </p15:guide>
        <p15:guide id="4" orient="horz" pos="1253">
          <p15:clr>
            <a:srgbClr val="FBAE40"/>
          </p15:clr>
        </p15:guide>
        <p15:guide id="5" pos="113">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TEXT SLIDE ONE">
    <p:spTree>
      <p:nvGrpSpPr>
        <p:cNvPr id="1" name=""/>
        <p:cNvGrpSpPr/>
        <p:nvPr/>
      </p:nvGrpSpPr>
      <p:grpSpPr>
        <a:xfrm>
          <a:off x="0" y="0"/>
          <a:ext cx="0" cy="0"/>
          <a:chOff x="0" y="0"/>
          <a:chExt cx="0" cy="0"/>
        </a:xfrm>
      </p:grpSpPr>
      <p:cxnSp>
        <p:nvCxnSpPr>
          <p:cNvPr id="5" name="Straight Connector 4"/>
          <p:cNvCxnSpPr/>
          <p:nvPr userDrawn="1"/>
        </p:nvCxnSpPr>
        <p:spPr>
          <a:xfrm>
            <a:off x="248351" y="1012826"/>
            <a:ext cx="8644825" cy="0"/>
          </a:xfrm>
          <a:prstGeom prst="line">
            <a:avLst/>
          </a:prstGeom>
          <a:ln w="22225">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Content Placeholder 14"/>
          <p:cNvSpPr>
            <a:spLocks noGrp="1"/>
          </p:cNvSpPr>
          <p:nvPr>
            <p:ph sz="quarter" idx="14"/>
          </p:nvPr>
        </p:nvSpPr>
        <p:spPr>
          <a:xfrm>
            <a:off x="255067" y="1426516"/>
            <a:ext cx="7792336" cy="486658"/>
          </a:xfrm>
        </p:spPr>
        <p:txBody>
          <a:bodyPr>
            <a:noAutofit/>
          </a:bodyPr>
          <a:lstStyle>
            <a:lvl1pPr marL="0" indent="0">
              <a:buNone/>
              <a:defRPr sz="1300" b="0"/>
            </a:lvl1pPr>
          </a:lstStyle>
          <a:p>
            <a:pPr lvl="0"/>
            <a:r>
              <a:rPr lang="en-US"/>
              <a:t>Click to edit Master text styles</a:t>
            </a:r>
          </a:p>
        </p:txBody>
      </p:sp>
      <p:sp>
        <p:nvSpPr>
          <p:cNvPr id="12" name="Title 1"/>
          <p:cNvSpPr>
            <a:spLocks noGrp="1"/>
          </p:cNvSpPr>
          <p:nvPr>
            <p:ph type="title"/>
          </p:nvPr>
        </p:nvSpPr>
        <p:spPr>
          <a:xfrm>
            <a:off x="258046" y="162898"/>
            <a:ext cx="7886700" cy="766196"/>
          </a:xfrm>
        </p:spPr>
        <p:txBody>
          <a:bodyPr>
            <a:normAutofit/>
          </a:bodyPr>
          <a:lstStyle>
            <a:lvl1pPr>
              <a:defRPr sz="2600" b="1"/>
            </a:lvl1pPr>
          </a:lstStyle>
          <a:p>
            <a:r>
              <a:rPr lang="en-US" dirty="0"/>
              <a:t>Click to edit Master title style</a:t>
            </a:r>
          </a:p>
        </p:txBody>
      </p:sp>
      <p:sp>
        <p:nvSpPr>
          <p:cNvPr id="6" name="Slide Number Placeholder 5"/>
          <p:cNvSpPr>
            <a:spLocks noGrp="1"/>
          </p:cNvSpPr>
          <p:nvPr>
            <p:ph type="sldNum" sz="quarter" idx="15"/>
          </p:nvPr>
        </p:nvSpPr>
        <p:spPr>
          <a:xfrm>
            <a:off x="6787662" y="6356352"/>
            <a:ext cx="2057400" cy="365125"/>
          </a:xfrm>
        </p:spPr>
        <p:txBody>
          <a:bodyPr/>
          <a:lstStyle>
            <a:lvl1pPr>
              <a:defRPr/>
            </a:lvl1pPr>
          </a:lstStyle>
          <a:p>
            <a:pPr>
              <a:defRPr/>
            </a:pPr>
            <a:fld id="{1A70C215-7FD4-F741-9EDD-C4BAF7BC3257}" type="slidenum">
              <a:rPr lang="en-US"/>
              <a:pPr>
                <a:defRPr/>
              </a:pPr>
              <a:t>‹#›</a:t>
            </a:fld>
            <a:endParaRPr lang="en-US" dirty="0"/>
          </a:p>
        </p:txBody>
      </p:sp>
      <p:sp>
        <p:nvSpPr>
          <p:cNvPr id="7" name="Footer Placeholder 4"/>
          <p:cNvSpPr>
            <a:spLocks noGrp="1"/>
          </p:cNvSpPr>
          <p:nvPr>
            <p:ph type="ftr" sz="quarter" idx="16"/>
          </p:nvPr>
        </p:nvSpPr>
        <p:spPr>
          <a:xfrm>
            <a:off x="253703" y="6356352"/>
            <a:ext cx="3086100" cy="365125"/>
          </a:xfrm>
          <a:prstGeom prst="rect">
            <a:avLst/>
          </a:prstGeom>
        </p:spPr>
        <p:txBody>
          <a:bodyPr anchor="ctr"/>
          <a:lstStyle>
            <a:lvl1pPr algn="l">
              <a:defRPr sz="900" dirty="0" smtClean="0"/>
            </a:lvl1pPr>
          </a:lstStyle>
          <a:p>
            <a:pPr>
              <a:defRPr/>
            </a:pPr>
            <a:r>
              <a:rPr lang="en-US" dirty="0"/>
              <a:t>PUBLIC</a:t>
            </a: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xmlns=""/>
              </a:ext>
            </a:extLst>
          </a:blip>
          <a:stretch>
            <a:fillRect/>
          </a:stretch>
        </p:blipFill>
        <p:spPr>
          <a:xfrm>
            <a:off x="5580779" y="91449"/>
            <a:ext cx="1662644" cy="1016668"/>
          </a:xfrm>
          <a:prstGeom prst="rect">
            <a:avLst/>
          </a:prstGeom>
        </p:spPr>
      </p:pic>
      <p:pic>
        <p:nvPicPr>
          <p:cNvPr id="11" name="Picture 10"/>
          <p:cNvPicPr>
            <a:picLocks noChangeAspect="1"/>
          </p:cNvPicPr>
          <p:nvPr userDrawn="1"/>
        </p:nvPicPr>
        <p:blipFill>
          <a:blip r:embed="rId3" cstate="screen">
            <a:extLst>
              <a:ext uri="{28A0092B-C50C-407E-A947-70E740481C1C}">
                <a14:useLocalDpi xmlns:a14="http://schemas.microsoft.com/office/drawing/2010/main" xmlns=""/>
              </a:ext>
            </a:extLst>
          </a:blip>
          <a:stretch>
            <a:fillRect/>
          </a:stretch>
        </p:blipFill>
        <p:spPr>
          <a:xfrm>
            <a:off x="7071614" y="228503"/>
            <a:ext cx="1990001" cy="708561"/>
          </a:xfrm>
          <a:prstGeom prst="rect">
            <a:avLst/>
          </a:prstGeom>
        </p:spPr>
      </p:pic>
    </p:spTree>
    <p:extLst>
      <p:ext uri="{BB962C8B-B14F-4D97-AF65-F5344CB8AC3E}">
        <p14:creationId xmlns:p14="http://schemas.microsoft.com/office/powerpoint/2010/main" xmlns="" val="1931230448"/>
      </p:ext>
    </p:extLst>
  </p:cSld>
  <p:clrMapOvr>
    <a:masterClrMapping/>
  </p:clrMapOvr>
  <p:extLst mod="1">
    <p:ext uri="{DCECCB84-F9BA-43D5-87BE-67443E8EF086}">
      <p15:sldGuideLst xmlns:p15="http://schemas.microsoft.com/office/powerpoint/2012/main" xmlns="">
        <p15:guide id="1" orient="horz" pos="414">
          <p15:clr>
            <a:srgbClr val="FBAE40"/>
          </p15:clr>
        </p15:guide>
        <p15:guide id="2" pos="158">
          <p15:clr>
            <a:srgbClr val="FBAE40"/>
          </p15:clr>
        </p15:guide>
        <p15:guide id="3" pos="5602">
          <p15:clr>
            <a:srgbClr val="FBAE40"/>
          </p15:clr>
        </p15:guide>
        <p15:guide id="4" orient="horz" pos="913">
          <p15:clr>
            <a:srgbClr val="FBAE40"/>
          </p15:clr>
        </p15:guide>
        <p15:guide id="5" orient="horz" pos="3952">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7_TEXT SLIDE ONE">
    <p:spTree>
      <p:nvGrpSpPr>
        <p:cNvPr id="1" name=""/>
        <p:cNvGrpSpPr/>
        <p:nvPr/>
      </p:nvGrpSpPr>
      <p:grpSpPr>
        <a:xfrm>
          <a:off x="0" y="0"/>
          <a:ext cx="0" cy="0"/>
          <a:chOff x="0" y="0"/>
          <a:chExt cx="0" cy="0"/>
        </a:xfrm>
      </p:grpSpPr>
      <p:sp>
        <p:nvSpPr>
          <p:cNvPr id="8" name="Content Placeholder 14"/>
          <p:cNvSpPr>
            <a:spLocks noGrp="1"/>
          </p:cNvSpPr>
          <p:nvPr>
            <p:ph sz="quarter" idx="14"/>
          </p:nvPr>
        </p:nvSpPr>
        <p:spPr>
          <a:xfrm>
            <a:off x="255067" y="1426516"/>
            <a:ext cx="7792336" cy="486658"/>
          </a:xfrm>
        </p:spPr>
        <p:txBody>
          <a:bodyPr>
            <a:noAutofit/>
          </a:bodyPr>
          <a:lstStyle>
            <a:lvl1pPr marL="0" indent="0">
              <a:buNone/>
              <a:defRPr sz="1292" b="0"/>
            </a:lvl1pPr>
          </a:lstStyle>
          <a:p>
            <a:pPr lvl="0"/>
            <a:r>
              <a:rPr lang="en-US"/>
              <a:t>Click to edit Master text styles</a:t>
            </a:r>
          </a:p>
        </p:txBody>
      </p:sp>
      <p:sp>
        <p:nvSpPr>
          <p:cNvPr id="12" name="Title 1"/>
          <p:cNvSpPr>
            <a:spLocks noGrp="1"/>
          </p:cNvSpPr>
          <p:nvPr>
            <p:ph type="title"/>
          </p:nvPr>
        </p:nvSpPr>
        <p:spPr>
          <a:xfrm>
            <a:off x="258046" y="162898"/>
            <a:ext cx="7886700" cy="766196"/>
          </a:xfrm>
        </p:spPr>
        <p:txBody>
          <a:bodyPr>
            <a:normAutofit/>
          </a:bodyPr>
          <a:lstStyle>
            <a:lvl1pPr>
              <a:defRPr sz="2585" b="1"/>
            </a:lvl1pPr>
          </a:lstStyle>
          <a:p>
            <a:r>
              <a:rPr lang="en-US" dirty="0"/>
              <a:t>Click to edit Master title style</a:t>
            </a:r>
          </a:p>
        </p:txBody>
      </p:sp>
      <p:sp>
        <p:nvSpPr>
          <p:cNvPr id="6" name="Slide Number Placeholder 5"/>
          <p:cNvSpPr>
            <a:spLocks noGrp="1"/>
          </p:cNvSpPr>
          <p:nvPr>
            <p:ph type="sldNum" sz="quarter" idx="15"/>
          </p:nvPr>
        </p:nvSpPr>
        <p:spPr>
          <a:xfrm>
            <a:off x="6787662" y="6356351"/>
            <a:ext cx="2057400" cy="365125"/>
          </a:xfrm>
        </p:spPr>
        <p:txBody>
          <a:bodyPr/>
          <a:lstStyle>
            <a:lvl1pPr>
              <a:defRPr/>
            </a:lvl1pPr>
          </a:lstStyle>
          <a:p>
            <a:pPr>
              <a:defRPr/>
            </a:pPr>
            <a:fld id="{1A70C215-7FD4-F741-9EDD-C4BAF7BC3257}" type="slidenum">
              <a:rPr lang="en-US">
                <a:solidFill>
                  <a:srgbClr val="313231">
                    <a:tint val="75000"/>
                  </a:srgbClr>
                </a:solidFill>
              </a:rPr>
              <a:pPr>
                <a:defRPr/>
              </a:pPr>
              <a:t>‹#›</a:t>
            </a:fld>
            <a:endParaRPr lang="en-US" dirty="0">
              <a:solidFill>
                <a:srgbClr val="313231">
                  <a:tint val="75000"/>
                </a:srgbClr>
              </a:solidFill>
            </a:endParaRPr>
          </a:p>
        </p:txBody>
      </p:sp>
      <p:sp>
        <p:nvSpPr>
          <p:cNvPr id="10" name="Footer Placeholder 4"/>
          <p:cNvSpPr>
            <a:spLocks noGrp="1"/>
          </p:cNvSpPr>
          <p:nvPr>
            <p:ph type="ftr" sz="quarter" idx="16"/>
          </p:nvPr>
        </p:nvSpPr>
        <p:spPr>
          <a:xfrm>
            <a:off x="253702" y="6356351"/>
            <a:ext cx="4575749" cy="365125"/>
          </a:xfrm>
          <a:prstGeom prst="rect">
            <a:avLst/>
          </a:prstGeom>
        </p:spPr>
        <p:txBody>
          <a:bodyPr anchor="ctr"/>
          <a:lstStyle>
            <a:lvl1pPr algn="l">
              <a:defRPr sz="923" dirty="0" smtClean="0"/>
            </a:lvl1pPr>
          </a:lstStyle>
          <a:p>
            <a:pPr>
              <a:defRPr/>
            </a:pPr>
            <a:r>
              <a:rPr lang="en-US" dirty="0">
                <a:solidFill>
                  <a:srgbClr val="313231"/>
                </a:solidFill>
              </a:rPr>
              <a:t>Unaudited half-year results for the six months ended 31 March 2017</a:t>
            </a:r>
          </a:p>
        </p:txBody>
      </p:sp>
      <p:cxnSp>
        <p:nvCxnSpPr>
          <p:cNvPr id="7" name="Straight Connector 6">
            <a:extLst>
              <a:ext uri="{FF2B5EF4-FFF2-40B4-BE49-F238E27FC236}">
                <a16:creationId xmlns="" xmlns:a16="http://schemas.microsoft.com/office/drawing/2014/main" id="{9A006C3D-6876-4C93-8D2B-6BB31055409E}"/>
              </a:ext>
            </a:extLst>
          </p:cNvPr>
          <p:cNvCxnSpPr/>
          <p:nvPr userDrawn="1"/>
        </p:nvCxnSpPr>
        <p:spPr>
          <a:xfrm>
            <a:off x="178777" y="1013219"/>
            <a:ext cx="8665962" cy="2783"/>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864943542"/>
      </p:ext>
    </p:extLst>
  </p:cSld>
  <p:clrMapOvr>
    <a:masterClrMapping/>
  </p:clrMapOvr>
  <p:extLst mod="1">
    <p:ext uri="{DCECCB84-F9BA-43D5-87BE-67443E8EF086}">
      <p15:sldGuideLst xmlns:p15="http://schemas.microsoft.com/office/powerpoint/2012/main" xmlns="">
        <p15:guide id="1" orient="horz" pos="414">
          <p15:clr>
            <a:srgbClr val="FBAE40"/>
          </p15:clr>
        </p15:guide>
        <p15:guide id="2" pos="158">
          <p15:clr>
            <a:srgbClr val="FBAE40"/>
          </p15:clr>
        </p15:guide>
        <p15:guide id="3" pos="5602">
          <p15:clr>
            <a:srgbClr val="FBAE40"/>
          </p15:clr>
        </p15:guide>
        <p15:guide id="4" orient="horz" pos="913">
          <p15:clr>
            <a:srgbClr val="FBAE40"/>
          </p15:clr>
        </p15:guide>
        <p15:guide id="5" orient="horz" pos="395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SLIDE ON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6787338" y="6356356"/>
            <a:ext cx="2057400" cy="365125"/>
          </a:xfrm>
        </p:spPr>
        <p:txBody>
          <a:bodyPr/>
          <a:lstStyle/>
          <a:p>
            <a:fld id="{3B9F6E38-0256-4C4B-981B-FAA90C720E3E}" type="slidenum">
              <a:rPr lang="en-US" smtClean="0"/>
              <a:pPr/>
              <a:t>‹#›</a:t>
            </a:fld>
            <a:endParaRPr lang="en-US" dirty="0"/>
          </a:p>
        </p:txBody>
      </p:sp>
      <p:sp>
        <p:nvSpPr>
          <p:cNvPr id="7" name="Footer Placeholder 4"/>
          <p:cNvSpPr>
            <a:spLocks noGrp="1"/>
          </p:cNvSpPr>
          <p:nvPr>
            <p:ph type="ftr" sz="quarter" idx="11"/>
          </p:nvPr>
        </p:nvSpPr>
        <p:spPr>
          <a:xfrm>
            <a:off x="213858" y="6356356"/>
            <a:ext cx="3086100" cy="365125"/>
          </a:xfrm>
        </p:spPr>
        <p:txBody>
          <a:bodyPr/>
          <a:lstStyle>
            <a:lvl1pPr>
              <a:defRPr sz="900"/>
            </a:lvl1pPr>
          </a:lstStyle>
          <a:p>
            <a:pPr algn="l"/>
            <a:r>
              <a:rPr lang="en-US" dirty="0"/>
              <a:t>PUBLIC</a:t>
            </a:r>
          </a:p>
        </p:txBody>
      </p:sp>
      <p:sp>
        <p:nvSpPr>
          <p:cNvPr id="8" name="Content Placeholder 14"/>
          <p:cNvSpPr>
            <a:spLocks noGrp="1"/>
          </p:cNvSpPr>
          <p:nvPr>
            <p:ph sz="quarter" idx="14" hasCustomPrompt="1"/>
          </p:nvPr>
        </p:nvSpPr>
        <p:spPr>
          <a:xfrm>
            <a:off x="205372" y="1426516"/>
            <a:ext cx="7792336" cy="486658"/>
          </a:xfrm>
        </p:spPr>
        <p:txBody>
          <a:bodyPr>
            <a:noAutofit/>
          </a:bodyPr>
          <a:lstStyle>
            <a:lvl1pPr marL="0" indent="0">
              <a:buNone/>
              <a:defRPr sz="1300" b="0"/>
            </a:lvl1pPr>
          </a:lstStyle>
          <a:p>
            <a:pPr lvl="0"/>
            <a:r>
              <a:rPr lang="en-US" dirty="0"/>
              <a:t>CLICK TO EDIT</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xmlns=""/>
              </a:ext>
            </a:extLst>
          </a:blip>
          <a:stretch>
            <a:fillRect/>
          </a:stretch>
        </p:blipFill>
        <p:spPr>
          <a:xfrm>
            <a:off x="6916615" y="-108396"/>
            <a:ext cx="2055449" cy="1263618"/>
          </a:xfrm>
          <a:prstGeom prst="rect">
            <a:avLst/>
          </a:prstGeom>
        </p:spPr>
      </p:pic>
      <p:sp>
        <p:nvSpPr>
          <p:cNvPr id="12" name="Title 1"/>
          <p:cNvSpPr>
            <a:spLocks noGrp="1"/>
          </p:cNvSpPr>
          <p:nvPr>
            <p:ph type="title" hasCustomPrompt="1"/>
          </p:nvPr>
        </p:nvSpPr>
        <p:spPr>
          <a:xfrm>
            <a:off x="178777" y="162898"/>
            <a:ext cx="7886700" cy="766196"/>
          </a:xfrm>
        </p:spPr>
        <p:txBody>
          <a:bodyPr>
            <a:normAutofit/>
          </a:bodyPr>
          <a:lstStyle>
            <a:lvl1pPr>
              <a:defRPr sz="2600" b="1"/>
            </a:lvl1pPr>
          </a:lstStyle>
          <a:p>
            <a:r>
              <a:rPr lang="en-US" dirty="0"/>
              <a:t>CLICK TO EDIT MASTER TITLE STYLE</a:t>
            </a:r>
          </a:p>
        </p:txBody>
      </p:sp>
      <p:cxnSp>
        <p:nvCxnSpPr>
          <p:cNvPr id="13" name="Straight Connector 12"/>
          <p:cNvCxnSpPr/>
          <p:nvPr userDrawn="1"/>
        </p:nvCxnSpPr>
        <p:spPr>
          <a:xfrm>
            <a:off x="178777" y="1013219"/>
            <a:ext cx="8665962" cy="2783"/>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367442455"/>
      </p:ext>
    </p:extLst>
  </p:cSld>
  <p:clrMapOvr>
    <a:masterClrMapping/>
  </p:clrMapOvr>
  <p:extLst mod="1">
    <p:ext uri="{DCECCB84-F9BA-43D5-87BE-67443E8EF086}">
      <p15:sldGuideLst xmlns:p15="http://schemas.microsoft.com/office/powerpoint/2012/main" xmlns="">
        <p15:guide id="1" orient="horz" pos="640" userDrawn="1">
          <p15:clr>
            <a:srgbClr val="FBAE40"/>
          </p15:clr>
        </p15:guide>
        <p15:guide id="2" pos="116" userDrawn="1">
          <p15:clr>
            <a:srgbClr val="FBAE40"/>
          </p15:clr>
        </p15:guide>
        <p15:guide id="3" orient="horz" pos="1026" userDrawn="1">
          <p15:clr>
            <a:srgbClr val="FBAE40"/>
          </p15:clr>
        </p15:guide>
        <p15:guide id="4" orient="horz" pos="255" userDrawn="1">
          <p15:clr>
            <a:srgbClr val="FBAE40"/>
          </p15:clr>
        </p15:guide>
        <p15:guide id="5" pos="5581"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EXT SLIDE ON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6787338" y="6356356"/>
            <a:ext cx="2057400" cy="365125"/>
          </a:xfrm>
        </p:spPr>
        <p:txBody>
          <a:bodyPr/>
          <a:lstStyle/>
          <a:p>
            <a:fld id="{3B9F6E38-0256-4C4B-981B-FAA90C720E3E}" type="slidenum">
              <a:rPr lang="en-US" smtClean="0"/>
              <a:pPr/>
              <a:t>‹#›</a:t>
            </a:fld>
            <a:endParaRPr lang="en-US" dirty="0"/>
          </a:p>
        </p:txBody>
      </p:sp>
      <p:sp>
        <p:nvSpPr>
          <p:cNvPr id="7" name="Footer Placeholder 4"/>
          <p:cNvSpPr>
            <a:spLocks noGrp="1"/>
          </p:cNvSpPr>
          <p:nvPr>
            <p:ph type="ftr" sz="quarter" idx="11"/>
          </p:nvPr>
        </p:nvSpPr>
        <p:spPr>
          <a:xfrm>
            <a:off x="213858" y="6356356"/>
            <a:ext cx="3086100" cy="365125"/>
          </a:xfrm>
        </p:spPr>
        <p:txBody>
          <a:bodyPr/>
          <a:lstStyle>
            <a:lvl1pPr>
              <a:defRPr sz="900"/>
            </a:lvl1pPr>
          </a:lstStyle>
          <a:p>
            <a:pPr algn="l"/>
            <a:r>
              <a:rPr lang="en-US" dirty="0"/>
              <a:t>PUBLIC</a:t>
            </a:r>
          </a:p>
        </p:txBody>
      </p:sp>
      <p:sp>
        <p:nvSpPr>
          <p:cNvPr id="8" name="Content Placeholder 14"/>
          <p:cNvSpPr>
            <a:spLocks noGrp="1"/>
          </p:cNvSpPr>
          <p:nvPr>
            <p:ph sz="quarter" idx="14" hasCustomPrompt="1"/>
          </p:nvPr>
        </p:nvSpPr>
        <p:spPr>
          <a:xfrm>
            <a:off x="205372" y="1426516"/>
            <a:ext cx="7792336" cy="486658"/>
          </a:xfrm>
        </p:spPr>
        <p:txBody>
          <a:bodyPr>
            <a:noAutofit/>
          </a:bodyPr>
          <a:lstStyle>
            <a:lvl1pPr marL="0" indent="0">
              <a:buNone/>
              <a:defRPr sz="1300" b="0"/>
            </a:lvl1pPr>
          </a:lstStyle>
          <a:p>
            <a:pPr lvl="0"/>
            <a:r>
              <a:rPr lang="en-US" dirty="0"/>
              <a:t>CLICK TO EDIT</a:t>
            </a:r>
          </a:p>
        </p:txBody>
      </p:sp>
      <p:sp>
        <p:nvSpPr>
          <p:cNvPr id="12" name="Title 1"/>
          <p:cNvSpPr>
            <a:spLocks noGrp="1"/>
          </p:cNvSpPr>
          <p:nvPr>
            <p:ph type="title" hasCustomPrompt="1"/>
          </p:nvPr>
        </p:nvSpPr>
        <p:spPr>
          <a:xfrm>
            <a:off x="178777" y="162898"/>
            <a:ext cx="7886700" cy="766196"/>
          </a:xfrm>
        </p:spPr>
        <p:txBody>
          <a:bodyPr>
            <a:normAutofit/>
          </a:bodyPr>
          <a:lstStyle>
            <a:lvl1pPr>
              <a:defRPr sz="2600" b="1"/>
            </a:lvl1pPr>
          </a:lstStyle>
          <a:p>
            <a:r>
              <a:rPr lang="en-US" dirty="0"/>
              <a:t>CLICK TO EDIT MASTER TITLE STYLE</a:t>
            </a:r>
          </a:p>
        </p:txBody>
      </p:sp>
      <p:cxnSp>
        <p:nvCxnSpPr>
          <p:cNvPr id="13" name="Straight Connector 12"/>
          <p:cNvCxnSpPr/>
          <p:nvPr userDrawn="1"/>
        </p:nvCxnSpPr>
        <p:spPr>
          <a:xfrm>
            <a:off x="178777" y="1013219"/>
            <a:ext cx="8665962" cy="2783"/>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81396358"/>
      </p:ext>
    </p:extLst>
  </p:cSld>
  <p:clrMapOvr>
    <a:masterClrMapping/>
  </p:clrMapOvr>
  <p:extLst mod="1">
    <p:ext uri="{DCECCB84-F9BA-43D5-87BE-67443E8EF086}">
      <p15:sldGuideLst xmlns:p15="http://schemas.microsoft.com/office/powerpoint/2012/main" xmlns="">
        <p15:guide id="1" orient="horz" pos="640" userDrawn="1">
          <p15:clr>
            <a:srgbClr val="FBAE40"/>
          </p15:clr>
        </p15:guide>
        <p15:guide id="2" pos="116" userDrawn="1">
          <p15:clr>
            <a:srgbClr val="FBAE40"/>
          </p15:clr>
        </p15:guide>
        <p15:guide id="3" orient="horz" pos="1026" userDrawn="1">
          <p15:clr>
            <a:srgbClr val="FBAE40"/>
          </p15:clr>
        </p15:guide>
        <p15:guide id="4" orient="horz" pos="255" userDrawn="1">
          <p15:clr>
            <a:srgbClr val="FBAE40"/>
          </p15:clr>
        </p15:guide>
        <p15:guide id="5" pos="5581"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ICTURE SLID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0" y="8752"/>
            <a:ext cx="9144000" cy="6858000"/>
          </a:xfrm>
        </p:spPr>
        <p:txBody>
          <a:bodyPr/>
          <a:lstStyle/>
          <a:p>
            <a:endParaRPr lang="en-US" dirty="0"/>
          </a:p>
        </p:txBody>
      </p:sp>
      <p:sp>
        <p:nvSpPr>
          <p:cNvPr id="6" name="Slide Number Placeholder 5"/>
          <p:cNvSpPr>
            <a:spLocks noGrp="1"/>
          </p:cNvSpPr>
          <p:nvPr>
            <p:ph type="sldNum" sz="quarter" idx="12"/>
          </p:nvPr>
        </p:nvSpPr>
        <p:spPr>
          <a:xfrm>
            <a:off x="6787336" y="6356356"/>
            <a:ext cx="2057400" cy="365125"/>
          </a:xfrm>
        </p:spPr>
        <p:txBody>
          <a:bodyPr/>
          <a:lstStyle/>
          <a:p>
            <a:fld id="{3B9F6E38-0256-4C4B-981B-FAA90C720E3E}" type="slidenum">
              <a:rPr lang="en-US" smtClean="0"/>
              <a:pPr/>
              <a:t>‹#›</a:t>
            </a:fld>
            <a:endParaRPr lang="en-US" dirty="0"/>
          </a:p>
        </p:txBody>
      </p:sp>
    </p:spTree>
    <p:extLst>
      <p:ext uri="{BB962C8B-B14F-4D97-AF65-F5344CB8AC3E}">
        <p14:creationId xmlns:p14="http://schemas.microsoft.com/office/powerpoint/2010/main" xmlns="" val="1109558130"/>
      </p:ext>
    </p:extLst>
  </p:cSld>
  <p:clrMapOvr>
    <a:masterClrMapping/>
  </p:clrMapOvr>
  <p:extLst mod="1">
    <p:ext uri="{DCECCB84-F9BA-43D5-87BE-67443E8EF086}">
      <p15:sldGuideLst xmlns:p15="http://schemas.microsoft.com/office/powerpoint/2012/main" xmlns="">
        <p15:guide id="1" orient="horz" pos="2160" userDrawn="1">
          <p15:clr>
            <a:srgbClr val="FBAE40"/>
          </p15:clr>
        </p15:guide>
        <p15:guide id="2" pos="200" userDrawn="1">
          <p15:clr>
            <a:srgbClr val="FBAE40"/>
          </p15:clr>
        </p15:guide>
        <p15:guide id="3" pos="5581"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PICTURE SLIDE">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317989" y="2040504"/>
            <a:ext cx="7886700" cy="766196"/>
          </a:xfrm>
        </p:spPr>
        <p:txBody>
          <a:bodyPr>
            <a:noAutofit/>
          </a:bodyPr>
          <a:lstStyle>
            <a:lvl1pPr>
              <a:defRPr sz="6100" b="1" baseline="0">
                <a:solidFill>
                  <a:schemeClr val="tx1"/>
                </a:solidFill>
              </a:defRPr>
            </a:lvl1pPr>
          </a:lstStyle>
          <a:p>
            <a:r>
              <a:rPr lang="en-US" dirty="0"/>
              <a:t>THANK YOU</a:t>
            </a:r>
          </a:p>
        </p:txBody>
      </p:sp>
      <p:pic>
        <p:nvPicPr>
          <p:cNvPr id="4" name="Picture 3"/>
          <p:cNvPicPr>
            <a:picLocks noChangeAspect="1"/>
          </p:cNvPicPr>
          <p:nvPr userDrawn="1"/>
        </p:nvPicPr>
        <p:blipFill>
          <a:blip r:embed="rId2" cstate="screen">
            <a:extLst>
              <a:ext uri="{BEBA8EAE-BF5A-486C-A8C5-ECC9F3942E4B}">
                <a14:imgProps xmlns:a14="http://schemas.microsoft.com/office/drawing/2010/main" xmlns="">
                  <a14:imgLayer r:embed="rId3">
                    <a14:imgEffect>
                      <a14:backgroundRemoval t="2000" b="98000" l="10000" r="90000"/>
                    </a14:imgEffect>
                  </a14:imgLayer>
                </a14:imgProps>
              </a:ext>
              <a:ext uri="{28A0092B-C50C-407E-A947-70E740481C1C}">
                <a14:useLocalDpi xmlns:a14="http://schemas.microsoft.com/office/drawing/2010/main" xmlns=""/>
              </a:ext>
            </a:extLst>
          </a:blip>
          <a:stretch>
            <a:fillRect/>
          </a:stretch>
        </p:blipFill>
        <p:spPr>
          <a:xfrm>
            <a:off x="4243755" y="2006346"/>
            <a:ext cx="2735384" cy="2222500"/>
          </a:xfrm>
          <a:prstGeom prst="rect">
            <a:avLst/>
          </a:prstGeom>
        </p:spPr>
      </p:pic>
      <p:pic>
        <p:nvPicPr>
          <p:cNvPr id="5" name="Picture 4"/>
          <p:cNvPicPr>
            <a:picLocks noChangeAspect="1"/>
          </p:cNvPicPr>
          <p:nvPr userDrawn="1"/>
        </p:nvPicPr>
        <p:blipFill>
          <a:blip r:embed="rId4" cstate="screen">
            <a:extLst>
              <a:ext uri="{28A0092B-C50C-407E-A947-70E740481C1C}">
                <a14:useLocalDpi xmlns:a14="http://schemas.microsoft.com/office/drawing/2010/main" xmlns=""/>
              </a:ext>
            </a:extLst>
          </a:blip>
          <a:stretch>
            <a:fillRect/>
          </a:stretch>
        </p:blipFill>
        <p:spPr>
          <a:xfrm>
            <a:off x="4803531" y="3236715"/>
            <a:ext cx="4056185" cy="3096891"/>
          </a:xfrm>
          <a:prstGeom prst="rect">
            <a:avLst/>
          </a:prstGeom>
        </p:spPr>
      </p:pic>
      <p:pic>
        <p:nvPicPr>
          <p:cNvPr id="2" name="Picture 1"/>
          <p:cNvPicPr>
            <a:picLocks noChangeAspect="1"/>
          </p:cNvPicPr>
          <p:nvPr userDrawn="1"/>
        </p:nvPicPr>
        <p:blipFill rotWithShape="1">
          <a:blip r:embed="rId5" cstate="screen">
            <a:extLst>
              <a:ext uri="{28A0092B-C50C-407E-A947-70E740481C1C}">
                <a14:useLocalDpi xmlns:a14="http://schemas.microsoft.com/office/drawing/2010/main" xmlns=""/>
              </a:ext>
            </a:extLst>
          </a:blip>
          <a:srcRect l="18029" t="22906" r="23127" b="55726"/>
          <a:stretch/>
        </p:blipFill>
        <p:spPr>
          <a:xfrm>
            <a:off x="6329201" y="4203915"/>
            <a:ext cx="1787301" cy="909888"/>
          </a:xfrm>
          <a:prstGeom prst="rect">
            <a:avLst/>
          </a:prstGeom>
        </p:spPr>
      </p:pic>
    </p:spTree>
    <p:extLst>
      <p:ext uri="{BB962C8B-B14F-4D97-AF65-F5344CB8AC3E}">
        <p14:creationId xmlns:p14="http://schemas.microsoft.com/office/powerpoint/2010/main" xmlns="" val="1329001252"/>
      </p:ext>
    </p:extLst>
  </p:cSld>
  <p:clrMapOvr>
    <a:masterClrMapping/>
  </p:clrMapOvr>
  <p:extLst mod="1">
    <p:ext uri="{DCECCB84-F9BA-43D5-87BE-67443E8EF086}">
      <p15:sldGuideLst xmlns:p15="http://schemas.microsoft.com/office/powerpoint/2012/main" xmlns="">
        <p15:guide id="1" orient="horz" pos="2160" userDrawn="1">
          <p15:clr>
            <a:srgbClr val="FBAE40"/>
          </p15:clr>
        </p15:guide>
        <p15:guide id="2" pos="200" userDrawn="1">
          <p15:clr>
            <a:srgbClr val="FBAE40"/>
          </p15:clr>
        </p15:guide>
        <p15:guide id="3" pos="5581"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628650" y="6356356"/>
            <a:ext cx="2057400" cy="365125"/>
          </a:xfrm>
          <a:prstGeom prst="rect">
            <a:avLst/>
          </a:prstGeom>
        </p:spPr>
        <p:txBody>
          <a:bodyPr lIns="91435" tIns="45718" rIns="91435" bIns="45718"/>
          <a:lstStyle/>
          <a:p>
            <a:endParaRPr lang="en-US" dirty="0"/>
          </a:p>
        </p:txBody>
      </p:sp>
      <p:sp>
        <p:nvSpPr>
          <p:cNvPr id="6" name="Footer Placeholder 5"/>
          <p:cNvSpPr>
            <a:spLocks noGrp="1"/>
          </p:cNvSpPr>
          <p:nvPr>
            <p:ph type="ftr" sz="quarter" idx="11"/>
          </p:nvPr>
        </p:nvSpPr>
        <p:spPr/>
        <p:txBody>
          <a:bodyPr/>
          <a:lstStyle/>
          <a:p>
            <a:r>
              <a:rPr lang="en-US" dirty="0"/>
              <a:t>PUBLIC</a:t>
            </a:r>
          </a:p>
        </p:txBody>
      </p:sp>
      <p:sp>
        <p:nvSpPr>
          <p:cNvPr id="7" name="Slide Number Placeholder 6"/>
          <p:cNvSpPr>
            <a:spLocks noGrp="1"/>
          </p:cNvSpPr>
          <p:nvPr>
            <p:ph type="sldNum" sz="quarter" idx="12"/>
          </p:nvPr>
        </p:nvSpPr>
        <p:spPr/>
        <p:txBody>
          <a:bodyPr/>
          <a:lstStyle/>
          <a:p>
            <a:fld id="{3B9F6E38-0256-4C4B-981B-FAA90C720E3E}" type="slidenum">
              <a:rPr lang="en-US" smtClean="0"/>
              <a:pPr/>
              <a:t>‹#›</a:t>
            </a:fld>
            <a:endParaRPr lang="en-US" dirty="0"/>
          </a:p>
        </p:txBody>
      </p:sp>
    </p:spTree>
    <p:extLst>
      <p:ext uri="{BB962C8B-B14F-4D97-AF65-F5344CB8AC3E}">
        <p14:creationId xmlns:p14="http://schemas.microsoft.com/office/powerpoint/2010/main" xmlns="" val="17429840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2" y="365130"/>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200" b="1"/>
            </a:lvl1pPr>
            <a:lvl2pPr marL="422020" indent="0">
              <a:buNone/>
              <a:defRPr sz="1800" b="1"/>
            </a:lvl2pPr>
            <a:lvl3pPr marL="844040" indent="0">
              <a:buNone/>
              <a:defRPr sz="1700" b="1"/>
            </a:lvl3pPr>
            <a:lvl4pPr marL="1266060" indent="0">
              <a:buNone/>
              <a:defRPr sz="1500" b="1"/>
            </a:lvl4pPr>
            <a:lvl5pPr marL="1688078" indent="0">
              <a:buNone/>
              <a:defRPr sz="1500" b="1"/>
            </a:lvl5pPr>
            <a:lvl6pPr marL="2110099" indent="0">
              <a:buNone/>
              <a:defRPr sz="1500" b="1"/>
            </a:lvl6pPr>
            <a:lvl7pPr marL="2532118" indent="0">
              <a:buNone/>
              <a:defRPr sz="1500" b="1"/>
            </a:lvl7pPr>
            <a:lvl8pPr marL="2954138" indent="0">
              <a:buNone/>
              <a:defRPr sz="1500" b="1"/>
            </a:lvl8pPr>
            <a:lvl9pPr marL="3376158" indent="0">
              <a:buNone/>
              <a:defRPr sz="1500" b="1"/>
            </a:lvl9pPr>
          </a:lstStyle>
          <a:p>
            <a:pPr lvl="0"/>
            <a:r>
              <a:rPr lang="en-US"/>
              <a:t>Click to edit Master text styles</a:t>
            </a:r>
          </a:p>
        </p:txBody>
      </p:sp>
      <p:sp>
        <p:nvSpPr>
          <p:cNvPr id="4" name="Content Placeholder 3"/>
          <p:cNvSpPr>
            <a:spLocks noGrp="1"/>
          </p:cNvSpPr>
          <p:nvPr>
            <p:ph sz="half" idx="2"/>
          </p:nvPr>
        </p:nvSpPr>
        <p:spPr>
          <a:xfrm>
            <a:off x="629842" y="2505077"/>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2" y="1681163"/>
            <a:ext cx="3887391" cy="823912"/>
          </a:xfrm>
        </p:spPr>
        <p:txBody>
          <a:bodyPr anchor="b"/>
          <a:lstStyle>
            <a:lvl1pPr marL="0" indent="0">
              <a:buNone/>
              <a:defRPr sz="2200" b="1"/>
            </a:lvl1pPr>
            <a:lvl2pPr marL="422020" indent="0">
              <a:buNone/>
              <a:defRPr sz="1800" b="1"/>
            </a:lvl2pPr>
            <a:lvl3pPr marL="844040" indent="0">
              <a:buNone/>
              <a:defRPr sz="1700" b="1"/>
            </a:lvl3pPr>
            <a:lvl4pPr marL="1266060" indent="0">
              <a:buNone/>
              <a:defRPr sz="1500" b="1"/>
            </a:lvl4pPr>
            <a:lvl5pPr marL="1688078" indent="0">
              <a:buNone/>
              <a:defRPr sz="1500" b="1"/>
            </a:lvl5pPr>
            <a:lvl6pPr marL="2110099" indent="0">
              <a:buNone/>
              <a:defRPr sz="1500" b="1"/>
            </a:lvl6pPr>
            <a:lvl7pPr marL="2532118" indent="0">
              <a:buNone/>
              <a:defRPr sz="1500" b="1"/>
            </a:lvl7pPr>
            <a:lvl8pPr marL="2954138" indent="0">
              <a:buNone/>
              <a:defRPr sz="1500" b="1"/>
            </a:lvl8pPr>
            <a:lvl9pPr marL="3376158" indent="0">
              <a:buNone/>
              <a:defRPr sz="1500" b="1"/>
            </a:lvl9pPr>
          </a:lstStyle>
          <a:p>
            <a:pPr lvl="0"/>
            <a:r>
              <a:rPr lang="en-US"/>
              <a:t>Click to edit Master text styles</a:t>
            </a:r>
          </a:p>
        </p:txBody>
      </p:sp>
      <p:sp>
        <p:nvSpPr>
          <p:cNvPr id="6" name="Content Placeholder 5"/>
          <p:cNvSpPr>
            <a:spLocks noGrp="1"/>
          </p:cNvSpPr>
          <p:nvPr>
            <p:ph sz="quarter" idx="4"/>
          </p:nvPr>
        </p:nvSpPr>
        <p:spPr>
          <a:xfrm>
            <a:off x="4629152" y="2505077"/>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28650" y="6356356"/>
            <a:ext cx="2057400" cy="365125"/>
          </a:xfrm>
          <a:prstGeom prst="rect">
            <a:avLst/>
          </a:prstGeom>
        </p:spPr>
        <p:txBody>
          <a:bodyPr lIns="91435" tIns="45718" rIns="91435" bIns="45718"/>
          <a:lstStyle/>
          <a:p>
            <a:endParaRPr lang="en-US" dirty="0"/>
          </a:p>
        </p:txBody>
      </p:sp>
      <p:sp>
        <p:nvSpPr>
          <p:cNvPr id="8" name="Footer Placeholder 7"/>
          <p:cNvSpPr>
            <a:spLocks noGrp="1"/>
          </p:cNvSpPr>
          <p:nvPr>
            <p:ph type="ftr" sz="quarter" idx="11"/>
          </p:nvPr>
        </p:nvSpPr>
        <p:spPr/>
        <p:txBody>
          <a:bodyPr/>
          <a:lstStyle/>
          <a:p>
            <a:r>
              <a:rPr lang="en-US" dirty="0"/>
              <a:t>PUBLIC</a:t>
            </a:r>
          </a:p>
        </p:txBody>
      </p:sp>
      <p:sp>
        <p:nvSpPr>
          <p:cNvPr id="9" name="Slide Number Placeholder 8"/>
          <p:cNvSpPr>
            <a:spLocks noGrp="1"/>
          </p:cNvSpPr>
          <p:nvPr>
            <p:ph type="sldNum" sz="quarter" idx="12"/>
          </p:nvPr>
        </p:nvSpPr>
        <p:spPr/>
        <p:txBody>
          <a:bodyPr/>
          <a:lstStyle/>
          <a:p>
            <a:fld id="{3B9F6E38-0256-4C4B-981B-FAA90C720E3E}" type="slidenum">
              <a:rPr lang="en-US" smtClean="0"/>
              <a:pPr/>
              <a:t>‹#›</a:t>
            </a:fld>
            <a:endParaRPr lang="en-US" dirty="0"/>
          </a:p>
        </p:txBody>
      </p:sp>
    </p:spTree>
    <p:extLst>
      <p:ext uri="{BB962C8B-B14F-4D97-AF65-F5344CB8AC3E}">
        <p14:creationId xmlns:p14="http://schemas.microsoft.com/office/powerpoint/2010/main" xmlns="" val="5078105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628650" y="6356356"/>
            <a:ext cx="2057400" cy="365125"/>
          </a:xfrm>
          <a:prstGeom prst="rect">
            <a:avLst/>
          </a:prstGeom>
        </p:spPr>
        <p:txBody>
          <a:bodyPr lIns="91435" tIns="45718" rIns="91435" bIns="45718"/>
          <a:lstStyle/>
          <a:p>
            <a:endParaRPr lang="en-US" dirty="0"/>
          </a:p>
        </p:txBody>
      </p:sp>
      <p:sp>
        <p:nvSpPr>
          <p:cNvPr id="4" name="Footer Placeholder 3"/>
          <p:cNvSpPr>
            <a:spLocks noGrp="1"/>
          </p:cNvSpPr>
          <p:nvPr>
            <p:ph type="ftr" sz="quarter" idx="11"/>
          </p:nvPr>
        </p:nvSpPr>
        <p:spPr/>
        <p:txBody>
          <a:bodyPr/>
          <a:lstStyle/>
          <a:p>
            <a:r>
              <a:rPr lang="en-US" dirty="0"/>
              <a:t>PUBLIC</a:t>
            </a:r>
          </a:p>
        </p:txBody>
      </p:sp>
      <p:sp>
        <p:nvSpPr>
          <p:cNvPr id="5" name="Slide Number Placeholder 4"/>
          <p:cNvSpPr>
            <a:spLocks noGrp="1"/>
          </p:cNvSpPr>
          <p:nvPr>
            <p:ph type="sldNum" sz="quarter" idx="12"/>
          </p:nvPr>
        </p:nvSpPr>
        <p:spPr/>
        <p:txBody>
          <a:bodyPr/>
          <a:lstStyle/>
          <a:p>
            <a:fld id="{3B9F6E38-0256-4C4B-981B-FAA90C720E3E}" type="slidenum">
              <a:rPr lang="en-US" smtClean="0"/>
              <a:pPr/>
              <a:t>‹#›</a:t>
            </a:fld>
            <a:endParaRPr lang="en-US" dirty="0"/>
          </a:p>
        </p:txBody>
      </p:sp>
    </p:spTree>
    <p:extLst>
      <p:ext uri="{BB962C8B-B14F-4D97-AF65-F5344CB8AC3E}">
        <p14:creationId xmlns:p14="http://schemas.microsoft.com/office/powerpoint/2010/main" xmlns="" val="6716653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6"/>
            <a:ext cx="2057400" cy="365125"/>
          </a:xfrm>
          <a:prstGeom prst="rect">
            <a:avLst/>
          </a:prstGeom>
        </p:spPr>
        <p:txBody>
          <a:bodyPr lIns="91435" tIns="45718" rIns="91435" bIns="45718"/>
          <a:lstStyle/>
          <a:p>
            <a:endParaRPr lang="en-US" dirty="0"/>
          </a:p>
        </p:txBody>
      </p:sp>
      <p:sp>
        <p:nvSpPr>
          <p:cNvPr id="3" name="Footer Placeholder 2"/>
          <p:cNvSpPr>
            <a:spLocks noGrp="1"/>
          </p:cNvSpPr>
          <p:nvPr>
            <p:ph type="ftr" sz="quarter" idx="11"/>
          </p:nvPr>
        </p:nvSpPr>
        <p:spPr/>
        <p:txBody>
          <a:bodyPr/>
          <a:lstStyle/>
          <a:p>
            <a:r>
              <a:rPr lang="en-US" dirty="0"/>
              <a:t>PUBLIC</a:t>
            </a:r>
          </a:p>
        </p:txBody>
      </p:sp>
      <p:sp>
        <p:nvSpPr>
          <p:cNvPr id="4" name="Slide Number Placeholder 3"/>
          <p:cNvSpPr>
            <a:spLocks noGrp="1"/>
          </p:cNvSpPr>
          <p:nvPr>
            <p:ph type="sldNum" sz="quarter" idx="12"/>
          </p:nvPr>
        </p:nvSpPr>
        <p:spPr/>
        <p:txBody>
          <a:bodyPr/>
          <a:lstStyle/>
          <a:p>
            <a:fld id="{3B9F6E38-0256-4C4B-981B-FAA90C720E3E}" type="slidenum">
              <a:rPr lang="en-US" smtClean="0"/>
              <a:pPr/>
              <a:t>‹#›</a:t>
            </a:fld>
            <a:endParaRPr lang="en-US" dirty="0"/>
          </a:p>
        </p:txBody>
      </p:sp>
    </p:spTree>
    <p:extLst>
      <p:ext uri="{BB962C8B-B14F-4D97-AF65-F5344CB8AC3E}">
        <p14:creationId xmlns:p14="http://schemas.microsoft.com/office/powerpoint/2010/main" xmlns="" val="15058921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1" y="365130"/>
            <a:ext cx="7886700" cy="1325563"/>
          </a:xfrm>
          <a:prstGeom prst="rect">
            <a:avLst/>
          </a:prstGeom>
        </p:spPr>
        <p:txBody>
          <a:bodyPr vert="horz" lIns="91435" tIns="45718" rIns="91435" bIns="45718"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1" y="1825625"/>
            <a:ext cx="7886700" cy="4351338"/>
          </a:xfrm>
          <a:prstGeom prst="rect">
            <a:avLst/>
          </a:prstGeom>
        </p:spPr>
        <p:txBody>
          <a:bodyPr vert="horz" lIns="91435" tIns="45718" rIns="91435" bIns="4571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628651" y="6320344"/>
            <a:ext cx="3086100" cy="365125"/>
          </a:xfrm>
          <a:prstGeom prst="rect">
            <a:avLst/>
          </a:prstGeom>
        </p:spPr>
        <p:txBody>
          <a:bodyPr vert="horz" lIns="91435" tIns="45718" rIns="91435" bIns="45718" rtlCol="0" anchor="ctr"/>
          <a:lstStyle>
            <a:lvl1pPr algn="ctr">
              <a:defRPr sz="1100">
                <a:solidFill>
                  <a:schemeClr val="tx1">
                    <a:tint val="75000"/>
                  </a:schemeClr>
                </a:solidFill>
              </a:defRPr>
            </a:lvl1pPr>
          </a:lstStyle>
          <a:p>
            <a:r>
              <a:rPr lang="en-US" dirty="0"/>
              <a:t>PUBLIC</a:t>
            </a:r>
          </a:p>
        </p:txBody>
      </p:sp>
      <p:sp>
        <p:nvSpPr>
          <p:cNvPr id="6" name="Slide Number Placeholder 5"/>
          <p:cNvSpPr>
            <a:spLocks noGrp="1"/>
          </p:cNvSpPr>
          <p:nvPr>
            <p:ph type="sldNum" sz="quarter" idx="4"/>
          </p:nvPr>
        </p:nvSpPr>
        <p:spPr>
          <a:xfrm>
            <a:off x="6457950" y="6356356"/>
            <a:ext cx="2057400" cy="365125"/>
          </a:xfrm>
          <a:prstGeom prst="rect">
            <a:avLst/>
          </a:prstGeom>
        </p:spPr>
        <p:txBody>
          <a:bodyPr vert="horz" lIns="91435" tIns="45718" rIns="91435" bIns="45718" rtlCol="0" anchor="ctr"/>
          <a:lstStyle>
            <a:lvl1pPr algn="r">
              <a:defRPr sz="1100">
                <a:solidFill>
                  <a:schemeClr val="tx1">
                    <a:tint val="75000"/>
                  </a:schemeClr>
                </a:solidFill>
              </a:defRPr>
            </a:lvl1pPr>
          </a:lstStyle>
          <a:p>
            <a:fld id="{3B9F6E38-0256-4C4B-981B-FAA90C720E3E}" type="slidenum">
              <a:rPr lang="en-US" smtClean="0"/>
              <a:pPr/>
              <a:t>‹#›</a:t>
            </a:fld>
            <a:endParaRPr lang="en-US" dirty="0"/>
          </a:p>
        </p:txBody>
      </p:sp>
    </p:spTree>
    <p:extLst>
      <p:ext uri="{BB962C8B-B14F-4D97-AF65-F5344CB8AC3E}">
        <p14:creationId xmlns:p14="http://schemas.microsoft.com/office/powerpoint/2010/main" xmlns="" val="637069002"/>
      </p:ext>
    </p:extLst>
  </p:cSld>
  <p:clrMap bg1="lt1" tx1="dk1" bg2="lt2" tx2="dk2" accent1="accent1" accent2="accent2" accent3="accent3" accent4="accent4" accent5="accent5" accent6="accent6" hlink="hlink" folHlink="folHlink"/>
  <p:sldLayoutIdLst>
    <p:sldLayoutId id="2147483662" r:id="rId1"/>
    <p:sldLayoutId id="2147483672" r:id="rId2"/>
    <p:sldLayoutId id="2147483675" r:id="rId3"/>
    <p:sldLayoutId id="2147483663" r:id="rId4"/>
    <p:sldLayoutId id="2147483677" r:id="rId5"/>
    <p:sldLayoutId id="2147483664" r:id="rId6"/>
    <p:sldLayoutId id="2147483665" r:id="rId7"/>
    <p:sldLayoutId id="2147483666" r:id="rId8"/>
    <p:sldLayoutId id="2147483667" r:id="rId9"/>
    <p:sldLayoutId id="2147483668" r:id="rId10"/>
    <p:sldLayoutId id="2147483669" r:id="rId11"/>
    <p:sldLayoutId id="2147483670" r:id="rId12"/>
    <p:sldLayoutId id="2147483671" r:id="rId13"/>
    <p:sldLayoutId id="2147483661" r:id="rId14"/>
    <p:sldLayoutId id="2147483673" r:id="rId15"/>
    <p:sldLayoutId id="2147483674" r:id="rId16"/>
    <p:sldLayoutId id="2147483712" r:id="rId17"/>
    <p:sldLayoutId id="2147483721" r:id="rId18"/>
    <p:sldLayoutId id="2147483722" r:id="rId19"/>
  </p:sldLayoutIdLst>
  <p:hf hdr="0" ftr="0" dt="0"/>
  <p:txStyles>
    <p:titleStyle>
      <a:lvl1pPr algn="l" defTabSz="844040" rtl="0" eaLnBrk="1" latinLnBrk="0" hangingPunct="1">
        <a:lnSpc>
          <a:spcPct val="90000"/>
        </a:lnSpc>
        <a:spcBef>
          <a:spcPct val="0"/>
        </a:spcBef>
        <a:buNone/>
        <a:defRPr sz="4100" kern="1200">
          <a:solidFill>
            <a:schemeClr val="tx1"/>
          </a:solidFill>
          <a:latin typeface="+mj-lt"/>
          <a:ea typeface="+mj-ea"/>
          <a:cs typeface="+mj-cs"/>
        </a:defRPr>
      </a:lvl1pPr>
    </p:titleStyle>
    <p:bodyStyle>
      <a:lvl1pPr marL="211010" indent="-211010" algn="l" defTabSz="844040" rtl="0" eaLnBrk="1" latinLnBrk="0" hangingPunct="1">
        <a:lnSpc>
          <a:spcPct val="90000"/>
        </a:lnSpc>
        <a:spcBef>
          <a:spcPts val="923"/>
        </a:spcBef>
        <a:buFont typeface="Arial" panose="020B0604020202020204" pitchFamily="34" charset="0"/>
        <a:buChar char="•"/>
        <a:defRPr sz="2600" kern="1200">
          <a:solidFill>
            <a:schemeClr val="tx1"/>
          </a:solidFill>
          <a:latin typeface="+mn-lt"/>
          <a:ea typeface="+mn-ea"/>
          <a:cs typeface="+mn-cs"/>
        </a:defRPr>
      </a:lvl1pPr>
      <a:lvl2pPr marL="633030" indent="-211010" algn="l" defTabSz="844040" rtl="0" eaLnBrk="1" latinLnBrk="0" hangingPunct="1">
        <a:lnSpc>
          <a:spcPct val="90000"/>
        </a:lnSpc>
        <a:spcBef>
          <a:spcPts val="462"/>
        </a:spcBef>
        <a:buFont typeface="Arial" panose="020B0604020202020204" pitchFamily="34" charset="0"/>
        <a:buChar char="•"/>
        <a:defRPr sz="2200" kern="1200">
          <a:solidFill>
            <a:schemeClr val="tx1"/>
          </a:solidFill>
          <a:latin typeface="+mn-lt"/>
          <a:ea typeface="+mn-ea"/>
          <a:cs typeface="+mn-cs"/>
        </a:defRPr>
      </a:lvl2pPr>
      <a:lvl3pPr marL="1055049" indent="-211010" algn="l" defTabSz="844040" rtl="0" eaLnBrk="1" latinLnBrk="0" hangingPunct="1">
        <a:lnSpc>
          <a:spcPct val="90000"/>
        </a:lnSpc>
        <a:spcBef>
          <a:spcPts val="462"/>
        </a:spcBef>
        <a:buFont typeface="Arial" panose="020B0604020202020204" pitchFamily="34" charset="0"/>
        <a:buChar char="•"/>
        <a:defRPr sz="1800" kern="1200">
          <a:solidFill>
            <a:schemeClr val="tx1"/>
          </a:solidFill>
          <a:latin typeface="+mn-lt"/>
          <a:ea typeface="+mn-ea"/>
          <a:cs typeface="+mn-cs"/>
        </a:defRPr>
      </a:lvl3pPr>
      <a:lvl4pPr marL="1477070" indent="-211010" algn="l" defTabSz="844040" rtl="0" eaLnBrk="1" latinLnBrk="0" hangingPunct="1">
        <a:lnSpc>
          <a:spcPct val="90000"/>
        </a:lnSpc>
        <a:spcBef>
          <a:spcPts val="462"/>
        </a:spcBef>
        <a:buFont typeface="Arial" panose="020B0604020202020204" pitchFamily="34" charset="0"/>
        <a:buChar char="•"/>
        <a:defRPr sz="1700" kern="1200">
          <a:solidFill>
            <a:schemeClr val="tx1"/>
          </a:solidFill>
          <a:latin typeface="+mn-lt"/>
          <a:ea typeface="+mn-ea"/>
          <a:cs typeface="+mn-cs"/>
        </a:defRPr>
      </a:lvl4pPr>
      <a:lvl5pPr marL="1899089" indent="-211010" algn="l" defTabSz="844040" rtl="0" eaLnBrk="1" latinLnBrk="0" hangingPunct="1">
        <a:lnSpc>
          <a:spcPct val="90000"/>
        </a:lnSpc>
        <a:spcBef>
          <a:spcPts val="462"/>
        </a:spcBef>
        <a:buFont typeface="Arial" panose="020B0604020202020204" pitchFamily="34" charset="0"/>
        <a:buChar char="•"/>
        <a:defRPr sz="1700" kern="1200">
          <a:solidFill>
            <a:schemeClr val="tx1"/>
          </a:solidFill>
          <a:latin typeface="+mn-lt"/>
          <a:ea typeface="+mn-ea"/>
          <a:cs typeface="+mn-cs"/>
        </a:defRPr>
      </a:lvl5pPr>
      <a:lvl6pPr marL="2321108" indent="-211010" algn="l" defTabSz="844040" rtl="0" eaLnBrk="1" latinLnBrk="0" hangingPunct="1">
        <a:lnSpc>
          <a:spcPct val="90000"/>
        </a:lnSpc>
        <a:spcBef>
          <a:spcPts val="462"/>
        </a:spcBef>
        <a:buFont typeface="Arial" panose="020B0604020202020204" pitchFamily="34" charset="0"/>
        <a:buChar char="•"/>
        <a:defRPr sz="1700" kern="1200">
          <a:solidFill>
            <a:schemeClr val="tx1"/>
          </a:solidFill>
          <a:latin typeface="+mn-lt"/>
          <a:ea typeface="+mn-ea"/>
          <a:cs typeface="+mn-cs"/>
        </a:defRPr>
      </a:lvl6pPr>
      <a:lvl7pPr marL="2743128" indent="-211010" algn="l" defTabSz="844040" rtl="0" eaLnBrk="1" latinLnBrk="0" hangingPunct="1">
        <a:lnSpc>
          <a:spcPct val="90000"/>
        </a:lnSpc>
        <a:spcBef>
          <a:spcPts val="462"/>
        </a:spcBef>
        <a:buFont typeface="Arial" panose="020B0604020202020204" pitchFamily="34" charset="0"/>
        <a:buChar char="•"/>
        <a:defRPr sz="1700" kern="1200">
          <a:solidFill>
            <a:schemeClr val="tx1"/>
          </a:solidFill>
          <a:latin typeface="+mn-lt"/>
          <a:ea typeface="+mn-ea"/>
          <a:cs typeface="+mn-cs"/>
        </a:defRPr>
      </a:lvl7pPr>
      <a:lvl8pPr marL="3165148" indent="-211010" algn="l" defTabSz="844040" rtl="0" eaLnBrk="1" latinLnBrk="0" hangingPunct="1">
        <a:lnSpc>
          <a:spcPct val="90000"/>
        </a:lnSpc>
        <a:spcBef>
          <a:spcPts val="462"/>
        </a:spcBef>
        <a:buFont typeface="Arial" panose="020B0604020202020204" pitchFamily="34" charset="0"/>
        <a:buChar char="•"/>
        <a:defRPr sz="1700" kern="1200">
          <a:solidFill>
            <a:schemeClr val="tx1"/>
          </a:solidFill>
          <a:latin typeface="+mn-lt"/>
          <a:ea typeface="+mn-ea"/>
          <a:cs typeface="+mn-cs"/>
        </a:defRPr>
      </a:lvl8pPr>
      <a:lvl9pPr marL="3587168" indent="-211010" algn="l" defTabSz="844040" rtl="0" eaLnBrk="1" latinLnBrk="0" hangingPunct="1">
        <a:lnSpc>
          <a:spcPct val="90000"/>
        </a:lnSpc>
        <a:spcBef>
          <a:spcPts val="462"/>
        </a:spcBef>
        <a:buFont typeface="Arial" panose="020B0604020202020204" pitchFamily="34" charset="0"/>
        <a:buChar char="•"/>
        <a:defRPr sz="1700" kern="1200">
          <a:solidFill>
            <a:schemeClr val="tx1"/>
          </a:solidFill>
          <a:latin typeface="+mn-lt"/>
          <a:ea typeface="+mn-ea"/>
          <a:cs typeface="+mn-cs"/>
        </a:defRPr>
      </a:lvl9pPr>
    </p:bodyStyle>
    <p:otherStyle>
      <a:defPPr>
        <a:defRPr lang="en-US"/>
      </a:defPPr>
      <a:lvl1pPr marL="0" algn="l" defTabSz="844040" rtl="0" eaLnBrk="1" latinLnBrk="0" hangingPunct="1">
        <a:defRPr sz="1700" kern="1200">
          <a:solidFill>
            <a:schemeClr val="tx1"/>
          </a:solidFill>
          <a:latin typeface="+mn-lt"/>
          <a:ea typeface="+mn-ea"/>
          <a:cs typeface="+mn-cs"/>
        </a:defRPr>
      </a:lvl1pPr>
      <a:lvl2pPr marL="422020" algn="l" defTabSz="844040" rtl="0" eaLnBrk="1" latinLnBrk="0" hangingPunct="1">
        <a:defRPr sz="1700" kern="1200">
          <a:solidFill>
            <a:schemeClr val="tx1"/>
          </a:solidFill>
          <a:latin typeface="+mn-lt"/>
          <a:ea typeface="+mn-ea"/>
          <a:cs typeface="+mn-cs"/>
        </a:defRPr>
      </a:lvl2pPr>
      <a:lvl3pPr marL="844040" algn="l" defTabSz="844040" rtl="0" eaLnBrk="1" latinLnBrk="0" hangingPunct="1">
        <a:defRPr sz="1700" kern="1200">
          <a:solidFill>
            <a:schemeClr val="tx1"/>
          </a:solidFill>
          <a:latin typeface="+mn-lt"/>
          <a:ea typeface="+mn-ea"/>
          <a:cs typeface="+mn-cs"/>
        </a:defRPr>
      </a:lvl3pPr>
      <a:lvl4pPr marL="1266060" algn="l" defTabSz="844040" rtl="0" eaLnBrk="1" latinLnBrk="0" hangingPunct="1">
        <a:defRPr sz="1700" kern="1200">
          <a:solidFill>
            <a:schemeClr val="tx1"/>
          </a:solidFill>
          <a:latin typeface="+mn-lt"/>
          <a:ea typeface="+mn-ea"/>
          <a:cs typeface="+mn-cs"/>
        </a:defRPr>
      </a:lvl4pPr>
      <a:lvl5pPr marL="1688078" algn="l" defTabSz="844040" rtl="0" eaLnBrk="1" latinLnBrk="0" hangingPunct="1">
        <a:defRPr sz="1700" kern="1200">
          <a:solidFill>
            <a:schemeClr val="tx1"/>
          </a:solidFill>
          <a:latin typeface="+mn-lt"/>
          <a:ea typeface="+mn-ea"/>
          <a:cs typeface="+mn-cs"/>
        </a:defRPr>
      </a:lvl5pPr>
      <a:lvl6pPr marL="2110099" algn="l" defTabSz="844040" rtl="0" eaLnBrk="1" latinLnBrk="0" hangingPunct="1">
        <a:defRPr sz="1700" kern="1200">
          <a:solidFill>
            <a:schemeClr val="tx1"/>
          </a:solidFill>
          <a:latin typeface="+mn-lt"/>
          <a:ea typeface="+mn-ea"/>
          <a:cs typeface="+mn-cs"/>
        </a:defRPr>
      </a:lvl6pPr>
      <a:lvl7pPr marL="2532118" algn="l" defTabSz="844040" rtl="0" eaLnBrk="1" latinLnBrk="0" hangingPunct="1">
        <a:defRPr sz="1700" kern="1200">
          <a:solidFill>
            <a:schemeClr val="tx1"/>
          </a:solidFill>
          <a:latin typeface="+mn-lt"/>
          <a:ea typeface="+mn-ea"/>
          <a:cs typeface="+mn-cs"/>
        </a:defRPr>
      </a:lvl7pPr>
      <a:lvl8pPr marL="2954138" algn="l" defTabSz="844040" rtl="0" eaLnBrk="1" latinLnBrk="0" hangingPunct="1">
        <a:defRPr sz="1700" kern="1200">
          <a:solidFill>
            <a:schemeClr val="tx1"/>
          </a:solidFill>
          <a:latin typeface="+mn-lt"/>
          <a:ea typeface="+mn-ea"/>
          <a:cs typeface="+mn-cs"/>
        </a:defRPr>
      </a:lvl8pPr>
      <a:lvl9pPr marL="3376158" algn="l" defTabSz="844040"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9.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8" Type="http://schemas.openxmlformats.org/officeDocument/2006/relationships/image" Target="../media/image18.jpeg"/><Relationship Id="rId13" Type="http://schemas.openxmlformats.org/officeDocument/2006/relationships/image" Target="../media/image23.emf"/><Relationship Id="rId3" Type="http://schemas.openxmlformats.org/officeDocument/2006/relationships/image" Target="../media/image13.png"/><Relationship Id="rId7" Type="http://schemas.openxmlformats.org/officeDocument/2006/relationships/image" Target="../media/image17.emf"/><Relationship Id="rId12" Type="http://schemas.openxmlformats.org/officeDocument/2006/relationships/image" Target="../media/image22.png"/><Relationship Id="rId17" Type="http://schemas.openxmlformats.org/officeDocument/2006/relationships/image" Target="../media/image26.jpeg"/><Relationship Id="rId2" Type="http://schemas.openxmlformats.org/officeDocument/2006/relationships/image" Target="../media/image12.emf"/><Relationship Id="rId16" Type="http://schemas.openxmlformats.org/officeDocument/2006/relationships/image" Target="../media/image25.png"/><Relationship Id="rId1" Type="http://schemas.openxmlformats.org/officeDocument/2006/relationships/slideLayout" Target="../slideLayouts/slideLayout2.xml"/><Relationship Id="rId6" Type="http://schemas.openxmlformats.org/officeDocument/2006/relationships/image" Target="../media/image16.emf"/><Relationship Id="rId11" Type="http://schemas.openxmlformats.org/officeDocument/2006/relationships/image" Target="../media/image21.emf"/><Relationship Id="rId5" Type="http://schemas.openxmlformats.org/officeDocument/2006/relationships/image" Target="../media/image15.png"/><Relationship Id="rId15" Type="http://schemas.openxmlformats.org/officeDocument/2006/relationships/image" Target="../media/image24.emf"/><Relationship Id="rId10" Type="http://schemas.openxmlformats.org/officeDocument/2006/relationships/image" Target="../media/image20.png"/><Relationship Id="rId4" Type="http://schemas.openxmlformats.org/officeDocument/2006/relationships/image" Target="../media/image14.emf"/><Relationship Id="rId9" Type="http://schemas.openxmlformats.org/officeDocument/2006/relationships/image" Target="../media/image19.emf"/><Relationship Id="rId14" Type="http://schemas.openxmlformats.org/officeDocument/2006/relationships/customXml" Target="../ink/ink1.xml"/></Relationships>
</file>

<file path=ppt/slides/_rels/slide11.xml.rels><?xml version="1.0" encoding="UTF-8" standalone="yes"?>
<Relationships xmlns="http://schemas.openxmlformats.org/package/2006/relationships"><Relationship Id="rId117" Type="http://schemas.openxmlformats.org/officeDocument/2006/relationships/tags" Target="../tags/tag118.xml"/><Relationship Id="rId299" Type="http://schemas.openxmlformats.org/officeDocument/2006/relationships/tags" Target="../tags/tag300.xml"/><Relationship Id="rId21" Type="http://schemas.openxmlformats.org/officeDocument/2006/relationships/tags" Target="../tags/tag22.xml"/><Relationship Id="rId63" Type="http://schemas.openxmlformats.org/officeDocument/2006/relationships/tags" Target="../tags/tag64.xml"/><Relationship Id="rId159" Type="http://schemas.openxmlformats.org/officeDocument/2006/relationships/tags" Target="../tags/tag160.xml"/><Relationship Id="rId324" Type="http://schemas.openxmlformats.org/officeDocument/2006/relationships/tags" Target="../tags/tag325.xml"/><Relationship Id="rId366" Type="http://schemas.openxmlformats.org/officeDocument/2006/relationships/tags" Target="../tags/tag367.xml"/><Relationship Id="rId170" Type="http://schemas.openxmlformats.org/officeDocument/2006/relationships/tags" Target="../tags/tag171.xml"/><Relationship Id="rId191" Type="http://schemas.openxmlformats.org/officeDocument/2006/relationships/tags" Target="../tags/tag192.xml"/><Relationship Id="rId205" Type="http://schemas.openxmlformats.org/officeDocument/2006/relationships/tags" Target="../tags/tag206.xml"/><Relationship Id="rId226" Type="http://schemas.openxmlformats.org/officeDocument/2006/relationships/tags" Target="../tags/tag227.xml"/><Relationship Id="rId247" Type="http://schemas.openxmlformats.org/officeDocument/2006/relationships/tags" Target="../tags/tag248.xml"/><Relationship Id="rId107" Type="http://schemas.openxmlformats.org/officeDocument/2006/relationships/tags" Target="../tags/tag108.xml"/><Relationship Id="rId268" Type="http://schemas.openxmlformats.org/officeDocument/2006/relationships/tags" Target="../tags/tag269.xml"/><Relationship Id="rId289" Type="http://schemas.openxmlformats.org/officeDocument/2006/relationships/tags" Target="../tags/tag290.xml"/><Relationship Id="rId11" Type="http://schemas.openxmlformats.org/officeDocument/2006/relationships/tags" Target="../tags/tag12.xml"/><Relationship Id="rId32" Type="http://schemas.openxmlformats.org/officeDocument/2006/relationships/tags" Target="../tags/tag33.xml"/><Relationship Id="rId53" Type="http://schemas.openxmlformats.org/officeDocument/2006/relationships/tags" Target="../tags/tag54.xml"/><Relationship Id="rId74" Type="http://schemas.openxmlformats.org/officeDocument/2006/relationships/tags" Target="../tags/tag75.xml"/><Relationship Id="rId128" Type="http://schemas.openxmlformats.org/officeDocument/2006/relationships/tags" Target="../tags/tag129.xml"/><Relationship Id="rId149" Type="http://schemas.openxmlformats.org/officeDocument/2006/relationships/tags" Target="../tags/tag150.xml"/><Relationship Id="rId314" Type="http://schemas.openxmlformats.org/officeDocument/2006/relationships/tags" Target="../tags/tag315.xml"/><Relationship Id="rId335" Type="http://schemas.openxmlformats.org/officeDocument/2006/relationships/tags" Target="../tags/tag336.xml"/><Relationship Id="rId356" Type="http://schemas.openxmlformats.org/officeDocument/2006/relationships/tags" Target="../tags/tag357.xml"/><Relationship Id="rId377" Type="http://schemas.openxmlformats.org/officeDocument/2006/relationships/tags" Target="../tags/tag378.xml"/><Relationship Id="rId5" Type="http://schemas.openxmlformats.org/officeDocument/2006/relationships/tags" Target="../tags/tag6.xml"/><Relationship Id="rId95" Type="http://schemas.openxmlformats.org/officeDocument/2006/relationships/tags" Target="../tags/tag96.xml"/><Relationship Id="rId160" Type="http://schemas.openxmlformats.org/officeDocument/2006/relationships/tags" Target="../tags/tag161.xml"/><Relationship Id="rId181" Type="http://schemas.openxmlformats.org/officeDocument/2006/relationships/tags" Target="../tags/tag182.xml"/><Relationship Id="rId216" Type="http://schemas.openxmlformats.org/officeDocument/2006/relationships/tags" Target="../tags/tag217.xml"/><Relationship Id="rId237" Type="http://schemas.openxmlformats.org/officeDocument/2006/relationships/tags" Target="../tags/tag238.xml"/><Relationship Id="rId258" Type="http://schemas.openxmlformats.org/officeDocument/2006/relationships/tags" Target="../tags/tag259.xml"/><Relationship Id="rId279" Type="http://schemas.openxmlformats.org/officeDocument/2006/relationships/tags" Target="../tags/tag280.xml"/><Relationship Id="rId22" Type="http://schemas.openxmlformats.org/officeDocument/2006/relationships/tags" Target="../tags/tag23.xml"/><Relationship Id="rId43" Type="http://schemas.openxmlformats.org/officeDocument/2006/relationships/tags" Target="../tags/tag44.xml"/><Relationship Id="rId64" Type="http://schemas.openxmlformats.org/officeDocument/2006/relationships/tags" Target="../tags/tag65.xml"/><Relationship Id="rId118" Type="http://schemas.openxmlformats.org/officeDocument/2006/relationships/tags" Target="../tags/tag119.xml"/><Relationship Id="rId139" Type="http://schemas.openxmlformats.org/officeDocument/2006/relationships/tags" Target="../tags/tag140.xml"/><Relationship Id="rId290" Type="http://schemas.openxmlformats.org/officeDocument/2006/relationships/tags" Target="../tags/tag291.xml"/><Relationship Id="rId304" Type="http://schemas.openxmlformats.org/officeDocument/2006/relationships/tags" Target="../tags/tag305.xml"/><Relationship Id="rId325" Type="http://schemas.openxmlformats.org/officeDocument/2006/relationships/tags" Target="../tags/tag326.xml"/><Relationship Id="rId346" Type="http://schemas.openxmlformats.org/officeDocument/2006/relationships/tags" Target="../tags/tag347.xml"/><Relationship Id="rId367" Type="http://schemas.openxmlformats.org/officeDocument/2006/relationships/tags" Target="../tags/tag368.xml"/><Relationship Id="rId388" Type="http://schemas.openxmlformats.org/officeDocument/2006/relationships/image" Target="../media/image32.png"/><Relationship Id="rId85" Type="http://schemas.openxmlformats.org/officeDocument/2006/relationships/tags" Target="../tags/tag86.xml"/><Relationship Id="rId150" Type="http://schemas.openxmlformats.org/officeDocument/2006/relationships/tags" Target="../tags/tag151.xml"/><Relationship Id="rId171" Type="http://schemas.openxmlformats.org/officeDocument/2006/relationships/tags" Target="../tags/tag172.xml"/><Relationship Id="rId192" Type="http://schemas.openxmlformats.org/officeDocument/2006/relationships/tags" Target="../tags/tag193.xml"/><Relationship Id="rId206" Type="http://schemas.openxmlformats.org/officeDocument/2006/relationships/tags" Target="../tags/tag207.xml"/><Relationship Id="rId227" Type="http://schemas.openxmlformats.org/officeDocument/2006/relationships/tags" Target="../tags/tag228.xml"/><Relationship Id="rId248" Type="http://schemas.openxmlformats.org/officeDocument/2006/relationships/tags" Target="../tags/tag249.xml"/><Relationship Id="rId269" Type="http://schemas.openxmlformats.org/officeDocument/2006/relationships/tags" Target="../tags/tag270.xml"/><Relationship Id="rId12" Type="http://schemas.openxmlformats.org/officeDocument/2006/relationships/tags" Target="../tags/tag13.xml"/><Relationship Id="rId33" Type="http://schemas.openxmlformats.org/officeDocument/2006/relationships/tags" Target="../tags/tag34.xml"/><Relationship Id="rId108" Type="http://schemas.openxmlformats.org/officeDocument/2006/relationships/tags" Target="../tags/tag109.xml"/><Relationship Id="rId129" Type="http://schemas.openxmlformats.org/officeDocument/2006/relationships/tags" Target="../tags/tag130.xml"/><Relationship Id="rId280" Type="http://schemas.openxmlformats.org/officeDocument/2006/relationships/tags" Target="../tags/tag281.xml"/><Relationship Id="rId315" Type="http://schemas.openxmlformats.org/officeDocument/2006/relationships/tags" Target="../tags/tag316.xml"/><Relationship Id="rId336" Type="http://schemas.openxmlformats.org/officeDocument/2006/relationships/tags" Target="../tags/tag337.xml"/><Relationship Id="rId357" Type="http://schemas.openxmlformats.org/officeDocument/2006/relationships/tags" Target="../tags/tag358.xml"/><Relationship Id="rId54" Type="http://schemas.openxmlformats.org/officeDocument/2006/relationships/tags" Target="../tags/tag55.xml"/><Relationship Id="rId75" Type="http://schemas.openxmlformats.org/officeDocument/2006/relationships/tags" Target="../tags/tag76.xml"/><Relationship Id="rId96" Type="http://schemas.openxmlformats.org/officeDocument/2006/relationships/tags" Target="../tags/tag97.xml"/><Relationship Id="rId140" Type="http://schemas.openxmlformats.org/officeDocument/2006/relationships/tags" Target="../tags/tag141.xml"/><Relationship Id="rId161" Type="http://schemas.openxmlformats.org/officeDocument/2006/relationships/tags" Target="../tags/tag162.xml"/><Relationship Id="rId182" Type="http://schemas.openxmlformats.org/officeDocument/2006/relationships/tags" Target="../tags/tag183.xml"/><Relationship Id="rId217" Type="http://schemas.openxmlformats.org/officeDocument/2006/relationships/tags" Target="../tags/tag218.xml"/><Relationship Id="rId378" Type="http://schemas.openxmlformats.org/officeDocument/2006/relationships/tags" Target="../tags/tag379.xml"/><Relationship Id="rId6" Type="http://schemas.openxmlformats.org/officeDocument/2006/relationships/tags" Target="../tags/tag7.xml"/><Relationship Id="rId238" Type="http://schemas.openxmlformats.org/officeDocument/2006/relationships/tags" Target="../tags/tag239.xml"/><Relationship Id="rId259" Type="http://schemas.openxmlformats.org/officeDocument/2006/relationships/tags" Target="../tags/tag260.xml"/><Relationship Id="rId23" Type="http://schemas.openxmlformats.org/officeDocument/2006/relationships/tags" Target="../tags/tag24.xml"/><Relationship Id="rId119" Type="http://schemas.openxmlformats.org/officeDocument/2006/relationships/tags" Target="../tags/tag120.xml"/><Relationship Id="rId270" Type="http://schemas.openxmlformats.org/officeDocument/2006/relationships/tags" Target="../tags/tag271.xml"/><Relationship Id="rId291" Type="http://schemas.openxmlformats.org/officeDocument/2006/relationships/tags" Target="../tags/tag292.xml"/><Relationship Id="rId305" Type="http://schemas.openxmlformats.org/officeDocument/2006/relationships/tags" Target="../tags/tag306.xml"/><Relationship Id="rId326" Type="http://schemas.openxmlformats.org/officeDocument/2006/relationships/tags" Target="../tags/tag327.xml"/><Relationship Id="rId347" Type="http://schemas.openxmlformats.org/officeDocument/2006/relationships/tags" Target="../tags/tag348.xml"/><Relationship Id="rId44" Type="http://schemas.openxmlformats.org/officeDocument/2006/relationships/tags" Target="../tags/tag45.xml"/><Relationship Id="rId65" Type="http://schemas.openxmlformats.org/officeDocument/2006/relationships/tags" Target="../tags/tag66.xml"/><Relationship Id="rId86" Type="http://schemas.openxmlformats.org/officeDocument/2006/relationships/tags" Target="../tags/tag87.xml"/><Relationship Id="rId130" Type="http://schemas.openxmlformats.org/officeDocument/2006/relationships/tags" Target="../tags/tag131.xml"/><Relationship Id="rId151" Type="http://schemas.openxmlformats.org/officeDocument/2006/relationships/tags" Target="../tags/tag152.xml"/><Relationship Id="rId368" Type="http://schemas.openxmlformats.org/officeDocument/2006/relationships/tags" Target="../tags/tag369.xml"/><Relationship Id="rId389" Type="http://schemas.openxmlformats.org/officeDocument/2006/relationships/image" Target="../media/image26.jpeg"/><Relationship Id="rId172" Type="http://schemas.openxmlformats.org/officeDocument/2006/relationships/tags" Target="../tags/tag173.xml"/><Relationship Id="rId193" Type="http://schemas.openxmlformats.org/officeDocument/2006/relationships/tags" Target="../tags/tag194.xml"/><Relationship Id="rId207" Type="http://schemas.openxmlformats.org/officeDocument/2006/relationships/tags" Target="../tags/tag208.xml"/><Relationship Id="rId228" Type="http://schemas.openxmlformats.org/officeDocument/2006/relationships/tags" Target="../tags/tag229.xml"/><Relationship Id="rId249" Type="http://schemas.openxmlformats.org/officeDocument/2006/relationships/tags" Target="../tags/tag250.xml"/><Relationship Id="rId13" Type="http://schemas.openxmlformats.org/officeDocument/2006/relationships/tags" Target="../tags/tag14.xml"/><Relationship Id="rId109" Type="http://schemas.openxmlformats.org/officeDocument/2006/relationships/tags" Target="../tags/tag110.xml"/><Relationship Id="rId260" Type="http://schemas.openxmlformats.org/officeDocument/2006/relationships/tags" Target="../tags/tag261.xml"/><Relationship Id="rId281" Type="http://schemas.openxmlformats.org/officeDocument/2006/relationships/tags" Target="../tags/tag282.xml"/><Relationship Id="rId316" Type="http://schemas.openxmlformats.org/officeDocument/2006/relationships/tags" Target="../tags/tag317.xml"/><Relationship Id="rId337" Type="http://schemas.openxmlformats.org/officeDocument/2006/relationships/tags" Target="../tags/tag338.xml"/><Relationship Id="rId34" Type="http://schemas.openxmlformats.org/officeDocument/2006/relationships/tags" Target="../tags/tag35.xml"/><Relationship Id="rId55" Type="http://schemas.openxmlformats.org/officeDocument/2006/relationships/tags" Target="../tags/tag56.xml"/><Relationship Id="rId76" Type="http://schemas.openxmlformats.org/officeDocument/2006/relationships/tags" Target="../tags/tag77.xml"/><Relationship Id="rId97" Type="http://schemas.openxmlformats.org/officeDocument/2006/relationships/tags" Target="../tags/tag98.xml"/><Relationship Id="rId120" Type="http://schemas.openxmlformats.org/officeDocument/2006/relationships/tags" Target="../tags/tag121.xml"/><Relationship Id="rId141" Type="http://schemas.openxmlformats.org/officeDocument/2006/relationships/tags" Target="../tags/tag142.xml"/><Relationship Id="rId358" Type="http://schemas.openxmlformats.org/officeDocument/2006/relationships/tags" Target="../tags/tag359.xml"/><Relationship Id="rId379" Type="http://schemas.openxmlformats.org/officeDocument/2006/relationships/tags" Target="../tags/tag380.xml"/><Relationship Id="rId7" Type="http://schemas.openxmlformats.org/officeDocument/2006/relationships/tags" Target="../tags/tag8.xml"/><Relationship Id="rId162" Type="http://schemas.openxmlformats.org/officeDocument/2006/relationships/tags" Target="../tags/tag163.xml"/><Relationship Id="rId183" Type="http://schemas.openxmlformats.org/officeDocument/2006/relationships/tags" Target="../tags/tag184.xml"/><Relationship Id="rId218" Type="http://schemas.openxmlformats.org/officeDocument/2006/relationships/tags" Target="../tags/tag219.xml"/><Relationship Id="rId239" Type="http://schemas.openxmlformats.org/officeDocument/2006/relationships/tags" Target="../tags/tag240.xml"/><Relationship Id="rId390" Type="http://schemas.openxmlformats.org/officeDocument/2006/relationships/image" Target="../media/image33.png"/><Relationship Id="rId250" Type="http://schemas.openxmlformats.org/officeDocument/2006/relationships/tags" Target="../tags/tag251.xml"/><Relationship Id="rId271" Type="http://schemas.openxmlformats.org/officeDocument/2006/relationships/tags" Target="../tags/tag272.xml"/><Relationship Id="rId292" Type="http://schemas.openxmlformats.org/officeDocument/2006/relationships/tags" Target="../tags/tag293.xml"/><Relationship Id="rId306" Type="http://schemas.openxmlformats.org/officeDocument/2006/relationships/tags" Target="../tags/tag307.xml"/><Relationship Id="rId24" Type="http://schemas.openxmlformats.org/officeDocument/2006/relationships/tags" Target="../tags/tag25.xml"/><Relationship Id="rId45" Type="http://schemas.openxmlformats.org/officeDocument/2006/relationships/tags" Target="../tags/tag46.xml"/><Relationship Id="rId66" Type="http://schemas.openxmlformats.org/officeDocument/2006/relationships/tags" Target="../tags/tag67.xml"/><Relationship Id="rId87" Type="http://schemas.openxmlformats.org/officeDocument/2006/relationships/tags" Target="../tags/tag88.xml"/><Relationship Id="rId110" Type="http://schemas.openxmlformats.org/officeDocument/2006/relationships/tags" Target="../tags/tag111.xml"/><Relationship Id="rId131" Type="http://schemas.openxmlformats.org/officeDocument/2006/relationships/tags" Target="../tags/tag132.xml"/><Relationship Id="rId327" Type="http://schemas.openxmlformats.org/officeDocument/2006/relationships/tags" Target="../tags/tag328.xml"/><Relationship Id="rId348" Type="http://schemas.openxmlformats.org/officeDocument/2006/relationships/tags" Target="../tags/tag349.xml"/><Relationship Id="rId369" Type="http://schemas.openxmlformats.org/officeDocument/2006/relationships/tags" Target="../tags/tag370.xml"/><Relationship Id="rId152" Type="http://schemas.openxmlformats.org/officeDocument/2006/relationships/tags" Target="../tags/tag153.xml"/><Relationship Id="rId173" Type="http://schemas.openxmlformats.org/officeDocument/2006/relationships/tags" Target="../tags/tag174.xml"/><Relationship Id="rId194" Type="http://schemas.openxmlformats.org/officeDocument/2006/relationships/tags" Target="../tags/tag195.xml"/><Relationship Id="rId208" Type="http://schemas.openxmlformats.org/officeDocument/2006/relationships/tags" Target="../tags/tag209.xml"/><Relationship Id="rId229" Type="http://schemas.openxmlformats.org/officeDocument/2006/relationships/tags" Target="../tags/tag230.xml"/><Relationship Id="rId380" Type="http://schemas.openxmlformats.org/officeDocument/2006/relationships/tags" Target="../tags/tag381.xml"/><Relationship Id="rId240" Type="http://schemas.openxmlformats.org/officeDocument/2006/relationships/tags" Target="../tags/tag241.xml"/><Relationship Id="rId261" Type="http://schemas.openxmlformats.org/officeDocument/2006/relationships/tags" Target="../tags/tag262.xml"/><Relationship Id="rId14" Type="http://schemas.openxmlformats.org/officeDocument/2006/relationships/tags" Target="../tags/tag15.xml"/><Relationship Id="rId35" Type="http://schemas.openxmlformats.org/officeDocument/2006/relationships/tags" Target="../tags/tag36.xml"/><Relationship Id="rId56" Type="http://schemas.openxmlformats.org/officeDocument/2006/relationships/tags" Target="../tags/tag57.xml"/><Relationship Id="rId77" Type="http://schemas.openxmlformats.org/officeDocument/2006/relationships/tags" Target="../tags/tag78.xml"/><Relationship Id="rId100" Type="http://schemas.openxmlformats.org/officeDocument/2006/relationships/tags" Target="../tags/tag101.xml"/><Relationship Id="rId282" Type="http://schemas.openxmlformats.org/officeDocument/2006/relationships/tags" Target="../tags/tag283.xml"/><Relationship Id="rId317" Type="http://schemas.openxmlformats.org/officeDocument/2006/relationships/tags" Target="../tags/tag318.xml"/><Relationship Id="rId338" Type="http://schemas.openxmlformats.org/officeDocument/2006/relationships/tags" Target="../tags/tag339.xml"/><Relationship Id="rId359" Type="http://schemas.openxmlformats.org/officeDocument/2006/relationships/tags" Target="../tags/tag360.xml"/><Relationship Id="rId8" Type="http://schemas.openxmlformats.org/officeDocument/2006/relationships/tags" Target="../tags/tag9.xml"/><Relationship Id="rId98" Type="http://schemas.openxmlformats.org/officeDocument/2006/relationships/tags" Target="../tags/tag99.xml"/><Relationship Id="rId121" Type="http://schemas.openxmlformats.org/officeDocument/2006/relationships/tags" Target="../tags/tag122.xml"/><Relationship Id="rId142" Type="http://schemas.openxmlformats.org/officeDocument/2006/relationships/tags" Target="../tags/tag143.xml"/><Relationship Id="rId163" Type="http://schemas.openxmlformats.org/officeDocument/2006/relationships/tags" Target="../tags/tag164.xml"/><Relationship Id="rId184" Type="http://schemas.openxmlformats.org/officeDocument/2006/relationships/tags" Target="../tags/tag185.xml"/><Relationship Id="rId219" Type="http://schemas.openxmlformats.org/officeDocument/2006/relationships/tags" Target="../tags/tag220.xml"/><Relationship Id="rId370" Type="http://schemas.openxmlformats.org/officeDocument/2006/relationships/tags" Target="../tags/tag371.xml"/><Relationship Id="rId391" Type="http://schemas.openxmlformats.org/officeDocument/2006/relationships/image" Target="../media/image34.png"/><Relationship Id="rId230" Type="http://schemas.openxmlformats.org/officeDocument/2006/relationships/tags" Target="../tags/tag231.xml"/><Relationship Id="rId251" Type="http://schemas.openxmlformats.org/officeDocument/2006/relationships/tags" Target="../tags/tag252.xml"/><Relationship Id="rId25" Type="http://schemas.openxmlformats.org/officeDocument/2006/relationships/tags" Target="../tags/tag26.xml"/><Relationship Id="rId46" Type="http://schemas.openxmlformats.org/officeDocument/2006/relationships/tags" Target="../tags/tag47.xml"/><Relationship Id="rId67" Type="http://schemas.openxmlformats.org/officeDocument/2006/relationships/tags" Target="../tags/tag68.xml"/><Relationship Id="rId272" Type="http://schemas.openxmlformats.org/officeDocument/2006/relationships/tags" Target="../tags/tag273.xml"/><Relationship Id="rId293" Type="http://schemas.openxmlformats.org/officeDocument/2006/relationships/tags" Target="../tags/tag294.xml"/><Relationship Id="rId307" Type="http://schemas.openxmlformats.org/officeDocument/2006/relationships/tags" Target="../tags/tag308.xml"/><Relationship Id="rId328" Type="http://schemas.openxmlformats.org/officeDocument/2006/relationships/tags" Target="../tags/tag329.xml"/><Relationship Id="rId349" Type="http://schemas.openxmlformats.org/officeDocument/2006/relationships/tags" Target="../tags/tag350.xml"/><Relationship Id="rId88" Type="http://schemas.openxmlformats.org/officeDocument/2006/relationships/tags" Target="../tags/tag89.xml"/><Relationship Id="rId111" Type="http://schemas.openxmlformats.org/officeDocument/2006/relationships/tags" Target="../tags/tag112.xml"/><Relationship Id="rId132" Type="http://schemas.openxmlformats.org/officeDocument/2006/relationships/tags" Target="../tags/tag133.xml"/><Relationship Id="rId153" Type="http://schemas.openxmlformats.org/officeDocument/2006/relationships/tags" Target="../tags/tag154.xml"/><Relationship Id="rId174" Type="http://schemas.openxmlformats.org/officeDocument/2006/relationships/tags" Target="../tags/tag175.xml"/><Relationship Id="rId195" Type="http://schemas.openxmlformats.org/officeDocument/2006/relationships/tags" Target="../tags/tag196.xml"/><Relationship Id="rId209" Type="http://schemas.openxmlformats.org/officeDocument/2006/relationships/tags" Target="../tags/tag210.xml"/><Relationship Id="rId360" Type="http://schemas.openxmlformats.org/officeDocument/2006/relationships/tags" Target="../tags/tag361.xml"/><Relationship Id="rId381" Type="http://schemas.openxmlformats.org/officeDocument/2006/relationships/slideLayout" Target="../slideLayouts/slideLayout2.xml"/><Relationship Id="rId220" Type="http://schemas.openxmlformats.org/officeDocument/2006/relationships/tags" Target="../tags/tag221.xml"/><Relationship Id="rId241" Type="http://schemas.openxmlformats.org/officeDocument/2006/relationships/tags" Target="../tags/tag242.xml"/><Relationship Id="rId15" Type="http://schemas.openxmlformats.org/officeDocument/2006/relationships/tags" Target="../tags/tag16.xml"/><Relationship Id="rId36" Type="http://schemas.openxmlformats.org/officeDocument/2006/relationships/tags" Target="../tags/tag37.xml"/><Relationship Id="rId57" Type="http://schemas.openxmlformats.org/officeDocument/2006/relationships/tags" Target="../tags/tag58.xml"/><Relationship Id="rId262" Type="http://schemas.openxmlformats.org/officeDocument/2006/relationships/tags" Target="../tags/tag263.xml"/><Relationship Id="rId283" Type="http://schemas.openxmlformats.org/officeDocument/2006/relationships/tags" Target="../tags/tag284.xml"/><Relationship Id="rId318" Type="http://schemas.openxmlformats.org/officeDocument/2006/relationships/tags" Target="../tags/tag319.xml"/><Relationship Id="rId339" Type="http://schemas.openxmlformats.org/officeDocument/2006/relationships/tags" Target="../tags/tag340.xml"/><Relationship Id="rId78" Type="http://schemas.openxmlformats.org/officeDocument/2006/relationships/tags" Target="../tags/tag79.xml"/><Relationship Id="rId99" Type="http://schemas.openxmlformats.org/officeDocument/2006/relationships/tags" Target="../tags/tag100.xml"/><Relationship Id="rId101" Type="http://schemas.openxmlformats.org/officeDocument/2006/relationships/tags" Target="../tags/tag102.xml"/><Relationship Id="rId122" Type="http://schemas.openxmlformats.org/officeDocument/2006/relationships/tags" Target="../tags/tag123.xml"/><Relationship Id="rId143" Type="http://schemas.openxmlformats.org/officeDocument/2006/relationships/tags" Target="../tags/tag144.xml"/><Relationship Id="rId164" Type="http://schemas.openxmlformats.org/officeDocument/2006/relationships/tags" Target="../tags/tag165.xml"/><Relationship Id="rId185" Type="http://schemas.openxmlformats.org/officeDocument/2006/relationships/tags" Target="../tags/tag186.xml"/><Relationship Id="rId350" Type="http://schemas.openxmlformats.org/officeDocument/2006/relationships/tags" Target="../tags/tag351.xml"/><Relationship Id="rId371" Type="http://schemas.openxmlformats.org/officeDocument/2006/relationships/tags" Target="../tags/tag372.xml"/><Relationship Id="rId9" Type="http://schemas.openxmlformats.org/officeDocument/2006/relationships/tags" Target="../tags/tag10.xml"/><Relationship Id="rId210" Type="http://schemas.openxmlformats.org/officeDocument/2006/relationships/tags" Target="../tags/tag211.xml"/><Relationship Id="rId392" Type="http://schemas.openxmlformats.org/officeDocument/2006/relationships/image" Target="../media/image35.emf"/><Relationship Id="rId26" Type="http://schemas.openxmlformats.org/officeDocument/2006/relationships/tags" Target="../tags/tag27.xml"/><Relationship Id="rId231" Type="http://schemas.openxmlformats.org/officeDocument/2006/relationships/tags" Target="../tags/tag232.xml"/><Relationship Id="rId252" Type="http://schemas.openxmlformats.org/officeDocument/2006/relationships/tags" Target="../tags/tag253.xml"/><Relationship Id="rId273" Type="http://schemas.openxmlformats.org/officeDocument/2006/relationships/tags" Target="../tags/tag274.xml"/><Relationship Id="rId294" Type="http://schemas.openxmlformats.org/officeDocument/2006/relationships/tags" Target="../tags/tag295.xml"/><Relationship Id="rId308" Type="http://schemas.openxmlformats.org/officeDocument/2006/relationships/tags" Target="../tags/tag309.xml"/><Relationship Id="rId329" Type="http://schemas.openxmlformats.org/officeDocument/2006/relationships/tags" Target="../tags/tag330.xml"/><Relationship Id="rId47" Type="http://schemas.openxmlformats.org/officeDocument/2006/relationships/tags" Target="../tags/tag48.xml"/><Relationship Id="rId68" Type="http://schemas.openxmlformats.org/officeDocument/2006/relationships/tags" Target="../tags/tag69.xml"/><Relationship Id="rId89" Type="http://schemas.openxmlformats.org/officeDocument/2006/relationships/tags" Target="../tags/tag90.xml"/><Relationship Id="rId112" Type="http://schemas.openxmlformats.org/officeDocument/2006/relationships/tags" Target="../tags/tag113.xml"/><Relationship Id="rId133" Type="http://schemas.openxmlformats.org/officeDocument/2006/relationships/tags" Target="../tags/tag134.xml"/><Relationship Id="rId154" Type="http://schemas.openxmlformats.org/officeDocument/2006/relationships/tags" Target="../tags/tag155.xml"/><Relationship Id="rId175" Type="http://schemas.openxmlformats.org/officeDocument/2006/relationships/tags" Target="../tags/tag176.xml"/><Relationship Id="rId340" Type="http://schemas.openxmlformats.org/officeDocument/2006/relationships/tags" Target="../tags/tag341.xml"/><Relationship Id="rId361" Type="http://schemas.openxmlformats.org/officeDocument/2006/relationships/tags" Target="../tags/tag362.xml"/><Relationship Id="rId196" Type="http://schemas.openxmlformats.org/officeDocument/2006/relationships/tags" Target="../tags/tag197.xml"/><Relationship Id="rId200" Type="http://schemas.openxmlformats.org/officeDocument/2006/relationships/tags" Target="../tags/tag201.xml"/><Relationship Id="rId382" Type="http://schemas.openxmlformats.org/officeDocument/2006/relationships/image" Target="../media/image25.png"/><Relationship Id="rId16" Type="http://schemas.openxmlformats.org/officeDocument/2006/relationships/tags" Target="../tags/tag17.xml"/><Relationship Id="rId221" Type="http://schemas.openxmlformats.org/officeDocument/2006/relationships/tags" Target="../tags/tag222.xml"/><Relationship Id="rId242" Type="http://schemas.openxmlformats.org/officeDocument/2006/relationships/tags" Target="../tags/tag243.xml"/><Relationship Id="rId263" Type="http://schemas.openxmlformats.org/officeDocument/2006/relationships/tags" Target="../tags/tag264.xml"/><Relationship Id="rId284" Type="http://schemas.openxmlformats.org/officeDocument/2006/relationships/tags" Target="../tags/tag285.xml"/><Relationship Id="rId319" Type="http://schemas.openxmlformats.org/officeDocument/2006/relationships/tags" Target="../tags/tag320.xml"/><Relationship Id="rId37" Type="http://schemas.openxmlformats.org/officeDocument/2006/relationships/tags" Target="../tags/tag38.xml"/><Relationship Id="rId58" Type="http://schemas.openxmlformats.org/officeDocument/2006/relationships/tags" Target="../tags/tag59.xml"/><Relationship Id="rId79" Type="http://schemas.openxmlformats.org/officeDocument/2006/relationships/tags" Target="../tags/tag80.xml"/><Relationship Id="rId102" Type="http://schemas.openxmlformats.org/officeDocument/2006/relationships/tags" Target="../tags/tag103.xml"/><Relationship Id="rId123" Type="http://schemas.openxmlformats.org/officeDocument/2006/relationships/tags" Target="../tags/tag124.xml"/><Relationship Id="rId144" Type="http://schemas.openxmlformats.org/officeDocument/2006/relationships/tags" Target="../tags/tag145.xml"/><Relationship Id="rId330" Type="http://schemas.openxmlformats.org/officeDocument/2006/relationships/tags" Target="../tags/tag331.xml"/><Relationship Id="rId90" Type="http://schemas.openxmlformats.org/officeDocument/2006/relationships/tags" Target="../tags/tag91.xml"/><Relationship Id="rId165" Type="http://schemas.openxmlformats.org/officeDocument/2006/relationships/tags" Target="../tags/tag166.xml"/><Relationship Id="rId186" Type="http://schemas.openxmlformats.org/officeDocument/2006/relationships/tags" Target="../tags/tag187.xml"/><Relationship Id="rId351" Type="http://schemas.openxmlformats.org/officeDocument/2006/relationships/tags" Target="../tags/tag352.xml"/><Relationship Id="rId372" Type="http://schemas.openxmlformats.org/officeDocument/2006/relationships/tags" Target="../tags/tag373.xml"/><Relationship Id="rId393" Type="http://schemas.openxmlformats.org/officeDocument/2006/relationships/image" Target="../media/image36.png"/><Relationship Id="rId211" Type="http://schemas.openxmlformats.org/officeDocument/2006/relationships/tags" Target="../tags/tag212.xml"/><Relationship Id="rId232" Type="http://schemas.openxmlformats.org/officeDocument/2006/relationships/tags" Target="../tags/tag233.xml"/><Relationship Id="rId253" Type="http://schemas.openxmlformats.org/officeDocument/2006/relationships/tags" Target="../tags/tag254.xml"/><Relationship Id="rId274" Type="http://schemas.openxmlformats.org/officeDocument/2006/relationships/tags" Target="../tags/tag275.xml"/><Relationship Id="rId295" Type="http://schemas.openxmlformats.org/officeDocument/2006/relationships/tags" Target="../tags/tag296.xml"/><Relationship Id="rId309" Type="http://schemas.openxmlformats.org/officeDocument/2006/relationships/tags" Target="../tags/tag310.xml"/><Relationship Id="rId27" Type="http://schemas.openxmlformats.org/officeDocument/2006/relationships/tags" Target="../tags/tag28.xml"/><Relationship Id="rId48" Type="http://schemas.openxmlformats.org/officeDocument/2006/relationships/tags" Target="../tags/tag49.xml"/><Relationship Id="rId69" Type="http://schemas.openxmlformats.org/officeDocument/2006/relationships/tags" Target="../tags/tag70.xml"/><Relationship Id="rId113" Type="http://schemas.openxmlformats.org/officeDocument/2006/relationships/tags" Target="../tags/tag114.xml"/><Relationship Id="rId134" Type="http://schemas.openxmlformats.org/officeDocument/2006/relationships/tags" Target="../tags/tag135.xml"/><Relationship Id="rId320" Type="http://schemas.openxmlformats.org/officeDocument/2006/relationships/tags" Target="../tags/tag321.xml"/><Relationship Id="rId80" Type="http://schemas.openxmlformats.org/officeDocument/2006/relationships/tags" Target="../tags/tag81.xml"/><Relationship Id="rId155" Type="http://schemas.openxmlformats.org/officeDocument/2006/relationships/tags" Target="../tags/tag156.xml"/><Relationship Id="rId176" Type="http://schemas.openxmlformats.org/officeDocument/2006/relationships/tags" Target="../tags/tag177.xml"/><Relationship Id="rId197" Type="http://schemas.openxmlformats.org/officeDocument/2006/relationships/tags" Target="../tags/tag198.xml"/><Relationship Id="rId341" Type="http://schemas.openxmlformats.org/officeDocument/2006/relationships/tags" Target="../tags/tag342.xml"/><Relationship Id="rId362" Type="http://schemas.openxmlformats.org/officeDocument/2006/relationships/tags" Target="../tags/tag363.xml"/><Relationship Id="rId383" Type="http://schemas.openxmlformats.org/officeDocument/2006/relationships/image" Target="../media/image27.jpeg"/><Relationship Id="rId201" Type="http://schemas.openxmlformats.org/officeDocument/2006/relationships/tags" Target="../tags/tag202.xml"/><Relationship Id="rId222" Type="http://schemas.openxmlformats.org/officeDocument/2006/relationships/tags" Target="../tags/tag223.xml"/><Relationship Id="rId243" Type="http://schemas.openxmlformats.org/officeDocument/2006/relationships/tags" Target="../tags/tag244.xml"/><Relationship Id="rId264" Type="http://schemas.openxmlformats.org/officeDocument/2006/relationships/tags" Target="../tags/tag265.xml"/><Relationship Id="rId285" Type="http://schemas.openxmlformats.org/officeDocument/2006/relationships/tags" Target="../tags/tag286.xml"/><Relationship Id="rId17" Type="http://schemas.openxmlformats.org/officeDocument/2006/relationships/tags" Target="../tags/tag18.xml"/><Relationship Id="rId38" Type="http://schemas.openxmlformats.org/officeDocument/2006/relationships/tags" Target="../tags/tag39.xml"/><Relationship Id="rId59" Type="http://schemas.openxmlformats.org/officeDocument/2006/relationships/tags" Target="../tags/tag60.xml"/><Relationship Id="rId103" Type="http://schemas.openxmlformats.org/officeDocument/2006/relationships/tags" Target="../tags/tag104.xml"/><Relationship Id="rId124" Type="http://schemas.openxmlformats.org/officeDocument/2006/relationships/tags" Target="../tags/tag125.xml"/><Relationship Id="rId310" Type="http://schemas.openxmlformats.org/officeDocument/2006/relationships/tags" Target="../tags/tag311.xml"/><Relationship Id="rId70" Type="http://schemas.openxmlformats.org/officeDocument/2006/relationships/tags" Target="../tags/tag71.xml"/><Relationship Id="rId91" Type="http://schemas.openxmlformats.org/officeDocument/2006/relationships/tags" Target="../tags/tag92.xml"/><Relationship Id="rId145" Type="http://schemas.openxmlformats.org/officeDocument/2006/relationships/tags" Target="../tags/tag146.xml"/><Relationship Id="rId166" Type="http://schemas.openxmlformats.org/officeDocument/2006/relationships/tags" Target="../tags/tag167.xml"/><Relationship Id="rId187" Type="http://schemas.openxmlformats.org/officeDocument/2006/relationships/tags" Target="../tags/tag188.xml"/><Relationship Id="rId331" Type="http://schemas.openxmlformats.org/officeDocument/2006/relationships/tags" Target="../tags/tag332.xml"/><Relationship Id="rId352" Type="http://schemas.openxmlformats.org/officeDocument/2006/relationships/tags" Target="../tags/tag353.xml"/><Relationship Id="rId373" Type="http://schemas.openxmlformats.org/officeDocument/2006/relationships/tags" Target="../tags/tag374.xml"/><Relationship Id="rId394" Type="http://schemas.openxmlformats.org/officeDocument/2006/relationships/image" Target="../media/image37.png"/><Relationship Id="rId1" Type="http://schemas.openxmlformats.org/officeDocument/2006/relationships/tags" Target="../tags/tag2.xml"/><Relationship Id="rId212" Type="http://schemas.openxmlformats.org/officeDocument/2006/relationships/tags" Target="../tags/tag213.xml"/><Relationship Id="rId233" Type="http://schemas.openxmlformats.org/officeDocument/2006/relationships/tags" Target="../tags/tag234.xml"/><Relationship Id="rId254" Type="http://schemas.openxmlformats.org/officeDocument/2006/relationships/tags" Target="../tags/tag255.xml"/><Relationship Id="rId28" Type="http://schemas.openxmlformats.org/officeDocument/2006/relationships/tags" Target="../tags/tag29.xml"/><Relationship Id="rId49" Type="http://schemas.openxmlformats.org/officeDocument/2006/relationships/tags" Target="../tags/tag50.xml"/><Relationship Id="rId114" Type="http://schemas.openxmlformats.org/officeDocument/2006/relationships/tags" Target="../tags/tag115.xml"/><Relationship Id="rId275" Type="http://schemas.openxmlformats.org/officeDocument/2006/relationships/tags" Target="../tags/tag276.xml"/><Relationship Id="rId296" Type="http://schemas.openxmlformats.org/officeDocument/2006/relationships/tags" Target="../tags/tag297.xml"/><Relationship Id="rId300" Type="http://schemas.openxmlformats.org/officeDocument/2006/relationships/tags" Target="../tags/tag301.xml"/><Relationship Id="rId60" Type="http://schemas.openxmlformats.org/officeDocument/2006/relationships/tags" Target="../tags/tag61.xml"/><Relationship Id="rId81" Type="http://schemas.openxmlformats.org/officeDocument/2006/relationships/tags" Target="../tags/tag82.xml"/><Relationship Id="rId135" Type="http://schemas.openxmlformats.org/officeDocument/2006/relationships/tags" Target="../tags/tag136.xml"/><Relationship Id="rId156" Type="http://schemas.openxmlformats.org/officeDocument/2006/relationships/tags" Target="../tags/tag157.xml"/><Relationship Id="rId177" Type="http://schemas.openxmlformats.org/officeDocument/2006/relationships/tags" Target="../tags/tag178.xml"/><Relationship Id="rId198" Type="http://schemas.openxmlformats.org/officeDocument/2006/relationships/tags" Target="../tags/tag199.xml"/><Relationship Id="rId321" Type="http://schemas.openxmlformats.org/officeDocument/2006/relationships/tags" Target="../tags/tag322.xml"/><Relationship Id="rId342" Type="http://schemas.openxmlformats.org/officeDocument/2006/relationships/tags" Target="../tags/tag343.xml"/><Relationship Id="rId363" Type="http://schemas.openxmlformats.org/officeDocument/2006/relationships/tags" Target="../tags/tag364.xml"/><Relationship Id="rId384" Type="http://schemas.openxmlformats.org/officeDocument/2006/relationships/image" Target="../media/image28.jpeg"/><Relationship Id="rId202" Type="http://schemas.openxmlformats.org/officeDocument/2006/relationships/tags" Target="../tags/tag203.xml"/><Relationship Id="rId223" Type="http://schemas.openxmlformats.org/officeDocument/2006/relationships/tags" Target="../tags/tag224.xml"/><Relationship Id="rId244" Type="http://schemas.openxmlformats.org/officeDocument/2006/relationships/tags" Target="../tags/tag245.xml"/><Relationship Id="rId18" Type="http://schemas.openxmlformats.org/officeDocument/2006/relationships/tags" Target="../tags/tag19.xml"/><Relationship Id="rId39" Type="http://schemas.openxmlformats.org/officeDocument/2006/relationships/tags" Target="../tags/tag40.xml"/><Relationship Id="rId265" Type="http://schemas.openxmlformats.org/officeDocument/2006/relationships/tags" Target="../tags/tag266.xml"/><Relationship Id="rId286" Type="http://schemas.openxmlformats.org/officeDocument/2006/relationships/tags" Target="../tags/tag287.xml"/><Relationship Id="rId50" Type="http://schemas.openxmlformats.org/officeDocument/2006/relationships/tags" Target="../tags/tag51.xml"/><Relationship Id="rId104" Type="http://schemas.openxmlformats.org/officeDocument/2006/relationships/tags" Target="../tags/tag105.xml"/><Relationship Id="rId125" Type="http://schemas.openxmlformats.org/officeDocument/2006/relationships/tags" Target="../tags/tag126.xml"/><Relationship Id="rId146" Type="http://schemas.openxmlformats.org/officeDocument/2006/relationships/tags" Target="../tags/tag147.xml"/><Relationship Id="rId167" Type="http://schemas.openxmlformats.org/officeDocument/2006/relationships/tags" Target="../tags/tag168.xml"/><Relationship Id="rId188" Type="http://schemas.openxmlformats.org/officeDocument/2006/relationships/tags" Target="../tags/tag189.xml"/><Relationship Id="rId311" Type="http://schemas.openxmlformats.org/officeDocument/2006/relationships/tags" Target="../tags/tag312.xml"/><Relationship Id="rId332" Type="http://schemas.openxmlformats.org/officeDocument/2006/relationships/tags" Target="../tags/tag333.xml"/><Relationship Id="rId353" Type="http://schemas.openxmlformats.org/officeDocument/2006/relationships/tags" Target="../tags/tag354.xml"/><Relationship Id="rId374" Type="http://schemas.openxmlformats.org/officeDocument/2006/relationships/tags" Target="../tags/tag375.xml"/><Relationship Id="rId395" Type="http://schemas.openxmlformats.org/officeDocument/2006/relationships/image" Target="../media/image38.jpeg"/><Relationship Id="rId71" Type="http://schemas.openxmlformats.org/officeDocument/2006/relationships/tags" Target="../tags/tag72.xml"/><Relationship Id="rId92" Type="http://schemas.openxmlformats.org/officeDocument/2006/relationships/tags" Target="../tags/tag93.xml"/><Relationship Id="rId213" Type="http://schemas.openxmlformats.org/officeDocument/2006/relationships/tags" Target="../tags/tag214.xml"/><Relationship Id="rId234" Type="http://schemas.openxmlformats.org/officeDocument/2006/relationships/tags" Target="../tags/tag235.xml"/><Relationship Id="rId2" Type="http://schemas.openxmlformats.org/officeDocument/2006/relationships/tags" Target="../tags/tag3.xml"/><Relationship Id="rId29" Type="http://schemas.openxmlformats.org/officeDocument/2006/relationships/tags" Target="../tags/tag30.xml"/><Relationship Id="rId255" Type="http://schemas.openxmlformats.org/officeDocument/2006/relationships/tags" Target="../tags/tag256.xml"/><Relationship Id="rId276" Type="http://schemas.openxmlformats.org/officeDocument/2006/relationships/tags" Target="../tags/tag277.xml"/><Relationship Id="rId297" Type="http://schemas.openxmlformats.org/officeDocument/2006/relationships/tags" Target="../tags/tag298.xml"/><Relationship Id="rId40" Type="http://schemas.openxmlformats.org/officeDocument/2006/relationships/tags" Target="../tags/tag41.xml"/><Relationship Id="rId115" Type="http://schemas.openxmlformats.org/officeDocument/2006/relationships/tags" Target="../tags/tag116.xml"/><Relationship Id="rId136" Type="http://schemas.openxmlformats.org/officeDocument/2006/relationships/tags" Target="../tags/tag137.xml"/><Relationship Id="rId157" Type="http://schemas.openxmlformats.org/officeDocument/2006/relationships/tags" Target="../tags/tag158.xml"/><Relationship Id="rId178" Type="http://schemas.openxmlformats.org/officeDocument/2006/relationships/tags" Target="../tags/tag179.xml"/><Relationship Id="rId301" Type="http://schemas.openxmlformats.org/officeDocument/2006/relationships/tags" Target="../tags/tag302.xml"/><Relationship Id="rId322" Type="http://schemas.openxmlformats.org/officeDocument/2006/relationships/tags" Target="../tags/tag323.xml"/><Relationship Id="rId343" Type="http://schemas.openxmlformats.org/officeDocument/2006/relationships/tags" Target="../tags/tag344.xml"/><Relationship Id="rId364" Type="http://schemas.openxmlformats.org/officeDocument/2006/relationships/tags" Target="../tags/tag365.xml"/><Relationship Id="rId61" Type="http://schemas.openxmlformats.org/officeDocument/2006/relationships/tags" Target="../tags/tag62.xml"/><Relationship Id="rId82" Type="http://schemas.openxmlformats.org/officeDocument/2006/relationships/tags" Target="../tags/tag83.xml"/><Relationship Id="rId199" Type="http://schemas.openxmlformats.org/officeDocument/2006/relationships/tags" Target="../tags/tag200.xml"/><Relationship Id="rId203" Type="http://schemas.openxmlformats.org/officeDocument/2006/relationships/tags" Target="../tags/tag204.xml"/><Relationship Id="rId385" Type="http://schemas.openxmlformats.org/officeDocument/2006/relationships/image" Target="../media/image29.png"/><Relationship Id="rId19" Type="http://schemas.openxmlformats.org/officeDocument/2006/relationships/tags" Target="../tags/tag20.xml"/><Relationship Id="rId224" Type="http://schemas.openxmlformats.org/officeDocument/2006/relationships/tags" Target="../tags/tag225.xml"/><Relationship Id="rId245" Type="http://schemas.openxmlformats.org/officeDocument/2006/relationships/tags" Target="../tags/tag246.xml"/><Relationship Id="rId266" Type="http://schemas.openxmlformats.org/officeDocument/2006/relationships/tags" Target="../tags/tag267.xml"/><Relationship Id="rId287" Type="http://schemas.openxmlformats.org/officeDocument/2006/relationships/tags" Target="../tags/tag288.xml"/><Relationship Id="rId30" Type="http://schemas.openxmlformats.org/officeDocument/2006/relationships/tags" Target="../tags/tag31.xml"/><Relationship Id="rId105" Type="http://schemas.openxmlformats.org/officeDocument/2006/relationships/tags" Target="../tags/tag106.xml"/><Relationship Id="rId126" Type="http://schemas.openxmlformats.org/officeDocument/2006/relationships/tags" Target="../tags/tag127.xml"/><Relationship Id="rId147" Type="http://schemas.openxmlformats.org/officeDocument/2006/relationships/tags" Target="../tags/tag148.xml"/><Relationship Id="rId168" Type="http://schemas.openxmlformats.org/officeDocument/2006/relationships/tags" Target="../tags/tag169.xml"/><Relationship Id="rId312" Type="http://schemas.openxmlformats.org/officeDocument/2006/relationships/tags" Target="../tags/tag313.xml"/><Relationship Id="rId333" Type="http://schemas.openxmlformats.org/officeDocument/2006/relationships/tags" Target="../tags/tag334.xml"/><Relationship Id="rId354" Type="http://schemas.openxmlformats.org/officeDocument/2006/relationships/tags" Target="../tags/tag355.xml"/><Relationship Id="rId51" Type="http://schemas.openxmlformats.org/officeDocument/2006/relationships/tags" Target="../tags/tag52.xml"/><Relationship Id="rId72" Type="http://schemas.openxmlformats.org/officeDocument/2006/relationships/tags" Target="../tags/tag73.xml"/><Relationship Id="rId93" Type="http://schemas.openxmlformats.org/officeDocument/2006/relationships/tags" Target="../tags/tag94.xml"/><Relationship Id="rId189" Type="http://schemas.openxmlformats.org/officeDocument/2006/relationships/tags" Target="../tags/tag190.xml"/><Relationship Id="rId375" Type="http://schemas.openxmlformats.org/officeDocument/2006/relationships/tags" Target="../tags/tag376.xml"/><Relationship Id="rId3" Type="http://schemas.openxmlformats.org/officeDocument/2006/relationships/tags" Target="../tags/tag4.xml"/><Relationship Id="rId214" Type="http://schemas.openxmlformats.org/officeDocument/2006/relationships/tags" Target="../tags/tag215.xml"/><Relationship Id="rId235" Type="http://schemas.openxmlformats.org/officeDocument/2006/relationships/tags" Target="../tags/tag236.xml"/><Relationship Id="rId256" Type="http://schemas.openxmlformats.org/officeDocument/2006/relationships/tags" Target="../tags/tag257.xml"/><Relationship Id="rId277" Type="http://schemas.openxmlformats.org/officeDocument/2006/relationships/tags" Target="../tags/tag278.xml"/><Relationship Id="rId298" Type="http://schemas.openxmlformats.org/officeDocument/2006/relationships/tags" Target="../tags/tag299.xml"/><Relationship Id="rId116" Type="http://schemas.openxmlformats.org/officeDocument/2006/relationships/tags" Target="../tags/tag117.xml"/><Relationship Id="rId137" Type="http://schemas.openxmlformats.org/officeDocument/2006/relationships/tags" Target="../tags/tag138.xml"/><Relationship Id="rId158" Type="http://schemas.openxmlformats.org/officeDocument/2006/relationships/tags" Target="../tags/tag159.xml"/><Relationship Id="rId302" Type="http://schemas.openxmlformats.org/officeDocument/2006/relationships/tags" Target="../tags/tag303.xml"/><Relationship Id="rId323" Type="http://schemas.openxmlformats.org/officeDocument/2006/relationships/tags" Target="../tags/tag324.xml"/><Relationship Id="rId344" Type="http://schemas.openxmlformats.org/officeDocument/2006/relationships/tags" Target="../tags/tag345.xml"/><Relationship Id="rId20" Type="http://schemas.openxmlformats.org/officeDocument/2006/relationships/tags" Target="../tags/tag21.xml"/><Relationship Id="rId41" Type="http://schemas.openxmlformats.org/officeDocument/2006/relationships/tags" Target="../tags/tag42.xml"/><Relationship Id="rId62" Type="http://schemas.openxmlformats.org/officeDocument/2006/relationships/tags" Target="../tags/tag63.xml"/><Relationship Id="rId83" Type="http://schemas.openxmlformats.org/officeDocument/2006/relationships/tags" Target="../tags/tag84.xml"/><Relationship Id="rId179" Type="http://schemas.openxmlformats.org/officeDocument/2006/relationships/tags" Target="../tags/tag180.xml"/><Relationship Id="rId365" Type="http://schemas.openxmlformats.org/officeDocument/2006/relationships/tags" Target="../tags/tag366.xml"/><Relationship Id="rId386" Type="http://schemas.openxmlformats.org/officeDocument/2006/relationships/image" Target="../media/image30.png"/><Relationship Id="rId190" Type="http://schemas.openxmlformats.org/officeDocument/2006/relationships/tags" Target="../tags/tag191.xml"/><Relationship Id="rId204" Type="http://schemas.openxmlformats.org/officeDocument/2006/relationships/tags" Target="../tags/tag205.xml"/><Relationship Id="rId225" Type="http://schemas.openxmlformats.org/officeDocument/2006/relationships/tags" Target="../tags/tag226.xml"/><Relationship Id="rId246" Type="http://schemas.openxmlformats.org/officeDocument/2006/relationships/tags" Target="../tags/tag247.xml"/><Relationship Id="rId267" Type="http://schemas.openxmlformats.org/officeDocument/2006/relationships/tags" Target="../tags/tag268.xml"/><Relationship Id="rId288" Type="http://schemas.openxmlformats.org/officeDocument/2006/relationships/tags" Target="../tags/tag289.xml"/><Relationship Id="rId106" Type="http://schemas.openxmlformats.org/officeDocument/2006/relationships/tags" Target="../tags/tag107.xml"/><Relationship Id="rId127" Type="http://schemas.openxmlformats.org/officeDocument/2006/relationships/tags" Target="../tags/tag128.xml"/><Relationship Id="rId313" Type="http://schemas.openxmlformats.org/officeDocument/2006/relationships/tags" Target="../tags/tag314.xml"/><Relationship Id="rId10" Type="http://schemas.openxmlformats.org/officeDocument/2006/relationships/tags" Target="../tags/tag11.xml"/><Relationship Id="rId31" Type="http://schemas.openxmlformats.org/officeDocument/2006/relationships/tags" Target="../tags/tag32.xml"/><Relationship Id="rId52" Type="http://schemas.openxmlformats.org/officeDocument/2006/relationships/tags" Target="../tags/tag53.xml"/><Relationship Id="rId73" Type="http://schemas.openxmlformats.org/officeDocument/2006/relationships/tags" Target="../tags/tag74.xml"/><Relationship Id="rId94" Type="http://schemas.openxmlformats.org/officeDocument/2006/relationships/tags" Target="../tags/tag95.xml"/><Relationship Id="rId148" Type="http://schemas.openxmlformats.org/officeDocument/2006/relationships/tags" Target="../tags/tag149.xml"/><Relationship Id="rId169" Type="http://schemas.openxmlformats.org/officeDocument/2006/relationships/tags" Target="../tags/tag170.xml"/><Relationship Id="rId334" Type="http://schemas.openxmlformats.org/officeDocument/2006/relationships/tags" Target="../tags/tag335.xml"/><Relationship Id="rId355" Type="http://schemas.openxmlformats.org/officeDocument/2006/relationships/tags" Target="../tags/tag356.xml"/><Relationship Id="rId376" Type="http://schemas.openxmlformats.org/officeDocument/2006/relationships/tags" Target="../tags/tag377.xml"/><Relationship Id="rId4" Type="http://schemas.openxmlformats.org/officeDocument/2006/relationships/tags" Target="../tags/tag5.xml"/><Relationship Id="rId180" Type="http://schemas.openxmlformats.org/officeDocument/2006/relationships/tags" Target="../tags/tag181.xml"/><Relationship Id="rId215" Type="http://schemas.openxmlformats.org/officeDocument/2006/relationships/tags" Target="../tags/tag216.xml"/><Relationship Id="rId236" Type="http://schemas.openxmlformats.org/officeDocument/2006/relationships/tags" Target="../tags/tag237.xml"/><Relationship Id="rId257" Type="http://schemas.openxmlformats.org/officeDocument/2006/relationships/tags" Target="../tags/tag258.xml"/><Relationship Id="rId278" Type="http://schemas.openxmlformats.org/officeDocument/2006/relationships/tags" Target="../tags/tag279.xml"/><Relationship Id="rId303" Type="http://schemas.openxmlformats.org/officeDocument/2006/relationships/tags" Target="../tags/tag304.xml"/><Relationship Id="rId42" Type="http://schemas.openxmlformats.org/officeDocument/2006/relationships/tags" Target="../tags/tag43.xml"/><Relationship Id="rId84" Type="http://schemas.openxmlformats.org/officeDocument/2006/relationships/tags" Target="../tags/tag85.xml"/><Relationship Id="rId138" Type="http://schemas.openxmlformats.org/officeDocument/2006/relationships/tags" Target="../tags/tag139.xml"/><Relationship Id="rId345" Type="http://schemas.openxmlformats.org/officeDocument/2006/relationships/tags" Target="../tags/tag346.xml"/><Relationship Id="rId387" Type="http://schemas.openxmlformats.org/officeDocument/2006/relationships/image" Target="../media/image31.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Layout" Target="../slideLayouts/slideLayout19.xml"/><Relationship Id="rId1" Type="http://schemas.openxmlformats.org/officeDocument/2006/relationships/tags" Target="../tags/tag382.xml"/></Relationships>
</file>

<file path=ppt/slides/_rels/slide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Layout" Target="../slideLayouts/slideLayout19.xml"/><Relationship Id="rId1" Type="http://schemas.openxmlformats.org/officeDocument/2006/relationships/tags" Target="../tags/tag383.xml"/></Relationships>
</file>

<file path=ppt/slides/_rels/slide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384.xml"/></Relationships>
</file>

<file path=ppt/slides/_rels/slide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tags" Target="../tags/tag38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extBox 62"/>
          <p:cNvSpPr txBox="1"/>
          <p:nvPr/>
        </p:nvSpPr>
        <p:spPr>
          <a:xfrm>
            <a:off x="463825" y="1238320"/>
            <a:ext cx="7543800" cy="1477328"/>
          </a:xfrm>
          <a:prstGeom prst="rect">
            <a:avLst/>
          </a:prstGeom>
          <a:noFill/>
        </p:spPr>
        <p:txBody>
          <a:bodyPr wrap="square" rtlCol="0">
            <a:spAutoFit/>
          </a:bodyPr>
          <a:lstStyle/>
          <a:p>
            <a:r>
              <a:rPr lang="en-US" sz="3000" b="1" dirty="0"/>
              <a:t>Steinhoff</a:t>
            </a:r>
          </a:p>
          <a:p>
            <a:r>
              <a:rPr lang="en-US" sz="3000" b="1" dirty="0"/>
              <a:t>Briefing to Parliament</a:t>
            </a:r>
          </a:p>
          <a:p>
            <a:r>
              <a:rPr lang="en-US" sz="3000" b="1" dirty="0"/>
              <a:t>29 August 2018</a:t>
            </a:r>
          </a:p>
        </p:txBody>
      </p:sp>
      <p:pic>
        <p:nvPicPr>
          <p:cNvPr id="43" name="Picture 42"/>
          <p:cNvPicPr>
            <a:picLocks noChangeAspect="1"/>
          </p:cNvPicPr>
          <p:nvPr/>
        </p:nvPicPr>
        <p:blipFill rotWithShape="1">
          <a:blip r:embed="rId3" cstate="screen">
            <a:extLst>
              <a:ext uri="{28A0092B-C50C-407E-A947-70E740481C1C}">
                <a14:useLocalDpi xmlns:a14="http://schemas.microsoft.com/office/drawing/2010/main" xmlns=""/>
              </a:ext>
            </a:extLst>
          </a:blip>
          <a:srcRect/>
          <a:stretch/>
        </p:blipFill>
        <p:spPr>
          <a:xfrm>
            <a:off x="6506833" y="381551"/>
            <a:ext cx="2464024" cy="585857"/>
          </a:xfrm>
          <a:prstGeom prst="rect">
            <a:avLst/>
          </a:prstGeom>
        </p:spPr>
      </p:pic>
      <p:pic>
        <p:nvPicPr>
          <p:cNvPr id="3" name="Picture 2"/>
          <p:cNvPicPr>
            <a:picLocks noChangeAspect="1"/>
          </p:cNvPicPr>
          <p:nvPr/>
        </p:nvPicPr>
        <p:blipFill>
          <a:blip r:embed="rId4" cstate="screen">
            <a:extLst>
              <a:ext uri="{28A0092B-C50C-407E-A947-70E740481C1C}">
                <a14:useLocalDpi xmlns:a14="http://schemas.microsoft.com/office/drawing/2010/main" xmlns=""/>
              </a:ext>
            </a:extLst>
          </a:blip>
          <a:stretch>
            <a:fillRect/>
          </a:stretch>
        </p:blipFill>
        <p:spPr>
          <a:xfrm>
            <a:off x="2248364" y="2742223"/>
            <a:ext cx="5004777" cy="4035571"/>
          </a:xfrm>
          <a:prstGeom prst="rect">
            <a:avLst/>
          </a:prstGeom>
        </p:spPr>
      </p:pic>
      <p:pic>
        <p:nvPicPr>
          <p:cNvPr id="2" name="Picture 1"/>
          <p:cNvPicPr>
            <a:picLocks noChangeAspect="1"/>
          </p:cNvPicPr>
          <p:nvPr/>
        </p:nvPicPr>
        <p:blipFill rotWithShape="1">
          <a:blip r:embed="rId5" cstate="screen">
            <a:extLst>
              <a:ext uri="{28A0092B-C50C-407E-A947-70E740481C1C}">
                <a14:useLocalDpi xmlns:a14="http://schemas.microsoft.com/office/drawing/2010/main" xmlns=""/>
              </a:ext>
            </a:extLst>
          </a:blip>
          <a:srcRect/>
          <a:stretch/>
        </p:blipFill>
        <p:spPr>
          <a:xfrm>
            <a:off x="7285991" y="2953327"/>
            <a:ext cx="1254484" cy="1344353"/>
          </a:xfrm>
          <a:prstGeom prst="rect">
            <a:avLst/>
          </a:prstGeom>
        </p:spPr>
      </p:pic>
      <p:pic>
        <p:nvPicPr>
          <p:cNvPr id="7" name="Picture 6"/>
          <p:cNvPicPr>
            <a:picLocks noChangeAspect="1"/>
          </p:cNvPicPr>
          <p:nvPr/>
        </p:nvPicPr>
        <p:blipFill>
          <a:blip r:embed="rId6" cstate="screen">
            <a:extLst>
              <a:ext uri="{28A0092B-C50C-407E-A947-70E740481C1C}">
                <a14:useLocalDpi xmlns:a14="http://schemas.microsoft.com/office/drawing/2010/main" xmlns=""/>
              </a:ext>
            </a:extLst>
          </a:blip>
          <a:stretch>
            <a:fillRect/>
          </a:stretch>
        </p:blipFill>
        <p:spPr>
          <a:xfrm>
            <a:off x="7042785" y="4230019"/>
            <a:ext cx="1872615" cy="888097"/>
          </a:xfrm>
          <a:prstGeom prst="rect">
            <a:avLst/>
          </a:prstGeom>
        </p:spPr>
      </p:pic>
    </p:spTree>
    <p:extLst>
      <p:ext uri="{BB962C8B-B14F-4D97-AF65-F5344CB8AC3E}">
        <p14:creationId xmlns:p14="http://schemas.microsoft.com/office/powerpoint/2010/main" xmlns="" val="4952234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8432" name="Straight Connector 18431"/>
          <p:cNvCxnSpPr>
            <a:cxnSpLocks/>
            <a:stCxn id="99" idx="2"/>
            <a:endCxn id="71" idx="0"/>
          </p:cNvCxnSpPr>
          <p:nvPr/>
        </p:nvCxnSpPr>
        <p:spPr>
          <a:xfrm rot="16200000" flipH="1">
            <a:off x="5694672" y="3111132"/>
            <a:ext cx="256170" cy="1219916"/>
          </a:xfrm>
          <a:prstGeom prst="bentConnector3">
            <a:avLst>
              <a:gd name="adj1" fmla="val 50000"/>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a:lstStyle/>
          <a:p>
            <a:r>
              <a:rPr lang="en-US" dirty="0"/>
              <a:t>Group overview (summarised)</a:t>
            </a:r>
          </a:p>
        </p:txBody>
      </p:sp>
      <p:sp>
        <p:nvSpPr>
          <p:cNvPr id="4" name="Slide Number Placeholder 3"/>
          <p:cNvSpPr>
            <a:spLocks noGrp="1"/>
          </p:cNvSpPr>
          <p:nvPr>
            <p:ph type="sldNum" sz="quarter" idx="4294967295"/>
          </p:nvPr>
        </p:nvSpPr>
        <p:spPr>
          <a:xfrm>
            <a:off x="6787662" y="6356354"/>
            <a:ext cx="2057400" cy="365125"/>
          </a:xfrm>
          <a:prstGeom prst="rect">
            <a:avLst/>
          </a:prstGeom>
        </p:spPr>
        <p:txBody>
          <a:bodyPr/>
          <a:lstStyle/>
          <a:p>
            <a:pPr>
              <a:defRPr/>
            </a:pPr>
            <a:fld id="{1A70C215-7FD4-F741-9EDD-C4BAF7BC3257}" type="slidenum">
              <a:rPr lang="en-US" smtClean="0"/>
              <a:pPr>
                <a:defRPr/>
              </a:pPr>
              <a:t>10</a:t>
            </a:fld>
            <a:endParaRPr lang="en-US" dirty="0"/>
          </a:p>
        </p:txBody>
      </p:sp>
      <p:grpSp>
        <p:nvGrpSpPr>
          <p:cNvPr id="9" name="Group 8"/>
          <p:cNvGrpSpPr/>
          <p:nvPr/>
        </p:nvGrpSpPr>
        <p:grpSpPr>
          <a:xfrm>
            <a:off x="2653614" y="5054225"/>
            <a:ext cx="960680" cy="438665"/>
            <a:chOff x="511124" y="5157287"/>
            <a:chExt cx="1280907" cy="438665"/>
          </a:xfrm>
        </p:grpSpPr>
        <p:pic>
          <p:nvPicPr>
            <p:cNvPr id="18437" name="Picture 5"/>
            <p:cNvPicPr>
              <a:picLocks noChangeAspect="1" noChangeArrowheads="1"/>
            </p:cNvPicPr>
            <p:nvPr/>
          </p:nvPicPr>
          <p:blipFill>
            <a:blip r:embed="rId2" cstate="screen">
              <a:extLst>
                <a:ext uri="{28A0092B-C50C-407E-A947-70E740481C1C}">
                  <a14:useLocalDpi xmlns:a14="http://schemas.microsoft.com/office/drawing/2010/main" xmlns=""/>
                </a:ext>
              </a:extLst>
            </a:blip>
            <a:srcRect/>
            <a:stretch>
              <a:fillRect/>
            </a:stretch>
          </p:blipFill>
          <p:spPr bwMode="auto">
            <a:xfrm>
              <a:off x="799425" y="5157287"/>
              <a:ext cx="643411" cy="19120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1" name="Rectangle 40"/>
            <p:cNvSpPr/>
            <p:nvPr/>
          </p:nvSpPr>
          <p:spPr>
            <a:xfrm>
              <a:off x="511124" y="5362083"/>
              <a:ext cx="1280907" cy="233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i="1" baseline="30000" dirty="0">
                  <a:solidFill>
                    <a:schemeClr val="tx1"/>
                  </a:solidFill>
                </a:rPr>
                <a:t>c.26%</a:t>
              </a:r>
            </a:p>
          </p:txBody>
        </p:sp>
      </p:grpSp>
      <p:sp>
        <p:nvSpPr>
          <p:cNvPr id="62" name="Rectangle 61"/>
          <p:cNvSpPr/>
          <p:nvPr/>
        </p:nvSpPr>
        <p:spPr>
          <a:xfrm>
            <a:off x="2567618" y="4792399"/>
            <a:ext cx="1092002" cy="2130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i="1" baseline="30000" dirty="0">
                <a:solidFill>
                  <a:schemeClr val="tx1"/>
                </a:solidFill>
              </a:rPr>
              <a:t>c.71</a:t>
            </a:r>
            <a:r>
              <a:rPr lang="en-US" sz="1400" i="1" baseline="30000" dirty="0">
                <a:solidFill>
                  <a:schemeClr val="tx1"/>
                </a:solidFill>
              </a:rPr>
              <a:t>%</a:t>
            </a:r>
          </a:p>
        </p:txBody>
      </p:sp>
      <p:sp>
        <p:nvSpPr>
          <p:cNvPr id="63" name="Rectangle 62"/>
          <p:cNvSpPr/>
          <p:nvPr/>
        </p:nvSpPr>
        <p:spPr>
          <a:xfrm>
            <a:off x="3827646" y="4377879"/>
            <a:ext cx="1032623" cy="3766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b="1" i="1" dirty="0">
                <a:solidFill>
                  <a:schemeClr val="tx1"/>
                </a:solidFill>
              </a:rPr>
              <a:t>Property investment holding company </a:t>
            </a:r>
            <a:endParaRPr lang="en-US" sz="800" b="1" i="1" dirty="0">
              <a:solidFill>
                <a:schemeClr val="tx1"/>
              </a:solidFill>
            </a:endParaRPr>
          </a:p>
        </p:txBody>
      </p:sp>
      <p:pic>
        <p:nvPicPr>
          <p:cNvPr id="21506" name="Picture 2" descr="Image result for steinhoff unitrans"/>
          <p:cNvPicPr>
            <a:picLocks noChangeAspect="1" noChangeArrowheads="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xmlns=""/>
              </a:ext>
            </a:extLst>
          </a:blip>
          <a:srcRect/>
          <a:stretch>
            <a:fillRect/>
          </a:stretch>
        </p:blipFill>
        <p:spPr bwMode="auto">
          <a:xfrm>
            <a:off x="3304845" y="3102302"/>
            <a:ext cx="459118" cy="447920"/>
          </a:xfrm>
          <a:prstGeom prst="rect">
            <a:avLst/>
          </a:prstGeom>
          <a:noFill/>
          <a:extLst>
            <a:ext uri="{909E8E84-426E-40DD-AFC4-6F175D3DCCD1}">
              <a14:hiddenFill xmlns:a14="http://schemas.microsoft.com/office/drawing/2010/main" xmlns="">
                <a:solidFill>
                  <a:srgbClr val="FFFFFF"/>
                </a:solidFill>
              </a14:hiddenFill>
            </a:ext>
          </a:extLst>
        </p:spPr>
      </p:pic>
      <p:sp>
        <p:nvSpPr>
          <p:cNvPr id="69" name="Rectangle 68"/>
          <p:cNvSpPr/>
          <p:nvPr/>
        </p:nvSpPr>
        <p:spPr>
          <a:xfrm>
            <a:off x="3928351" y="1548874"/>
            <a:ext cx="1367075" cy="4559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t>Steinhoff International</a:t>
            </a:r>
            <a:br>
              <a:rPr lang="en-US" sz="800" b="1" dirty="0"/>
            </a:br>
            <a:r>
              <a:rPr lang="en-US" sz="800" b="1" dirty="0"/>
              <a:t>Holdings N.V.</a:t>
            </a:r>
          </a:p>
          <a:p>
            <a:pPr algn="ctr"/>
            <a:r>
              <a:rPr lang="en-US" sz="800" dirty="0">
                <a:solidFill>
                  <a:schemeClr val="bg1"/>
                </a:solidFill>
              </a:rPr>
              <a:t>(The Netherlands)</a:t>
            </a:r>
          </a:p>
        </p:txBody>
      </p:sp>
      <p:sp>
        <p:nvSpPr>
          <p:cNvPr id="73" name="Rectangle 72"/>
          <p:cNvSpPr/>
          <p:nvPr/>
        </p:nvSpPr>
        <p:spPr>
          <a:xfrm>
            <a:off x="2164491" y="2915447"/>
            <a:ext cx="250068" cy="123111"/>
          </a:xfrm>
          <a:prstGeom prst="rect">
            <a:avLst/>
          </a:prstGeom>
        </p:spPr>
        <p:txBody>
          <a:bodyPr wrap="none" lIns="0" tIns="0" rIns="0" bIns="0">
            <a:spAutoFit/>
          </a:bodyPr>
          <a:lstStyle/>
          <a:p>
            <a:pPr algn="ctr"/>
            <a:r>
              <a:rPr lang="en-ZA" sz="800" dirty="0">
                <a:solidFill>
                  <a:srgbClr val="000000"/>
                </a:solidFill>
              </a:rPr>
              <a:t>100%</a:t>
            </a:r>
            <a:endParaRPr lang="en-ZA" sz="800" dirty="0"/>
          </a:p>
        </p:txBody>
      </p:sp>
      <p:sp>
        <p:nvSpPr>
          <p:cNvPr id="70" name="Rectangle 69"/>
          <p:cNvSpPr/>
          <p:nvPr/>
        </p:nvSpPr>
        <p:spPr>
          <a:xfrm>
            <a:off x="3810129" y="3849175"/>
            <a:ext cx="1067660" cy="991862"/>
          </a:xfrm>
          <a:prstGeom prst="rect">
            <a:avLst/>
          </a:prstGeom>
          <a:solidFill>
            <a:schemeClr val="tx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b="1" dirty="0">
                <a:solidFill>
                  <a:schemeClr val="tx1"/>
                </a:solidFill>
              </a:rPr>
              <a:t>Hemisphere International Properties B.V.</a:t>
            </a:r>
          </a:p>
          <a:p>
            <a:pPr algn="ctr"/>
            <a:r>
              <a:rPr lang="en-ZA" sz="800" dirty="0">
                <a:solidFill>
                  <a:schemeClr val="tx1"/>
                </a:solidFill>
              </a:rPr>
              <a:t>(The Netherlands)</a:t>
            </a:r>
            <a:endParaRPr lang="en-US" sz="800" dirty="0">
              <a:solidFill>
                <a:schemeClr val="tx1"/>
              </a:solidFill>
            </a:endParaRPr>
          </a:p>
        </p:txBody>
      </p:sp>
      <p:sp>
        <p:nvSpPr>
          <p:cNvPr id="71" name="Rectangle 70"/>
          <p:cNvSpPr/>
          <p:nvPr/>
        </p:nvSpPr>
        <p:spPr>
          <a:xfrm>
            <a:off x="5048765" y="3849175"/>
            <a:ext cx="2767899" cy="455963"/>
          </a:xfrm>
          <a:prstGeom prst="rect">
            <a:avLst/>
          </a:prstGeom>
          <a:solidFill>
            <a:schemeClr val="tx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b="1" dirty="0">
                <a:solidFill>
                  <a:schemeClr val="tx1"/>
                </a:solidFill>
              </a:rPr>
              <a:t>Steinhoff Europe AG </a:t>
            </a:r>
          </a:p>
          <a:p>
            <a:pPr algn="ctr"/>
            <a:r>
              <a:rPr lang="de-DE" sz="800" dirty="0">
                <a:solidFill>
                  <a:schemeClr val="tx1"/>
                </a:solidFill>
              </a:rPr>
              <a:t>(Austria)</a:t>
            </a:r>
          </a:p>
        </p:txBody>
      </p:sp>
      <p:sp>
        <p:nvSpPr>
          <p:cNvPr id="74" name="Rectangle 73"/>
          <p:cNvSpPr/>
          <p:nvPr/>
        </p:nvSpPr>
        <p:spPr>
          <a:xfrm>
            <a:off x="1332852" y="3849175"/>
            <a:ext cx="1067660" cy="455963"/>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b="1" dirty="0">
                <a:solidFill>
                  <a:schemeClr val="tx1"/>
                </a:solidFill>
              </a:rPr>
              <a:t>Steinhoff Services Ltd</a:t>
            </a:r>
            <a:br>
              <a:rPr lang="en-ZA" sz="800" b="1" dirty="0">
                <a:solidFill>
                  <a:schemeClr val="tx1"/>
                </a:solidFill>
              </a:rPr>
            </a:br>
            <a:r>
              <a:rPr lang="en-ZA" sz="800" dirty="0">
                <a:solidFill>
                  <a:schemeClr val="tx1"/>
                </a:solidFill>
              </a:rPr>
              <a:t>(South Africa)</a:t>
            </a:r>
            <a:endParaRPr lang="en-US" sz="800" dirty="0">
              <a:solidFill>
                <a:schemeClr val="tx1"/>
              </a:solidFill>
            </a:endParaRPr>
          </a:p>
        </p:txBody>
      </p:sp>
      <p:sp>
        <p:nvSpPr>
          <p:cNvPr id="77" name="Rectangle 76"/>
          <p:cNvSpPr/>
          <p:nvPr/>
        </p:nvSpPr>
        <p:spPr>
          <a:xfrm>
            <a:off x="2571490" y="3849175"/>
            <a:ext cx="1067660" cy="455963"/>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b="1" dirty="0">
                <a:solidFill>
                  <a:schemeClr val="tx1"/>
                </a:solidFill>
              </a:rPr>
              <a:t>Ainsley Holdings Pty Ltd</a:t>
            </a:r>
            <a:br>
              <a:rPr lang="en-ZA" sz="800" b="1" dirty="0">
                <a:solidFill>
                  <a:schemeClr val="tx1"/>
                </a:solidFill>
              </a:rPr>
            </a:br>
            <a:r>
              <a:rPr lang="en-ZA" sz="800" dirty="0">
                <a:solidFill>
                  <a:schemeClr val="tx1"/>
                </a:solidFill>
              </a:rPr>
              <a:t>(South Africa)</a:t>
            </a:r>
            <a:endParaRPr lang="en-US" sz="800" dirty="0">
              <a:solidFill>
                <a:schemeClr val="tx1"/>
              </a:solidFill>
            </a:endParaRPr>
          </a:p>
        </p:txBody>
      </p:sp>
      <p:cxnSp>
        <p:nvCxnSpPr>
          <p:cNvPr id="79" name="Straight Connector 78"/>
          <p:cNvCxnSpPr>
            <a:cxnSpLocks/>
            <a:stCxn id="84" idx="2"/>
            <a:endCxn id="82" idx="0"/>
          </p:cNvCxnSpPr>
          <p:nvPr/>
        </p:nvCxnSpPr>
        <p:spPr>
          <a:xfrm>
            <a:off x="2417580" y="2807898"/>
            <a:ext cx="1" cy="27451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0" name="Elbow Connector 79"/>
          <p:cNvCxnSpPr>
            <a:stCxn id="82" idx="2"/>
            <a:endCxn id="74" idx="0"/>
          </p:cNvCxnSpPr>
          <p:nvPr/>
        </p:nvCxnSpPr>
        <p:spPr>
          <a:xfrm rot="5400000">
            <a:off x="1986729" y="3418324"/>
            <a:ext cx="310804" cy="550898"/>
          </a:xfrm>
          <a:prstGeom prst="bentConnector3">
            <a:avLst>
              <a:gd name="adj1" fmla="val 50000"/>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a:stCxn id="69" idx="2"/>
            <a:endCxn id="85" idx="0"/>
          </p:cNvCxnSpPr>
          <p:nvPr/>
        </p:nvCxnSpPr>
        <p:spPr>
          <a:xfrm flipH="1">
            <a:off x="4611888" y="2004835"/>
            <a:ext cx="1" cy="31080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5" name="Rectangle 84"/>
          <p:cNvSpPr/>
          <p:nvPr/>
        </p:nvSpPr>
        <p:spPr>
          <a:xfrm>
            <a:off x="4035912" y="2315641"/>
            <a:ext cx="1151949" cy="45596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b="1" dirty="0">
                <a:solidFill>
                  <a:schemeClr val="tx1"/>
                </a:solidFill>
              </a:rPr>
              <a:t>Steinhoff Finance</a:t>
            </a:r>
            <a:br>
              <a:rPr lang="en-ZA" sz="800" b="1" dirty="0">
                <a:solidFill>
                  <a:schemeClr val="tx1"/>
                </a:solidFill>
              </a:rPr>
            </a:br>
            <a:r>
              <a:rPr lang="en-ZA" sz="800" b="1" dirty="0">
                <a:solidFill>
                  <a:schemeClr val="tx1"/>
                </a:solidFill>
              </a:rPr>
              <a:t>Holding GmbH </a:t>
            </a:r>
          </a:p>
          <a:p>
            <a:pPr algn="ctr"/>
            <a:r>
              <a:rPr lang="en-ZA" sz="800" dirty="0">
                <a:solidFill>
                  <a:schemeClr val="tx1"/>
                </a:solidFill>
              </a:rPr>
              <a:t>(Austria)</a:t>
            </a:r>
            <a:endParaRPr lang="en-US" sz="800" dirty="0">
              <a:solidFill>
                <a:schemeClr val="tx1"/>
              </a:solidFill>
            </a:endParaRPr>
          </a:p>
        </p:txBody>
      </p:sp>
      <p:sp>
        <p:nvSpPr>
          <p:cNvPr id="86" name="Rectangle 85"/>
          <p:cNvSpPr/>
          <p:nvPr/>
        </p:nvSpPr>
        <p:spPr>
          <a:xfrm>
            <a:off x="6143609" y="2315641"/>
            <a:ext cx="1151949" cy="455963"/>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b="1" dirty="0">
                <a:solidFill>
                  <a:schemeClr val="tx1"/>
                </a:solidFill>
              </a:rPr>
              <a:t>Stripes US Holding Inc. </a:t>
            </a:r>
          </a:p>
          <a:p>
            <a:pPr algn="ctr"/>
            <a:r>
              <a:rPr lang="en-ZA" sz="800" dirty="0">
                <a:solidFill>
                  <a:schemeClr val="tx1"/>
                </a:solidFill>
              </a:rPr>
              <a:t>(USA)</a:t>
            </a:r>
            <a:endParaRPr lang="en-US" sz="800" dirty="0">
              <a:solidFill>
                <a:schemeClr val="tx1"/>
              </a:solidFill>
            </a:endParaRPr>
          </a:p>
        </p:txBody>
      </p:sp>
      <p:cxnSp>
        <p:nvCxnSpPr>
          <p:cNvPr id="88" name="Straight Connector 87"/>
          <p:cNvCxnSpPr>
            <a:stCxn id="69" idx="2"/>
            <a:endCxn id="86" idx="0"/>
          </p:cNvCxnSpPr>
          <p:nvPr/>
        </p:nvCxnSpPr>
        <p:spPr>
          <a:xfrm rot="16200000" flipH="1">
            <a:off x="5510334" y="1106389"/>
            <a:ext cx="310804" cy="2107697"/>
          </a:xfrm>
          <a:prstGeom prst="bentConnector3">
            <a:avLst>
              <a:gd name="adj1" fmla="val 50000"/>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a:xfrm>
            <a:off x="2164491" y="2180470"/>
            <a:ext cx="250068" cy="123111"/>
          </a:xfrm>
          <a:prstGeom prst="rect">
            <a:avLst/>
          </a:prstGeom>
        </p:spPr>
        <p:txBody>
          <a:bodyPr wrap="none" lIns="0" tIns="0" rIns="0" bIns="0">
            <a:spAutoFit/>
          </a:bodyPr>
          <a:lstStyle/>
          <a:p>
            <a:pPr algn="ctr"/>
            <a:r>
              <a:rPr lang="en-ZA" sz="800" dirty="0">
                <a:solidFill>
                  <a:srgbClr val="000000"/>
                </a:solidFill>
              </a:rPr>
              <a:t>100%</a:t>
            </a:r>
            <a:endParaRPr lang="en-ZA" sz="800" dirty="0"/>
          </a:p>
        </p:txBody>
      </p:sp>
      <p:sp>
        <p:nvSpPr>
          <p:cNvPr id="90" name="Rectangle 89"/>
          <p:cNvSpPr/>
          <p:nvPr/>
        </p:nvSpPr>
        <p:spPr>
          <a:xfrm>
            <a:off x="4357325" y="2180470"/>
            <a:ext cx="250068" cy="123111"/>
          </a:xfrm>
          <a:prstGeom prst="rect">
            <a:avLst/>
          </a:prstGeom>
        </p:spPr>
        <p:txBody>
          <a:bodyPr wrap="none" lIns="0" tIns="0" rIns="0" bIns="0">
            <a:spAutoFit/>
          </a:bodyPr>
          <a:lstStyle/>
          <a:p>
            <a:pPr algn="ctr"/>
            <a:r>
              <a:rPr lang="en-ZA" sz="800" dirty="0">
                <a:solidFill>
                  <a:srgbClr val="000000"/>
                </a:solidFill>
              </a:rPr>
              <a:t>100%</a:t>
            </a:r>
            <a:endParaRPr lang="en-ZA" sz="800" dirty="0"/>
          </a:p>
        </p:txBody>
      </p:sp>
      <p:sp>
        <p:nvSpPr>
          <p:cNvPr id="91" name="Rectangle 90"/>
          <p:cNvSpPr/>
          <p:nvPr/>
        </p:nvSpPr>
        <p:spPr>
          <a:xfrm>
            <a:off x="6467790" y="2180470"/>
            <a:ext cx="250068" cy="123111"/>
          </a:xfrm>
          <a:prstGeom prst="rect">
            <a:avLst/>
          </a:prstGeom>
        </p:spPr>
        <p:txBody>
          <a:bodyPr wrap="none" lIns="0" tIns="0" rIns="0" bIns="0">
            <a:spAutoFit/>
          </a:bodyPr>
          <a:lstStyle/>
          <a:p>
            <a:pPr algn="ctr"/>
            <a:r>
              <a:rPr lang="en-ZA" sz="800" dirty="0">
                <a:solidFill>
                  <a:srgbClr val="000000"/>
                </a:solidFill>
              </a:rPr>
              <a:t>100%</a:t>
            </a:r>
            <a:endParaRPr lang="en-ZA" sz="800" dirty="0"/>
          </a:p>
        </p:txBody>
      </p:sp>
      <p:sp>
        <p:nvSpPr>
          <p:cNvPr id="78" name="Rectangle 77"/>
          <p:cNvSpPr/>
          <p:nvPr/>
        </p:nvSpPr>
        <p:spPr>
          <a:xfrm>
            <a:off x="1604045" y="3719471"/>
            <a:ext cx="250068" cy="123111"/>
          </a:xfrm>
          <a:prstGeom prst="rect">
            <a:avLst/>
          </a:prstGeom>
        </p:spPr>
        <p:txBody>
          <a:bodyPr wrap="none" lIns="0" tIns="0" rIns="0" bIns="0">
            <a:spAutoFit/>
          </a:bodyPr>
          <a:lstStyle/>
          <a:p>
            <a:pPr algn="ctr"/>
            <a:r>
              <a:rPr lang="en-ZA" sz="800" dirty="0">
                <a:solidFill>
                  <a:srgbClr val="000000"/>
                </a:solidFill>
              </a:rPr>
              <a:t>100%</a:t>
            </a:r>
            <a:endParaRPr lang="en-ZA" sz="800" dirty="0"/>
          </a:p>
        </p:txBody>
      </p:sp>
      <p:sp>
        <p:nvSpPr>
          <p:cNvPr id="81" name="Rectangle 80"/>
          <p:cNvSpPr/>
          <p:nvPr/>
        </p:nvSpPr>
        <p:spPr>
          <a:xfrm>
            <a:off x="2838763" y="3719471"/>
            <a:ext cx="250068" cy="123111"/>
          </a:xfrm>
          <a:prstGeom prst="rect">
            <a:avLst/>
          </a:prstGeom>
        </p:spPr>
        <p:txBody>
          <a:bodyPr wrap="none" lIns="0" tIns="0" rIns="0" bIns="0">
            <a:spAutoFit/>
          </a:bodyPr>
          <a:lstStyle/>
          <a:p>
            <a:pPr algn="ctr"/>
            <a:r>
              <a:rPr lang="en-ZA" sz="800" dirty="0">
                <a:solidFill>
                  <a:srgbClr val="000000"/>
                </a:solidFill>
              </a:rPr>
              <a:t>100%</a:t>
            </a:r>
            <a:endParaRPr lang="en-ZA" sz="800" dirty="0"/>
          </a:p>
        </p:txBody>
      </p:sp>
      <p:sp>
        <p:nvSpPr>
          <p:cNvPr id="97" name="Rectangle 96"/>
          <p:cNvSpPr/>
          <p:nvPr/>
        </p:nvSpPr>
        <p:spPr>
          <a:xfrm>
            <a:off x="4092374" y="3719471"/>
            <a:ext cx="250068" cy="123111"/>
          </a:xfrm>
          <a:prstGeom prst="rect">
            <a:avLst/>
          </a:prstGeom>
        </p:spPr>
        <p:txBody>
          <a:bodyPr wrap="none" lIns="0" tIns="0" rIns="0" bIns="0">
            <a:spAutoFit/>
          </a:bodyPr>
          <a:lstStyle/>
          <a:p>
            <a:pPr algn="ctr"/>
            <a:r>
              <a:rPr lang="en-ZA" sz="800" dirty="0">
                <a:solidFill>
                  <a:srgbClr val="000000"/>
                </a:solidFill>
              </a:rPr>
              <a:t>100%</a:t>
            </a:r>
            <a:endParaRPr lang="en-ZA" sz="800" dirty="0"/>
          </a:p>
        </p:txBody>
      </p:sp>
      <p:grpSp>
        <p:nvGrpSpPr>
          <p:cNvPr id="52" name="Group 51"/>
          <p:cNvGrpSpPr/>
          <p:nvPr/>
        </p:nvGrpSpPr>
        <p:grpSpPr>
          <a:xfrm>
            <a:off x="1841606" y="3082408"/>
            <a:ext cx="3905023" cy="510597"/>
            <a:chOff x="931473" y="2926831"/>
            <a:chExt cx="5206697" cy="510597"/>
          </a:xfrm>
        </p:grpSpPr>
        <p:sp>
          <p:nvSpPr>
            <p:cNvPr id="82" name="Rectangle 81"/>
            <p:cNvSpPr/>
            <p:nvPr/>
          </p:nvSpPr>
          <p:spPr>
            <a:xfrm>
              <a:off x="931473" y="2926831"/>
              <a:ext cx="1535932" cy="455963"/>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b="1" dirty="0">
                  <a:solidFill>
                    <a:schemeClr val="tx1"/>
                  </a:solidFill>
                </a:rPr>
                <a:t>Steinhoff Africa </a:t>
              </a:r>
              <a:br>
                <a:rPr lang="en-ZA" sz="800" b="1" dirty="0">
                  <a:solidFill>
                    <a:schemeClr val="tx1"/>
                  </a:solidFill>
                </a:rPr>
              </a:br>
              <a:r>
                <a:rPr lang="en-ZA" sz="800" b="1" dirty="0">
                  <a:solidFill>
                    <a:schemeClr val="tx1"/>
                  </a:solidFill>
                </a:rPr>
                <a:t>Holdings Pty Ltd </a:t>
              </a:r>
            </a:p>
            <a:p>
              <a:pPr algn="ctr"/>
              <a:r>
                <a:rPr lang="en-ZA" sz="800" dirty="0">
                  <a:solidFill>
                    <a:schemeClr val="tx1"/>
                  </a:solidFill>
                </a:rPr>
                <a:t>(South Africa)</a:t>
              </a:r>
              <a:endParaRPr lang="en-US" sz="800" dirty="0">
                <a:solidFill>
                  <a:schemeClr val="tx1"/>
                </a:solidFill>
              </a:endParaRPr>
            </a:p>
          </p:txBody>
        </p:sp>
        <p:sp>
          <p:nvSpPr>
            <p:cNvPr id="99" name="Rectangle 98"/>
            <p:cNvSpPr/>
            <p:nvPr/>
          </p:nvSpPr>
          <p:spPr>
            <a:xfrm>
              <a:off x="4714623" y="2926831"/>
              <a:ext cx="1423547" cy="510597"/>
            </a:xfrm>
            <a:prstGeom prst="rect">
              <a:avLst/>
            </a:prstGeom>
            <a:solidFill>
              <a:schemeClr val="tx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b="1" dirty="0">
                  <a:solidFill>
                    <a:schemeClr val="tx1"/>
                  </a:solidFill>
                </a:rPr>
                <a:t>Steinhoff Möbel Holding Alpha GmbH</a:t>
              </a:r>
            </a:p>
            <a:p>
              <a:pPr algn="ctr"/>
              <a:r>
                <a:rPr lang="de-DE" sz="800" dirty="0">
                  <a:solidFill>
                    <a:schemeClr val="tx1"/>
                  </a:solidFill>
                </a:rPr>
                <a:t>(Austria)</a:t>
              </a:r>
            </a:p>
          </p:txBody>
        </p:sp>
      </p:grpSp>
      <p:cxnSp>
        <p:nvCxnSpPr>
          <p:cNvPr id="101" name="Elbow Connector 100"/>
          <p:cNvCxnSpPr>
            <a:cxnSpLocks/>
            <a:stCxn id="99" idx="0"/>
            <a:endCxn id="85" idx="2"/>
          </p:cNvCxnSpPr>
          <p:nvPr/>
        </p:nvCxnSpPr>
        <p:spPr>
          <a:xfrm rot="16200000" flipV="1">
            <a:off x="4756941" y="2626550"/>
            <a:ext cx="310804" cy="600912"/>
          </a:xfrm>
          <a:prstGeom prst="bentConnector3">
            <a:avLst>
              <a:gd name="adj1" fmla="val 50000"/>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2" name="Elbow Connector 101"/>
          <p:cNvCxnSpPr>
            <a:cxnSpLocks/>
            <a:stCxn id="70" idx="0"/>
            <a:endCxn id="85" idx="2"/>
          </p:cNvCxnSpPr>
          <p:nvPr/>
        </p:nvCxnSpPr>
        <p:spPr>
          <a:xfrm rot="5400000" flipH="1" flipV="1">
            <a:off x="3939138" y="3176426"/>
            <a:ext cx="1077571" cy="267928"/>
          </a:xfrm>
          <a:prstGeom prst="bentConnector3">
            <a:avLst>
              <a:gd name="adj1" fmla="val 50000"/>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8" name="Picture 5"/>
          <p:cNvPicPr>
            <a:picLocks noChangeAspect="1" noChangeArrowheads="1"/>
          </p:cNvPicPr>
          <p:nvPr/>
        </p:nvPicPr>
        <p:blipFill>
          <a:blip r:embed="rId4" cstate="screen">
            <a:extLst>
              <a:ext uri="{28A0092B-C50C-407E-A947-70E740481C1C}">
                <a14:useLocalDpi xmlns:a14="http://schemas.microsoft.com/office/drawing/2010/main" xmlns=""/>
              </a:ext>
            </a:extLst>
          </a:blip>
          <a:srcRect/>
          <a:stretch>
            <a:fillRect/>
          </a:stretch>
        </p:blipFill>
        <p:spPr bwMode="auto">
          <a:xfrm>
            <a:off x="7019329" y="4750564"/>
            <a:ext cx="524681" cy="21559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1520" name="Picture 16"/>
          <p:cNvPicPr>
            <a:picLocks noChangeAspect="1" noChangeArrowheads="1"/>
          </p:cNvPicPr>
          <p:nvPr/>
        </p:nvPicPr>
        <p:blipFill>
          <a:blip r:embed="rId5" cstate="screen">
            <a:extLst>
              <a:ext uri="{28A0092B-C50C-407E-A947-70E740481C1C}">
                <a14:useLocalDpi xmlns:a14="http://schemas.microsoft.com/office/drawing/2010/main" xmlns=""/>
              </a:ext>
            </a:extLst>
          </a:blip>
          <a:srcRect/>
          <a:stretch>
            <a:fillRect/>
          </a:stretch>
        </p:blipFill>
        <p:spPr bwMode="auto">
          <a:xfrm>
            <a:off x="7587136" y="4912572"/>
            <a:ext cx="250099" cy="233788"/>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1515" name="Picture 11"/>
          <p:cNvPicPr>
            <a:picLocks noChangeAspect="1" noChangeArrowheads="1"/>
          </p:cNvPicPr>
          <p:nvPr/>
        </p:nvPicPr>
        <p:blipFill rotWithShape="1">
          <a:blip r:embed="rId6" cstate="screen">
            <a:extLst>
              <a:ext uri="{28A0092B-C50C-407E-A947-70E740481C1C}">
                <a14:useLocalDpi xmlns:a14="http://schemas.microsoft.com/office/drawing/2010/main" xmlns=""/>
              </a:ext>
            </a:extLst>
          </a:blip>
          <a:srcRect l="4324"/>
          <a:stretch/>
        </p:blipFill>
        <p:spPr bwMode="auto">
          <a:xfrm>
            <a:off x="7030758" y="5017284"/>
            <a:ext cx="410089" cy="2243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1511" name="Picture 7"/>
          <p:cNvPicPr>
            <a:picLocks noChangeAspect="1" noChangeArrowheads="1"/>
          </p:cNvPicPr>
          <p:nvPr/>
        </p:nvPicPr>
        <p:blipFill>
          <a:blip r:embed="rId7" cstate="screen">
            <a:extLst>
              <a:ext uri="{28A0092B-C50C-407E-A947-70E740481C1C}">
                <a14:useLocalDpi xmlns:a14="http://schemas.microsoft.com/office/drawing/2010/main" xmlns=""/>
              </a:ext>
            </a:extLst>
          </a:blip>
          <a:srcRect/>
          <a:stretch>
            <a:fillRect/>
          </a:stretch>
        </p:blipFill>
        <p:spPr bwMode="auto">
          <a:xfrm>
            <a:off x="7049097" y="5309010"/>
            <a:ext cx="492921" cy="1626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65" name="Picture 64"/>
          <p:cNvPicPr>
            <a:picLocks noChangeAspect="1"/>
          </p:cNvPicPr>
          <p:nvPr/>
        </p:nvPicPr>
        <p:blipFill>
          <a:blip r:embed="rId8" cstate="screen">
            <a:extLst>
              <a:ext uri="{28A0092B-C50C-407E-A947-70E740481C1C}">
                <a14:useLocalDpi xmlns:a14="http://schemas.microsoft.com/office/drawing/2010/main" xmlns=""/>
              </a:ext>
            </a:extLst>
          </a:blip>
          <a:stretch>
            <a:fillRect/>
          </a:stretch>
        </p:blipFill>
        <p:spPr>
          <a:xfrm>
            <a:off x="6356143" y="2853190"/>
            <a:ext cx="876061" cy="156589"/>
          </a:xfrm>
          <a:prstGeom prst="rect">
            <a:avLst/>
          </a:prstGeom>
        </p:spPr>
      </p:pic>
      <p:pic>
        <p:nvPicPr>
          <p:cNvPr id="21513" name="Picture 9"/>
          <p:cNvPicPr>
            <a:picLocks noChangeAspect="1" noChangeArrowheads="1"/>
          </p:cNvPicPr>
          <p:nvPr/>
        </p:nvPicPr>
        <p:blipFill>
          <a:blip r:embed="rId9" cstate="screen">
            <a:extLst>
              <a:ext uri="{28A0092B-C50C-407E-A947-70E740481C1C}">
                <a14:useLocalDpi xmlns:a14="http://schemas.microsoft.com/office/drawing/2010/main" xmlns=""/>
              </a:ext>
            </a:extLst>
          </a:blip>
          <a:srcRect/>
          <a:stretch>
            <a:fillRect/>
          </a:stretch>
        </p:blipFill>
        <p:spPr bwMode="auto">
          <a:xfrm>
            <a:off x="7025036" y="5530821"/>
            <a:ext cx="687359" cy="24899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21" name="Picture 120" descr="Harveys-Aubergine-Logo-RGB.png"/>
          <p:cNvPicPr>
            <a:picLocks noChangeAspect="1"/>
          </p:cNvPicPr>
          <p:nvPr/>
        </p:nvPicPr>
        <p:blipFill>
          <a:blip r:embed="rId10" cstate="screen">
            <a:extLst>
              <a:ext uri="{28A0092B-C50C-407E-A947-70E740481C1C}">
                <a14:useLocalDpi xmlns:a14="http://schemas.microsoft.com/office/drawing/2010/main" xmlns=""/>
              </a:ext>
            </a:extLst>
          </a:blip>
          <a:stretch>
            <a:fillRect/>
          </a:stretch>
        </p:blipFill>
        <p:spPr>
          <a:xfrm>
            <a:off x="5940985" y="5486294"/>
            <a:ext cx="432325" cy="108679"/>
          </a:xfrm>
          <a:prstGeom prst="rect">
            <a:avLst/>
          </a:prstGeom>
        </p:spPr>
      </p:pic>
      <p:pic>
        <p:nvPicPr>
          <p:cNvPr id="18435" name="Picture 3"/>
          <p:cNvPicPr>
            <a:picLocks noChangeAspect="1" noChangeArrowheads="1"/>
          </p:cNvPicPr>
          <p:nvPr/>
        </p:nvPicPr>
        <p:blipFill>
          <a:blip r:embed="rId11" cstate="screen">
            <a:extLst>
              <a:ext uri="{28A0092B-C50C-407E-A947-70E740481C1C}">
                <a14:useLocalDpi xmlns:a14="http://schemas.microsoft.com/office/drawing/2010/main" xmlns=""/>
              </a:ext>
            </a:extLst>
          </a:blip>
          <a:srcRect/>
          <a:stretch>
            <a:fillRect/>
          </a:stretch>
        </p:blipFill>
        <p:spPr bwMode="auto">
          <a:xfrm>
            <a:off x="5297024" y="5375972"/>
            <a:ext cx="575093" cy="34661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22" name="Picture 121"/>
          <p:cNvPicPr>
            <a:picLocks noChangeAspect="1"/>
          </p:cNvPicPr>
          <p:nvPr/>
        </p:nvPicPr>
        <p:blipFill>
          <a:blip r:embed="rId12" cstate="screen">
            <a:extLst>
              <a:ext uri="{28A0092B-C50C-407E-A947-70E740481C1C}">
                <a14:useLocalDpi xmlns:a14="http://schemas.microsoft.com/office/drawing/2010/main" xmlns=""/>
              </a:ext>
            </a:extLst>
          </a:blip>
          <a:stretch>
            <a:fillRect/>
          </a:stretch>
        </p:blipFill>
        <p:spPr>
          <a:xfrm>
            <a:off x="5297024" y="5034808"/>
            <a:ext cx="575094" cy="230038"/>
          </a:xfrm>
          <a:prstGeom prst="rect">
            <a:avLst/>
          </a:prstGeom>
        </p:spPr>
      </p:pic>
      <p:pic>
        <p:nvPicPr>
          <p:cNvPr id="21534" name="Picture 20"/>
          <p:cNvPicPr>
            <a:picLocks noChangeAspect="1" noChangeArrowheads="1"/>
          </p:cNvPicPr>
          <p:nvPr/>
        </p:nvPicPr>
        <p:blipFill>
          <a:blip r:embed="rId13" cstate="screen">
            <a:extLst>
              <a:ext uri="{28A0092B-C50C-407E-A947-70E740481C1C}">
                <a14:useLocalDpi xmlns:a14="http://schemas.microsoft.com/office/drawing/2010/main" xmlns=""/>
              </a:ext>
            </a:extLst>
          </a:blip>
          <a:srcRect/>
          <a:stretch>
            <a:fillRect/>
          </a:stretch>
        </p:blipFill>
        <p:spPr bwMode="auto">
          <a:xfrm>
            <a:off x="5974917" y="5026494"/>
            <a:ext cx="381226" cy="28492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70" name="Rectangle 169"/>
          <p:cNvSpPr/>
          <p:nvPr/>
        </p:nvSpPr>
        <p:spPr>
          <a:xfrm>
            <a:off x="6182994" y="3719471"/>
            <a:ext cx="250068" cy="123111"/>
          </a:xfrm>
          <a:prstGeom prst="rect">
            <a:avLst/>
          </a:prstGeom>
        </p:spPr>
        <p:txBody>
          <a:bodyPr wrap="none" lIns="0" tIns="0" rIns="0" bIns="0">
            <a:spAutoFit/>
          </a:bodyPr>
          <a:lstStyle/>
          <a:p>
            <a:pPr algn="ctr"/>
            <a:r>
              <a:rPr lang="en-ZA" sz="800" dirty="0">
                <a:solidFill>
                  <a:srgbClr val="000000"/>
                </a:solidFill>
              </a:rPr>
              <a:t>100%</a:t>
            </a:r>
            <a:endParaRPr lang="en-ZA" sz="800" dirty="0"/>
          </a:p>
        </p:txBody>
      </p:sp>
      <p:sp>
        <p:nvSpPr>
          <p:cNvPr id="142" name="Rectangle 141"/>
          <p:cNvSpPr/>
          <p:nvPr/>
        </p:nvSpPr>
        <p:spPr>
          <a:xfrm>
            <a:off x="5212798" y="4335544"/>
            <a:ext cx="1032623" cy="3766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b="1" i="1" dirty="0">
                <a:solidFill>
                  <a:schemeClr val="tx1"/>
                </a:solidFill>
              </a:rPr>
              <a:t>Europe Businesses</a:t>
            </a:r>
            <a:endParaRPr lang="en-US" sz="800" b="1" i="1" dirty="0">
              <a:solidFill>
                <a:schemeClr val="tx1"/>
              </a:solidFill>
            </a:endParaRPr>
          </a:p>
        </p:txBody>
      </p:sp>
      <p:sp>
        <p:nvSpPr>
          <p:cNvPr id="143" name="Rectangle 142"/>
          <p:cNvSpPr/>
          <p:nvPr/>
        </p:nvSpPr>
        <p:spPr>
          <a:xfrm>
            <a:off x="6655270" y="4335544"/>
            <a:ext cx="1032623" cy="3766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b="1" i="1" dirty="0">
                <a:solidFill>
                  <a:schemeClr val="tx1"/>
                </a:solidFill>
              </a:rPr>
              <a:t>Australasia Businesses</a:t>
            </a:r>
            <a:endParaRPr lang="en-US" sz="800" b="1" i="1" baseline="30000" dirty="0">
              <a:solidFill>
                <a:schemeClr val="tx1"/>
              </a:solidFill>
            </a:endParaRPr>
          </a:p>
        </p:txBody>
      </p:sp>
      <p:sp>
        <p:nvSpPr>
          <p:cNvPr id="123" name="Content Placeholder 1"/>
          <p:cNvSpPr txBox="1">
            <a:spLocks/>
          </p:cNvSpPr>
          <p:nvPr/>
        </p:nvSpPr>
        <p:spPr>
          <a:xfrm>
            <a:off x="1347938" y="6332469"/>
            <a:ext cx="6489297" cy="221343"/>
          </a:xfrm>
          <a:prstGeom prst="rect">
            <a:avLst/>
          </a:prstGeom>
        </p:spPr>
        <p:txBody>
          <a:bodyPr vert="horz" lIns="45720" tIns="45720" rIns="4572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sz="1292" b="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tabLst>
                <a:tab pos="457200" algn="l"/>
              </a:tabLst>
            </a:pPr>
            <a:endParaRPr lang="en-US" sz="700" dirty="0"/>
          </a:p>
        </p:txBody>
      </p:sp>
      <p:cxnSp>
        <p:nvCxnSpPr>
          <p:cNvPr id="127" name="Straight Connector 87"/>
          <p:cNvCxnSpPr>
            <a:cxnSpLocks/>
          </p:cNvCxnSpPr>
          <p:nvPr/>
        </p:nvCxnSpPr>
        <p:spPr>
          <a:xfrm rot="5400000">
            <a:off x="3361714" y="1063085"/>
            <a:ext cx="310804" cy="2194309"/>
          </a:xfrm>
          <a:prstGeom prst="bentConnector3">
            <a:avLst>
              <a:gd name="adj1" fmla="val 50000"/>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8" name="Elbow Connector 127"/>
          <p:cNvCxnSpPr>
            <a:stCxn id="82" idx="2"/>
            <a:endCxn id="77" idx="0"/>
          </p:cNvCxnSpPr>
          <p:nvPr/>
        </p:nvCxnSpPr>
        <p:spPr>
          <a:xfrm rot="16200000" flipH="1">
            <a:off x="2606047" y="3349902"/>
            <a:ext cx="310804" cy="687740"/>
          </a:xfrm>
          <a:prstGeom prst="bentConnector3">
            <a:avLst>
              <a:gd name="adj1" fmla="val 50000"/>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9" name="Rectangle 128"/>
          <p:cNvSpPr/>
          <p:nvPr/>
        </p:nvSpPr>
        <p:spPr>
          <a:xfrm>
            <a:off x="4954319" y="2941191"/>
            <a:ext cx="250068" cy="123111"/>
          </a:xfrm>
          <a:prstGeom prst="rect">
            <a:avLst/>
          </a:prstGeom>
        </p:spPr>
        <p:txBody>
          <a:bodyPr wrap="none" lIns="0" tIns="0" rIns="0" bIns="0">
            <a:spAutoFit/>
          </a:bodyPr>
          <a:lstStyle/>
          <a:p>
            <a:pPr algn="ctr"/>
            <a:r>
              <a:rPr lang="en-ZA" sz="800" dirty="0">
                <a:solidFill>
                  <a:srgbClr val="000000"/>
                </a:solidFill>
              </a:rPr>
              <a:t>100%</a:t>
            </a:r>
            <a:endParaRPr lang="en-ZA" sz="800" dirty="0"/>
          </a:p>
        </p:txBody>
      </p:sp>
      <p:grpSp>
        <p:nvGrpSpPr>
          <p:cNvPr id="139" name="Group 138"/>
          <p:cNvGrpSpPr/>
          <p:nvPr/>
        </p:nvGrpSpPr>
        <p:grpSpPr>
          <a:xfrm>
            <a:off x="2749013" y="3653644"/>
            <a:ext cx="79271" cy="97839"/>
            <a:chOff x="5055393" y="3878419"/>
            <a:chExt cx="154749" cy="157571"/>
          </a:xfrm>
        </p:grpSpPr>
        <p:cxnSp>
          <p:nvCxnSpPr>
            <p:cNvPr id="141" name="Straight Connector 140"/>
            <p:cNvCxnSpPr/>
            <p:nvPr/>
          </p:nvCxnSpPr>
          <p:spPr>
            <a:xfrm flipV="1">
              <a:off x="5074377" y="3878419"/>
              <a:ext cx="112163" cy="15757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flipV="1">
              <a:off x="5055393" y="3878419"/>
              <a:ext cx="112163" cy="15757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flipV="1">
              <a:off x="5097979" y="3878419"/>
              <a:ext cx="112163" cy="15757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cxnSp>
        <p:nvCxnSpPr>
          <p:cNvPr id="146" name="Straight Connector 145"/>
          <p:cNvCxnSpPr>
            <a:stCxn id="82" idx="3"/>
          </p:cNvCxnSpPr>
          <p:nvPr/>
        </p:nvCxnSpPr>
        <p:spPr>
          <a:xfrm>
            <a:off x="2993555" y="3310388"/>
            <a:ext cx="235826" cy="63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147" name="Group 146"/>
          <p:cNvGrpSpPr/>
          <p:nvPr/>
        </p:nvGrpSpPr>
        <p:grpSpPr>
          <a:xfrm>
            <a:off x="3070100" y="3269114"/>
            <a:ext cx="79271" cy="97839"/>
            <a:chOff x="5055393" y="3878419"/>
            <a:chExt cx="154749" cy="157571"/>
          </a:xfrm>
        </p:grpSpPr>
        <p:cxnSp>
          <p:nvCxnSpPr>
            <p:cNvPr id="148" name="Straight Connector 147"/>
            <p:cNvCxnSpPr/>
            <p:nvPr/>
          </p:nvCxnSpPr>
          <p:spPr>
            <a:xfrm flipV="1">
              <a:off x="5074377" y="3878419"/>
              <a:ext cx="112163" cy="15757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flipV="1">
              <a:off x="5055393" y="3878419"/>
              <a:ext cx="112163" cy="15757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nvCxnSpPr>
          <p:spPr>
            <a:xfrm flipV="1">
              <a:off x="5097979" y="3878419"/>
              <a:ext cx="112163" cy="15757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mc:AlternateContent xmlns:mc="http://schemas.openxmlformats.org/markup-compatibility/2006">
        <mc:Choice xmlns:p14="http://schemas.microsoft.com/office/powerpoint/2010/main" xmlns="" Requires="p14">
          <p:contentPart p14:bwMode="auto" r:id="rId14">
            <p14:nvContentPartPr>
              <p14:cNvPr id="21" name="Ink 20">
                <a:extLst>
                  <a:ext uri="{FF2B5EF4-FFF2-40B4-BE49-F238E27FC236}">
                    <a16:creationId xmlns:a16="http://schemas.microsoft.com/office/drawing/2014/main" xmlns="" id="{1B68E669-D53D-47DB-ADD6-3333073D09CF}"/>
                  </a:ext>
                </a:extLst>
              </p14:cNvPr>
              <p14:cNvContentPartPr/>
              <p14:nvPr/>
            </p14:nvContentPartPr>
            <p14:xfrm>
              <a:off x="3173385" y="1996935"/>
              <a:ext cx="227160" cy="150900"/>
            </p14:xfrm>
          </p:contentPart>
        </mc:Choice>
        <mc:Fallback>
          <p:pic>
            <p:nvPicPr>
              <p:cNvPr id="21" name="Ink 20">
                <a:extLst>
                  <a:ext uri="{FF2B5EF4-FFF2-40B4-BE49-F238E27FC236}">
                    <a16:creationId xmlns:a16="http://schemas.microsoft.com/office/drawing/2014/main" xmlns="" xmlns:p14="http://schemas.microsoft.com/office/powerpoint/2010/main" id="{1B68E669-D53D-47DB-ADD6-3333073D09CF}"/>
                  </a:ext>
                </a:extLst>
              </p:cNvPr>
              <p:cNvPicPr/>
              <p:nvPr/>
            </p:nvPicPr>
            <p:blipFill>
              <a:blip r:embed="rId15"/>
              <a:stretch>
                <a:fillRect/>
              </a:stretch>
            </p:blipFill>
            <p:spPr>
              <a:xfrm>
                <a:off x="3164399" y="1987931"/>
                <a:ext cx="244772" cy="168547"/>
              </a:xfrm>
              <a:prstGeom prst="rect">
                <a:avLst/>
              </a:prstGeom>
            </p:spPr>
          </p:pic>
        </mc:Fallback>
      </mc:AlternateContent>
      <p:sp>
        <p:nvSpPr>
          <p:cNvPr id="103" name="Rectangle 102">
            <a:extLst>
              <a:ext uri="{FF2B5EF4-FFF2-40B4-BE49-F238E27FC236}">
                <a16:creationId xmlns="" xmlns:a16="http://schemas.microsoft.com/office/drawing/2014/main" id="{093594EC-30B6-4864-9CD6-84E071EBB9EC}"/>
              </a:ext>
            </a:extLst>
          </p:cNvPr>
          <p:cNvSpPr/>
          <p:nvPr/>
        </p:nvSpPr>
        <p:spPr>
          <a:xfrm>
            <a:off x="1134562" y="2936120"/>
            <a:ext cx="250068" cy="123111"/>
          </a:xfrm>
          <a:prstGeom prst="rect">
            <a:avLst/>
          </a:prstGeom>
        </p:spPr>
        <p:txBody>
          <a:bodyPr wrap="none" lIns="0" tIns="0" rIns="0" bIns="0">
            <a:spAutoFit/>
          </a:bodyPr>
          <a:lstStyle/>
          <a:p>
            <a:pPr algn="ctr"/>
            <a:r>
              <a:rPr lang="en-ZA" sz="800" dirty="0">
                <a:solidFill>
                  <a:srgbClr val="000000"/>
                </a:solidFill>
              </a:rPr>
              <a:t>100%</a:t>
            </a:r>
            <a:endParaRPr lang="en-ZA" sz="800" dirty="0"/>
          </a:p>
        </p:txBody>
      </p:sp>
      <p:sp>
        <p:nvSpPr>
          <p:cNvPr id="92" name="Rectangle 91">
            <a:extLst>
              <a:ext uri="{FF2B5EF4-FFF2-40B4-BE49-F238E27FC236}">
                <a16:creationId xmlns="" xmlns:a16="http://schemas.microsoft.com/office/drawing/2014/main" id="{8D5A4AB0-3203-4C51-9A07-94E319FE00C3}"/>
              </a:ext>
            </a:extLst>
          </p:cNvPr>
          <p:cNvSpPr/>
          <p:nvPr/>
        </p:nvSpPr>
        <p:spPr>
          <a:xfrm>
            <a:off x="563232" y="3075021"/>
            <a:ext cx="1151949" cy="6444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b="1" dirty="0">
                <a:solidFill>
                  <a:schemeClr val="tx1"/>
                </a:solidFill>
              </a:rPr>
              <a:t>Steinhoff International Holdings Proprietary Limited</a:t>
            </a:r>
          </a:p>
          <a:p>
            <a:pPr algn="ctr"/>
            <a:r>
              <a:rPr lang="en-ZA" sz="800" dirty="0">
                <a:solidFill>
                  <a:schemeClr val="tx1"/>
                </a:solidFill>
              </a:rPr>
              <a:t>(South Africa)</a:t>
            </a:r>
            <a:endParaRPr lang="en-US" sz="800" dirty="0">
              <a:solidFill>
                <a:schemeClr val="tx1"/>
              </a:solidFill>
            </a:endParaRPr>
          </a:p>
        </p:txBody>
      </p:sp>
      <p:cxnSp>
        <p:nvCxnSpPr>
          <p:cNvPr id="112" name="Elbow Connector 79">
            <a:extLst>
              <a:ext uri="{FF2B5EF4-FFF2-40B4-BE49-F238E27FC236}">
                <a16:creationId xmlns="" xmlns:a16="http://schemas.microsoft.com/office/drawing/2014/main" id="{82332368-933F-40F3-B866-42B72135A09C}"/>
              </a:ext>
            </a:extLst>
          </p:cNvPr>
          <p:cNvCxnSpPr/>
          <p:nvPr/>
        </p:nvCxnSpPr>
        <p:spPr>
          <a:xfrm rot="5400000">
            <a:off x="1557257" y="2636275"/>
            <a:ext cx="310804" cy="550898"/>
          </a:xfrm>
          <a:prstGeom prst="bentConnector3">
            <a:avLst>
              <a:gd name="adj1" fmla="val 50000"/>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4" name="Rectangle 83"/>
          <p:cNvSpPr/>
          <p:nvPr/>
        </p:nvSpPr>
        <p:spPr>
          <a:xfrm>
            <a:off x="1841605" y="2315641"/>
            <a:ext cx="1151949" cy="49225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b="1" dirty="0">
                <a:solidFill>
                  <a:schemeClr val="tx1"/>
                </a:solidFill>
              </a:rPr>
              <a:t>Steinhoff Investment Holdings Ltd</a:t>
            </a:r>
          </a:p>
          <a:p>
            <a:pPr algn="ctr"/>
            <a:r>
              <a:rPr lang="en-ZA" sz="800" dirty="0">
                <a:solidFill>
                  <a:schemeClr val="tx1"/>
                </a:solidFill>
              </a:rPr>
              <a:t>(South Africa)</a:t>
            </a:r>
            <a:endParaRPr lang="en-US" sz="800" dirty="0">
              <a:solidFill>
                <a:schemeClr val="tx1"/>
              </a:solidFill>
            </a:endParaRPr>
          </a:p>
        </p:txBody>
      </p:sp>
      <p:pic>
        <p:nvPicPr>
          <p:cNvPr id="7" name="Picture 6">
            <a:extLst>
              <a:ext uri="{FF2B5EF4-FFF2-40B4-BE49-F238E27FC236}">
                <a16:creationId xmlns="" xmlns:a16="http://schemas.microsoft.com/office/drawing/2014/main" id="{B95A5881-257F-4ED0-9CD4-566FD0F2DCCE}"/>
              </a:ext>
            </a:extLst>
          </p:cNvPr>
          <p:cNvPicPr>
            <a:picLocks noChangeAspect="1"/>
          </p:cNvPicPr>
          <p:nvPr/>
        </p:nvPicPr>
        <p:blipFill>
          <a:blip r:embed="rId16"/>
          <a:stretch>
            <a:fillRect/>
          </a:stretch>
        </p:blipFill>
        <p:spPr>
          <a:xfrm>
            <a:off x="2723729" y="4481438"/>
            <a:ext cx="749357" cy="320724"/>
          </a:xfrm>
          <a:prstGeom prst="rect">
            <a:avLst/>
          </a:prstGeom>
        </p:spPr>
      </p:pic>
      <p:pic>
        <p:nvPicPr>
          <p:cNvPr id="93" name="Picture 92">
            <a:extLst>
              <a:ext uri="{FF2B5EF4-FFF2-40B4-BE49-F238E27FC236}">
                <a16:creationId xmlns="" xmlns:a16="http://schemas.microsoft.com/office/drawing/2014/main" id="{987D5EB4-40C5-431D-855B-4B7A72F6963A}"/>
              </a:ext>
            </a:extLst>
          </p:cNvPr>
          <p:cNvPicPr>
            <a:picLocks noChangeAspect="1"/>
          </p:cNvPicPr>
          <p:nvPr/>
        </p:nvPicPr>
        <p:blipFill>
          <a:blip r:embed="rId17">
            <a:extLst>
              <a:ext uri="{28A0092B-C50C-407E-A947-70E740481C1C}">
                <a14:useLocalDpi xmlns:a14="http://schemas.microsoft.com/office/drawing/2010/main" xmlns=""/>
              </a:ext>
            </a:extLst>
          </a:blip>
          <a:stretch>
            <a:fillRect/>
          </a:stretch>
        </p:blipFill>
        <p:spPr>
          <a:xfrm>
            <a:off x="5429734" y="4760371"/>
            <a:ext cx="727413" cy="179662"/>
          </a:xfrm>
          <a:prstGeom prst="rect">
            <a:avLst/>
          </a:prstGeom>
        </p:spPr>
      </p:pic>
    </p:spTree>
    <p:extLst>
      <p:ext uri="{BB962C8B-B14F-4D97-AF65-F5344CB8AC3E}">
        <p14:creationId xmlns:p14="http://schemas.microsoft.com/office/powerpoint/2010/main" xmlns="" val="89047048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Group </a:t>
            </a:r>
            <a:r>
              <a:rPr lang="en-US" dirty="0" smtClean="0"/>
              <a:t>overview* </a:t>
            </a:r>
            <a:r>
              <a:rPr lang="en-US" dirty="0"/>
              <a:t>(summarised)</a:t>
            </a:r>
          </a:p>
        </p:txBody>
      </p:sp>
      <p:sp>
        <p:nvSpPr>
          <p:cNvPr id="4" name="Slide Number Placeholder 3"/>
          <p:cNvSpPr>
            <a:spLocks noGrp="1"/>
          </p:cNvSpPr>
          <p:nvPr>
            <p:ph type="sldNum" sz="quarter" idx="4294967295"/>
          </p:nvPr>
        </p:nvSpPr>
        <p:spPr>
          <a:xfrm>
            <a:off x="6787662" y="6356354"/>
            <a:ext cx="2057400" cy="365125"/>
          </a:xfrm>
          <a:prstGeom prst="rect">
            <a:avLst/>
          </a:prstGeom>
        </p:spPr>
        <p:txBody>
          <a:bodyPr/>
          <a:lstStyle/>
          <a:p>
            <a:pPr>
              <a:defRPr/>
            </a:pPr>
            <a:fld id="{1A70C215-7FD4-F741-9EDD-C4BAF7BC3257}" type="slidenum">
              <a:rPr lang="en-US" smtClean="0"/>
              <a:pPr>
                <a:defRPr/>
              </a:pPr>
              <a:t>11</a:t>
            </a:fld>
            <a:endParaRPr lang="en-US" dirty="0"/>
          </a:p>
        </p:txBody>
      </p:sp>
      <p:sp>
        <p:nvSpPr>
          <p:cNvPr id="123" name="Content Placeholder 1"/>
          <p:cNvSpPr txBox="1">
            <a:spLocks/>
          </p:cNvSpPr>
          <p:nvPr/>
        </p:nvSpPr>
        <p:spPr>
          <a:xfrm>
            <a:off x="43911" y="6653313"/>
            <a:ext cx="9199135" cy="262258"/>
          </a:xfrm>
          <a:prstGeom prst="rect">
            <a:avLst/>
          </a:prstGeom>
        </p:spPr>
        <p:txBody>
          <a:bodyPr vert="horz" lIns="45720" tIns="45720" rIns="45720" bIns="4572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sz="1292" b="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tabLst>
                <a:tab pos="457200" algn="l"/>
              </a:tabLst>
            </a:pPr>
            <a:r>
              <a:rPr lang="en-US" sz="700" dirty="0" smtClean="0"/>
              <a:t>*Information shown for largest parts of the Steinhoff Group and therefore is not a breakdown of the full group. </a:t>
            </a:r>
          </a:p>
          <a:p>
            <a:pPr>
              <a:lnSpc>
                <a:spcPct val="100000"/>
              </a:lnSpc>
              <a:spcBef>
                <a:spcPts val="0"/>
              </a:spcBef>
              <a:tabLst>
                <a:tab pos="457200" algn="l"/>
              </a:tabLst>
            </a:pPr>
            <a:r>
              <a:rPr lang="en-US" sz="700" dirty="0" smtClean="0"/>
              <a:t>Revenue shown for the 6 months ended 31 March 2018.  </a:t>
            </a:r>
            <a:r>
              <a:rPr lang="en-US" sz="700" smtClean="0"/>
              <a:t>Store numbers </a:t>
            </a:r>
            <a:r>
              <a:rPr lang="en-US" sz="700" dirty="0" smtClean="0"/>
              <a:t>and employees (shown as approximate) as at 31 March 2018.   </a:t>
            </a:r>
            <a:endParaRPr lang="en-US" sz="700" dirty="0"/>
          </a:p>
        </p:txBody>
      </p:sp>
      <p:sp>
        <p:nvSpPr>
          <p:cNvPr id="94" name="Freeform 4">
            <a:extLst>
              <a:ext uri="{FF2B5EF4-FFF2-40B4-BE49-F238E27FC236}">
                <a16:creationId xmlns="" xmlns:a16="http://schemas.microsoft.com/office/drawing/2014/main" id="{51F0C426-757D-429E-A3A0-26382A7FF832}"/>
              </a:ext>
            </a:extLst>
          </p:cNvPr>
          <p:cNvSpPr>
            <a:spLocks/>
          </p:cNvSpPr>
          <p:nvPr>
            <p:custDataLst>
              <p:tags r:id="rId1"/>
            </p:custDataLst>
          </p:nvPr>
        </p:nvSpPr>
        <p:spPr bwMode="auto">
          <a:xfrm>
            <a:off x="2239701" y="6254888"/>
            <a:ext cx="40610" cy="59076"/>
          </a:xfrm>
          <a:custGeom>
            <a:avLst/>
            <a:gdLst>
              <a:gd name="T0" fmla="*/ 0 w 73"/>
              <a:gd name="T1" fmla="*/ 0 h 20"/>
              <a:gd name="T2" fmla="*/ 1 w 73"/>
              <a:gd name="T3" fmla="*/ 5 h 20"/>
              <a:gd name="T4" fmla="*/ 4 w 73"/>
              <a:gd name="T5" fmla="*/ 10 h 20"/>
              <a:gd name="T6" fmla="*/ 8 w 73"/>
              <a:gd name="T7" fmla="*/ 14 h 20"/>
              <a:gd name="T8" fmla="*/ 13 w 73"/>
              <a:gd name="T9" fmla="*/ 20 h 20"/>
              <a:gd name="T10" fmla="*/ 16 w 73"/>
              <a:gd name="T11" fmla="*/ 17 h 20"/>
              <a:gd name="T12" fmla="*/ 19 w 73"/>
              <a:gd name="T13" fmla="*/ 13 h 20"/>
              <a:gd name="T14" fmla="*/ 23 w 73"/>
              <a:gd name="T15" fmla="*/ 11 h 20"/>
              <a:gd name="T16" fmla="*/ 27 w 73"/>
              <a:gd name="T17" fmla="*/ 10 h 20"/>
              <a:gd name="T18" fmla="*/ 36 w 73"/>
              <a:gd name="T19" fmla="*/ 8 h 20"/>
              <a:gd name="T20" fmla="*/ 46 w 73"/>
              <a:gd name="T21" fmla="*/ 7 h 20"/>
              <a:gd name="T22" fmla="*/ 54 w 73"/>
              <a:gd name="T23" fmla="*/ 7 h 20"/>
              <a:gd name="T24" fmla="*/ 63 w 73"/>
              <a:gd name="T25" fmla="*/ 6 h 20"/>
              <a:gd name="T26" fmla="*/ 66 w 73"/>
              <a:gd name="T27" fmla="*/ 5 h 20"/>
              <a:gd name="T28" fmla="*/ 69 w 73"/>
              <a:gd name="T29" fmla="*/ 4 h 20"/>
              <a:gd name="T30" fmla="*/ 71 w 73"/>
              <a:gd name="T31" fmla="*/ 2 h 20"/>
              <a:gd name="T32" fmla="*/ 73 w 73"/>
              <a:gd name="T33" fmla="*/ 0 h 20"/>
              <a:gd name="T34" fmla="*/ 0 w 73"/>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95" name="Freeform 5">
            <a:extLst>
              <a:ext uri="{FF2B5EF4-FFF2-40B4-BE49-F238E27FC236}">
                <a16:creationId xmlns="" xmlns:a16="http://schemas.microsoft.com/office/drawing/2014/main" id="{D1001C84-3506-47F6-BC04-48943A7AE536}"/>
              </a:ext>
            </a:extLst>
          </p:cNvPr>
          <p:cNvSpPr>
            <a:spLocks/>
          </p:cNvSpPr>
          <p:nvPr>
            <p:custDataLst>
              <p:tags r:id="rId2"/>
            </p:custDataLst>
          </p:nvPr>
        </p:nvSpPr>
        <p:spPr bwMode="auto">
          <a:xfrm>
            <a:off x="-3567" y="2224652"/>
            <a:ext cx="955323" cy="461114"/>
          </a:xfrm>
          <a:custGeom>
            <a:avLst/>
            <a:gdLst>
              <a:gd name="T0" fmla="*/ 1395 w 1808"/>
              <a:gd name="T1" fmla="*/ 807 h 850"/>
              <a:gd name="T2" fmla="*/ 1394 w 1808"/>
              <a:gd name="T3" fmla="*/ 753 h 850"/>
              <a:gd name="T4" fmla="*/ 1373 w 1808"/>
              <a:gd name="T5" fmla="*/ 648 h 850"/>
              <a:gd name="T6" fmla="*/ 1323 w 1808"/>
              <a:gd name="T7" fmla="*/ 641 h 850"/>
              <a:gd name="T8" fmla="*/ 1264 w 1808"/>
              <a:gd name="T9" fmla="*/ 639 h 850"/>
              <a:gd name="T10" fmla="*/ 1134 w 1808"/>
              <a:gd name="T11" fmla="*/ 582 h 850"/>
              <a:gd name="T12" fmla="*/ 973 w 1808"/>
              <a:gd name="T13" fmla="*/ 537 h 850"/>
              <a:gd name="T14" fmla="*/ 943 w 1808"/>
              <a:gd name="T15" fmla="*/ 504 h 850"/>
              <a:gd name="T16" fmla="*/ 901 w 1808"/>
              <a:gd name="T17" fmla="*/ 516 h 850"/>
              <a:gd name="T18" fmla="*/ 849 w 1808"/>
              <a:gd name="T19" fmla="*/ 570 h 850"/>
              <a:gd name="T20" fmla="*/ 675 w 1808"/>
              <a:gd name="T21" fmla="*/ 619 h 850"/>
              <a:gd name="T22" fmla="*/ 678 w 1808"/>
              <a:gd name="T23" fmla="*/ 578 h 850"/>
              <a:gd name="T24" fmla="*/ 721 w 1808"/>
              <a:gd name="T25" fmla="*/ 548 h 850"/>
              <a:gd name="T26" fmla="*/ 786 w 1808"/>
              <a:gd name="T27" fmla="*/ 545 h 850"/>
              <a:gd name="T28" fmla="*/ 724 w 1808"/>
              <a:gd name="T29" fmla="*/ 528 h 850"/>
              <a:gd name="T30" fmla="*/ 578 w 1808"/>
              <a:gd name="T31" fmla="*/ 589 h 850"/>
              <a:gd name="T32" fmla="*/ 547 w 1808"/>
              <a:gd name="T33" fmla="*/ 625 h 850"/>
              <a:gd name="T34" fmla="*/ 526 w 1808"/>
              <a:gd name="T35" fmla="*/ 650 h 850"/>
              <a:gd name="T36" fmla="*/ 452 w 1808"/>
              <a:gd name="T37" fmla="*/ 654 h 850"/>
              <a:gd name="T38" fmla="*/ 383 w 1808"/>
              <a:gd name="T39" fmla="*/ 702 h 850"/>
              <a:gd name="T40" fmla="*/ 252 w 1808"/>
              <a:gd name="T41" fmla="*/ 750 h 850"/>
              <a:gd name="T42" fmla="*/ 105 w 1808"/>
              <a:gd name="T43" fmla="*/ 807 h 850"/>
              <a:gd name="T44" fmla="*/ 4 w 1808"/>
              <a:gd name="T45" fmla="*/ 813 h 850"/>
              <a:gd name="T46" fmla="*/ 14 w 1808"/>
              <a:gd name="T47" fmla="*/ 789 h 850"/>
              <a:gd name="T48" fmla="*/ 127 w 1808"/>
              <a:gd name="T49" fmla="*/ 761 h 850"/>
              <a:gd name="T50" fmla="*/ 265 w 1808"/>
              <a:gd name="T51" fmla="*/ 696 h 850"/>
              <a:gd name="T52" fmla="*/ 300 w 1808"/>
              <a:gd name="T53" fmla="*/ 626 h 850"/>
              <a:gd name="T54" fmla="*/ 253 w 1808"/>
              <a:gd name="T55" fmla="*/ 657 h 850"/>
              <a:gd name="T56" fmla="*/ 150 w 1808"/>
              <a:gd name="T57" fmla="*/ 643 h 850"/>
              <a:gd name="T58" fmla="*/ 172 w 1808"/>
              <a:gd name="T59" fmla="*/ 610 h 850"/>
              <a:gd name="T60" fmla="*/ 240 w 1808"/>
              <a:gd name="T61" fmla="*/ 547 h 850"/>
              <a:gd name="T62" fmla="*/ 152 w 1808"/>
              <a:gd name="T63" fmla="*/ 575 h 850"/>
              <a:gd name="T64" fmla="*/ 143 w 1808"/>
              <a:gd name="T65" fmla="*/ 536 h 850"/>
              <a:gd name="T66" fmla="*/ 346 w 1808"/>
              <a:gd name="T67" fmla="*/ 380 h 850"/>
              <a:gd name="T68" fmla="*/ 444 w 1808"/>
              <a:gd name="T69" fmla="*/ 382 h 850"/>
              <a:gd name="T70" fmla="*/ 569 w 1808"/>
              <a:gd name="T71" fmla="*/ 349 h 850"/>
              <a:gd name="T72" fmla="*/ 592 w 1808"/>
              <a:gd name="T73" fmla="*/ 306 h 850"/>
              <a:gd name="T74" fmla="*/ 506 w 1808"/>
              <a:gd name="T75" fmla="*/ 331 h 850"/>
              <a:gd name="T76" fmla="*/ 438 w 1808"/>
              <a:gd name="T77" fmla="*/ 318 h 850"/>
              <a:gd name="T78" fmla="*/ 472 w 1808"/>
              <a:gd name="T79" fmla="*/ 287 h 850"/>
              <a:gd name="T80" fmla="*/ 711 w 1808"/>
              <a:gd name="T81" fmla="*/ 238 h 850"/>
              <a:gd name="T82" fmla="*/ 749 w 1808"/>
              <a:gd name="T83" fmla="*/ 210 h 850"/>
              <a:gd name="T84" fmla="*/ 684 w 1808"/>
              <a:gd name="T85" fmla="*/ 176 h 850"/>
              <a:gd name="T86" fmla="*/ 739 w 1808"/>
              <a:gd name="T87" fmla="*/ 109 h 850"/>
              <a:gd name="T88" fmla="*/ 988 w 1808"/>
              <a:gd name="T89" fmla="*/ 27 h 850"/>
              <a:gd name="T90" fmla="*/ 1157 w 1808"/>
              <a:gd name="T91" fmla="*/ 9 h 850"/>
              <a:gd name="T92" fmla="*/ 1277 w 1808"/>
              <a:gd name="T93" fmla="*/ 2 h 850"/>
              <a:gd name="T94" fmla="*/ 1354 w 1808"/>
              <a:gd name="T95" fmla="*/ 10 h 850"/>
              <a:gd name="T96" fmla="*/ 1516 w 1808"/>
              <a:gd name="T97" fmla="*/ 34 h 850"/>
              <a:gd name="T98" fmla="*/ 1761 w 1808"/>
              <a:gd name="T99" fmla="*/ 41 h 850"/>
              <a:gd name="T100" fmla="*/ 1287 w 1808"/>
              <a:gd name="T101" fmla="*/ 540 h 850"/>
              <a:gd name="T102" fmla="*/ 1321 w 1808"/>
              <a:gd name="T103" fmla="*/ 571 h 850"/>
              <a:gd name="T104" fmla="*/ 1327 w 1808"/>
              <a:gd name="T105" fmla="*/ 601 h 850"/>
              <a:gd name="T106" fmla="*/ 1382 w 1808"/>
              <a:gd name="T107" fmla="*/ 599 h 850"/>
              <a:gd name="T108" fmla="*/ 1429 w 1808"/>
              <a:gd name="T109" fmla="*/ 577 h 850"/>
              <a:gd name="T110" fmla="*/ 1475 w 1808"/>
              <a:gd name="T111" fmla="*/ 667 h 850"/>
              <a:gd name="T112" fmla="*/ 1462 w 1808"/>
              <a:gd name="T113" fmla="*/ 706 h 850"/>
              <a:gd name="T114" fmla="*/ 1449 w 1808"/>
              <a:gd name="T115" fmla="*/ 742 h 850"/>
              <a:gd name="T116" fmla="*/ 1477 w 1808"/>
              <a:gd name="T117" fmla="*/ 783 h 850"/>
              <a:gd name="T118" fmla="*/ 1477 w 1808"/>
              <a:gd name="T119" fmla="*/ 811 h 850"/>
              <a:gd name="T120" fmla="*/ 1426 w 1808"/>
              <a:gd name="T121" fmla="*/ 848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96" name="Freeform 6">
            <a:extLst>
              <a:ext uri="{FF2B5EF4-FFF2-40B4-BE49-F238E27FC236}">
                <a16:creationId xmlns="" xmlns:a16="http://schemas.microsoft.com/office/drawing/2014/main" id="{E326ADEA-EFD6-4B26-BAA7-BB8B3F116BD7}"/>
              </a:ext>
            </a:extLst>
          </p:cNvPr>
          <p:cNvSpPr>
            <a:spLocks/>
          </p:cNvSpPr>
          <p:nvPr>
            <p:custDataLst>
              <p:tags r:id="rId3"/>
            </p:custDataLst>
          </p:nvPr>
        </p:nvSpPr>
        <p:spPr bwMode="auto">
          <a:xfrm>
            <a:off x="557250" y="2861351"/>
            <a:ext cx="1682451" cy="795873"/>
          </a:xfrm>
          <a:custGeom>
            <a:avLst/>
            <a:gdLst>
              <a:gd name="T0" fmla="*/ 2928 w 3175"/>
              <a:gd name="T1" fmla="*/ 353 h 1472"/>
              <a:gd name="T2" fmla="*/ 2896 w 3175"/>
              <a:gd name="T3" fmla="*/ 440 h 1472"/>
              <a:gd name="T4" fmla="*/ 2843 w 3175"/>
              <a:gd name="T5" fmla="*/ 462 h 1472"/>
              <a:gd name="T6" fmla="*/ 2667 w 3175"/>
              <a:gd name="T7" fmla="*/ 566 h 1472"/>
              <a:gd name="T8" fmla="*/ 2595 w 3175"/>
              <a:gd name="T9" fmla="*/ 585 h 1472"/>
              <a:gd name="T10" fmla="*/ 2570 w 3175"/>
              <a:gd name="T11" fmla="*/ 677 h 1472"/>
              <a:gd name="T12" fmla="*/ 2514 w 3175"/>
              <a:gd name="T13" fmla="*/ 621 h 1472"/>
              <a:gd name="T14" fmla="*/ 2499 w 3175"/>
              <a:gd name="T15" fmla="*/ 690 h 1472"/>
              <a:gd name="T16" fmla="*/ 2465 w 3175"/>
              <a:gd name="T17" fmla="*/ 744 h 1472"/>
              <a:gd name="T18" fmla="*/ 2471 w 3175"/>
              <a:gd name="T19" fmla="*/ 823 h 1472"/>
              <a:gd name="T20" fmla="*/ 2332 w 3175"/>
              <a:gd name="T21" fmla="*/ 928 h 1472"/>
              <a:gd name="T22" fmla="*/ 2165 w 3175"/>
              <a:gd name="T23" fmla="*/ 1045 h 1472"/>
              <a:gd name="T24" fmla="*/ 2112 w 3175"/>
              <a:gd name="T25" fmla="*/ 1195 h 1472"/>
              <a:gd name="T26" fmla="*/ 2103 w 3175"/>
              <a:gd name="T27" fmla="*/ 1457 h 1472"/>
              <a:gd name="T28" fmla="*/ 2026 w 3175"/>
              <a:gd name="T29" fmla="*/ 1414 h 1472"/>
              <a:gd name="T30" fmla="*/ 1993 w 3175"/>
              <a:gd name="T31" fmla="*/ 1326 h 1472"/>
              <a:gd name="T32" fmla="*/ 1959 w 3175"/>
              <a:gd name="T33" fmla="*/ 1184 h 1472"/>
              <a:gd name="T34" fmla="*/ 1832 w 3175"/>
              <a:gd name="T35" fmla="*/ 1168 h 1472"/>
              <a:gd name="T36" fmla="*/ 1653 w 3175"/>
              <a:gd name="T37" fmla="*/ 1143 h 1472"/>
              <a:gd name="T38" fmla="*/ 1616 w 3175"/>
              <a:gd name="T39" fmla="*/ 1186 h 1472"/>
              <a:gd name="T40" fmla="*/ 1548 w 3175"/>
              <a:gd name="T41" fmla="*/ 1238 h 1472"/>
              <a:gd name="T42" fmla="*/ 1436 w 3175"/>
              <a:gd name="T43" fmla="*/ 1192 h 1472"/>
              <a:gd name="T44" fmla="*/ 1231 w 3175"/>
              <a:gd name="T45" fmla="*/ 1272 h 1472"/>
              <a:gd name="T46" fmla="*/ 1160 w 3175"/>
              <a:gd name="T47" fmla="*/ 1392 h 1472"/>
              <a:gd name="T48" fmla="*/ 1080 w 3175"/>
              <a:gd name="T49" fmla="*/ 1382 h 1472"/>
              <a:gd name="T50" fmla="*/ 1037 w 3175"/>
              <a:gd name="T51" fmla="*/ 1227 h 1472"/>
              <a:gd name="T52" fmla="*/ 940 w 3175"/>
              <a:gd name="T53" fmla="*/ 1190 h 1472"/>
              <a:gd name="T54" fmla="*/ 867 w 3175"/>
              <a:gd name="T55" fmla="*/ 1219 h 1472"/>
              <a:gd name="T56" fmla="*/ 782 w 3175"/>
              <a:gd name="T57" fmla="*/ 1087 h 1472"/>
              <a:gd name="T58" fmla="*/ 670 w 3175"/>
              <a:gd name="T59" fmla="*/ 1065 h 1472"/>
              <a:gd name="T60" fmla="*/ 462 w 3175"/>
              <a:gd name="T61" fmla="*/ 1065 h 1472"/>
              <a:gd name="T62" fmla="*/ 220 w 3175"/>
              <a:gd name="T63" fmla="*/ 1016 h 1472"/>
              <a:gd name="T64" fmla="*/ 88 w 3175"/>
              <a:gd name="T65" fmla="*/ 920 h 1472"/>
              <a:gd name="T66" fmla="*/ 39 w 3175"/>
              <a:gd name="T67" fmla="*/ 848 h 1472"/>
              <a:gd name="T68" fmla="*/ 29 w 3175"/>
              <a:gd name="T69" fmla="*/ 662 h 1472"/>
              <a:gd name="T70" fmla="*/ 0 w 3175"/>
              <a:gd name="T71" fmla="*/ 604 h 1472"/>
              <a:gd name="T72" fmla="*/ 141 w 3175"/>
              <a:gd name="T73" fmla="*/ 336 h 1472"/>
              <a:gd name="T74" fmla="*/ 247 w 3175"/>
              <a:gd name="T75" fmla="*/ 176 h 1472"/>
              <a:gd name="T76" fmla="*/ 355 w 3175"/>
              <a:gd name="T77" fmla="*/ 102 h 1472"/>
              <a:gd name="T78" fmla="*/ 376 w 3175"/>
              <a:gd name="T79" fmla="*/ 120 h 1472"/>
              <a:gd name="T80" fmla="*/ 1827 w 3175"/>
              <a:gd name="T81" fmla="*/ 0 h 1472"/>
              <a:gd name="T82" fmla="*/ 1926 w 3175"/>
              <a:gd name="T83" fmla="*/ 55 h 1472"/>
              <a:gd name="T84" fmla="*/ 2015 w 3175"/>
              <a:gd name="T85" fmla="*/ 69 h 1472"/>
              <a:gd name="T86" fmla="*/ 1929 w 3175"/>
              <a:gd name="T87" fmla="*/ 128 h 1472"/>
              <a:gd name="T88" fmla="*/ 1977 w 3175"/>
              <a:gd name="T89" fmla="*/ 166 h 1472"/>
              <a:gd name="T90" fmla="*/ 2094 w 3175"/>
              <a:gd name="T91" fmla="*/ 155 h 1472"/>
              <a:gd name="T92" fmla="*/ 2284 w 3175"/>
              <a:gd name="T93" fmla="*/ 193 h 1472"/>
              <a:gd name="T94" fmla="*/ 2217 w 3175"/>
              <a:gd name="T95" fmla="*/ 204 h 1472"/>
              <a:gd name="T96" fmla="*/ 2087 w 3175"/>
              <a:gd name="T97" fmla="*/ 264 h 1472"/>
              <a:gd name="T98" fmla="*/ 2021 w 3175"/>
              <a:gd name="T99" fmla="*/ 355 h 1472"/>
              <a:gd name="T100" fmla="*/ 2012 w 3175"/>
              <a:gd name="T101" fmla="*/ 451 h 1472"/>
              <a:gd name="T102" fmla="*/ 2076 w 3175"/>
              <a:gd name="T103" fmla="*/ 417 h 1472"/>
              <a:gd name="T104" fmla="*/ 2205 w 3175"/>
              <a:gd name="T105" fmla="*/ 252 h 1472"/>
              <a:gd name="T106" fmla="*/ 2267 w 3175"/>
              <a:gd name="T107" fmla="*/ 303 h 1472"/>
              <a:gd name="T108" fmla="*/ 2299 w 3175"/>
              <a:gd name="T109" fmla="*/ 394 h 1472"/>
              <a:gd name="T110" fmla="*/ 2206 w 3175"/>
              <a:gd name="T111" fmla="*/ 454 h 1472"/>
              <a:gd name="T112" fmla="*/ 2317 w 3175"/>
              <a:gd name="T113" fmla="*/ 457 h 1472"/>
              <a:gd name="T114" fmla="*/ 2570 w 3175"/>
              <a:gd name="T115" fmla="*/ 373 h 1472"/>
              <a:gd name="T116" fmla="*/ 2730 w 3175"/>
              <a:gd name="T117" fmla="*/ 252 h 1472"/>
              <a:gd name="T118" fmla="*/ 3016 w 3175"/>
              <a:gd name="T119" fmla="*/ 203 h 1472"/>
              <a:gd name="T120" fmla="*/ 3136 w 3175"/>
              <a:gd name="T121" fmla="*/ 118 h 1472"/>
              <a:gd name="T122" fmla="*/ 3149 w 3175"/>
              <a:gd name="T123" fmla="*/ 184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9" y="394"/>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000" b="1" dirty="0">
              <a:solidFill>
                <a:schemeClr val="tx1"/>
              </a:solidFill>
            </a:endParaRPr>
          </a:p>
        </p:txBody>
      </p:sp>
      <p:sp>
        <p:nvSpPr>
          <p:cNvPr id="98" name="Freeform 7">
            <a:extLst>
              <a:ext uri="{FF2B5EF4-FFF2-40B4-BE49-F238E27FC236}">
                <a16:creationId xmlns="" xmlns:a16="http://schemas.microsoft.com/office/drawing/2014/main" id="{AC342984-CD33-4208-851E-9D4A17E830C1}"/>
              </a:ext>
            </a:extLst>
          </p:cNvPr>
          <p:cNvSpPr>
            <a:spLocks/>
          </p:cNvSpPr>
          <p:nvPr>
            <p:custDataLst>
              <p:tags r:id="rId4"/>
            </p:custDataLst>
          </p:nvPr>
        </p:nvSpPr>
        <p:spPr bwMode="auto">
          <a:xfrm>
            <a:off x="1572522" y="4464584"/>
            <a:ext cx="413844" cy="610443"/>
          </a:xfrm>
          <a:custGeom>
            <a:avLst/>
            <a:gdLst>
              <a:gd name="T0" fmla="*/ 583 w 784"/>
              <a:gd name="T1" fmla="*/ 277 h 1128"/>
              <a:gd name="T2" fmla="*/ 549 w 784"/>
              <a:gd name="T3" fmla="*/ 295 h 1128"/>
              <a:gd name="T4" fmla="*/ 484 w 784"/>
              <a:gd name="T5" fmla="*/ 387 h 1128"/>
              <a:gd name="T6" fmla="*/ 465 w 784"/>
              <a:gd name="T7" fmla="*/ 457 h 1128"/>
              <a:gd name="T8" fmla="*/ 481 w 784"/>
              <a:gd name="T9" fmla="*/ 522 h 1128"/>
              <a:gd name="T10" fmla="*/ 530 w 784"/>
              <a:gd name="T11" fmla="*/ 591 h 1128"/>
              <a:gd name="T12" fmla="*/ 579 w 784"/>
              <a:gd name="T13" fmla="*/ 616 h 1128"/>
              <a:gd name="T14" fmla="*/ 625 w 784"/>
              <a:gd name="T15" fmla="*/ 600 h 1128"/>
              <a:gd name="T16" fmla="*/ 654 w 784"/>
              <a:gd name="T17" fmla="*/ 653 h 1128"/>
              <a:gd name="T18" fmla="*/ 672 w 784"/>
              <a:gd name="T19" fmla="*/ 683 h 1128"/>
              <a:gd name="T20" fmla="*/ 714 w 784"/>
              <a:gd name="T21" fmla="*/ 687 h 1128"/>
              <a:gd name="T22" fmla="*/ 749 w 784"/>
              <a:gd name="T23" fmla="*/ 712 h 1128"/>
              <a:gd name="T24" fmla="*/ 770 w 784"/>
              <a:gd name="T25" fmla="*/ 756 h 1128"/>
              <a:gd name="T26" fmla="*/ 761 w 784"/>
              <a:gd name="T27" fmla="*/ 790 h 1128"/>
              <a:gd name="T28" fmla="*/ 760 w 784"/>
              <a:gd name="T29" fmla="*/ 825 h 1128"/>
              <a:gd name="T30" fmla="*/ 772 w 784"/>
              <a:gd name="T31" fmla="*/ 882 h 1128"/>
              <a:gd name="T32" fmla="*/ 758 w 784"/>
              <a:gd name="T33" fmla="*/ 932 h 1128"/>
              <a:gd name="T34" fmla="*/ 770 w 784"/>
              <a:gd name="T35" fmla="*/ 994 h 1128"/>
              <a:gd name="T36" fmla="*/ 763 w 784"/>
              <a:gd name="T37" fmla="*/ 1054 h 1128"/>
              <a:gd name="T38" fmla="*/ 691 w 784"/>
              <a:gd name="T39" fmla="*/ 1122 h 1128"/>
              <a:gd name="T40" fmla="*/ 648 w 784"/>
              <a:gd name="T41" fmla="*/ 1103 h 1128"/>
              <a:gd name="T42" fmla="*/ 602 w 784"/>
              <a:gd name="T43" fmla="*/ 1056 h 1128"/>
              <a:gd name="T44" fmla="*/ 463 w 784"/>
              <a:gd name="T45" fmla="*/ 998 h 1128"/>
              <a:gd name="T46" fmla="*/ 425 w 784"/>
              <a:gd name="T47" fmla="*/ 967 h 1128"/>
              <a:gd name="T48" fmla="*/ 331 w 784"/>
              <a:gd name="T49" fmla="*/ 894 h 1128"/>
              <a:gd name="T50" fmla="*/ 318 w 784"/>
              <a:gd name="T51" fmla="*/ 867 h 1128"/>
              <a:gd name="T52" fmla="*/ 328 w 784"/>
              <a:gd name="T53" fmla="*/ 815 h 1128"/>
              <a:gd name="T54" fmla="*/ 290 w 784"/>
              <a:gd name="T55" fmla="*/ 778 h 1128"/>
              <a:gd name="T56" fmla="*/ 259 w 784"/>
              <a:gd name="T57" fmla="*/ 745 h 1128"/>
              <a:gd name="T58" fmla="*/ 243 w 784"/>
              <a:gd name="T59" fmla="*/ 689 h 1128"/>
              <a:gd name="T60" fmla="*/ 153 w 784"/>
              <a:gd name="T61" fmla="*/ 530 h 1128"/>
              <a:gd name="T62" fmla="*/ 120 w 784"/>
              <a:gd name="T63" fmla="*/ 487 h 1128"/>
              <a:gd name="T64" fmla="*/ 90 w 784"/>
              <a:gd name="T65" fmla="*/ 432 h 1128"/>
              <a:gd name="T66" fmla="*/ 22 w 784"/>
              <a:gd name="T67" fmla="*/ 397 h 1128"/>
              <a:gd name="T68" fmla="*/ 0 w 784"/>
              <a:gd name="T69" fmla="*/ 363 h 1128"/>
              <a:gd name="T70" fmla="*/ 13 w 784"/>
              <a:gd name="T71" fmla="*/ 276 h 1128"/>
              <a:gd name="T72" fmla="*/ 28 w 784"/>
              <a:gd name="T73" fmla="*/ 246 h 1128"/>
              <a:gd name="T74" fmla="*/ 72 w 784"/>
              <a:gd name="T75" fmla="*/ 222 h 1128"/>
              <a:gd name="T76" fmla="*/ 95 w 784"/>
              <a:gd name="T77" fmla="*/ 272 h 1128"/>
              <a:gd name="T78" fmla="*/ 158 w 784"/>
              <a:gd name="T79" fmla="*/ 307 h 1128"/>
              <a:gd name="T80" fmla="*/ 184 w 784"/>
              <a:gd name="T81" fmla="*/ 271 h 1128"/>
              <a:gd name="T82" fmla="*/ 201 w 784"/>
              <a:gd name="T83" fmla="*/ 225 h 1128"/>
              <a:gd name="T84" fmla="*/ 270 w 784"/>
              <a:gd name="T85" fmla="*/ 170 h 1128"/>
              <a:gd name="T86" fmla="*/ 344 w 784"/>
              <a:gd name="T87" fmla="*/ 120 h 1128"/>
              <a:gd name="T88" fmla="*/ 357 w 784"/>
              <a:gd name="T89" fmla="*/ 70 h 1128"/>
              <a:gd name="T90" fmla="*/ 347 w 784"/>
              <a:gd name="T91" fmla="*/ 5 h 1128"/>
              <a:gd name="T92" fmla="*/ 422 w 784"/>
              <a:gd name="T93" fmla="*/ 53 h 1128"/>
              <a:gd name="T94" fmla="*/ 467 w 784"/>
              <a:gd name="T95" fmla="*/ 107 h 1128"/>
              <a:gd name="T96" fmla="*/ 506 w 784"/>
              <a:gd name="T97" fmla="*/ 154 h 1128"/>
              <a:gd name="T98" fmla="*/ 561 w 784"/>
              <a:gd name="T99" fmla="*/ 157 h 1128"/>
              <a:gd name="T100" fmla="*/ 617 w 784"/>
              <a:gd name="T101" fmla="*/ 149 h 1128"/>
              <a:gd name="T102" fmla="*/ 640 w 784"/>
              <a:gd name="T103" fmla="*/ 156 h 1128"/>
              <a:gd name="T104" fmla="*/ 654 w 784"/>
              <a:gd name="T105" fmla="*/ 193 h 1128"/>
              <a:gd name="T106" fmla="*/ 627 w 784"/>
              <a:gd name="T107" fmla="*/ 210 h 1128"/>
              <a:gd name="T108" fmla="*/ 627 w 784"/>
              <a:gd name="T109" fmla="*/ 240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100" name="Freeform 8">
            <a:extLst>
              <a:ext uri="{FF2B5EF4-FFF2-40B4-BE49-F238E27FC236}">
                <a16:creationId xmlns="" xmlns:a16="http://schemas.microsoft.com/office/drawing/2014/main" id="{E840AB09-EBCE-4AC6-859B-5FEE0FED833B}"/>
              </a:ext>
            </a:extLst>
          </p:cNvPr>
          <p:cNvSpPr>
            <a:spLocks/>
          </p:cNvSpPr>
          <p:nvPr>
            <p:custDataLst>
              <p:tags r:id="rId5"/>
            </p:custDataLst>
          </p:nvPr>
        </p:nvSpPr>
        <p:spPr bwMode="auto">
          <a:xfrm>
            <a:off x="1938021" y="5047130"/>
            <a:ext cx="319085" cy="1168375"/>
          </a:xfrm>
          <a:custGeom>
            <a:avLst/>
            <a:gdLst>
              <a:gd name="T0" fmla="*/ 418 w 598"/>
              <a:gd name="T1" fmla="*/ 2021 h 2158"/>
              <a:gd name="T2" fmla="*/ 342 w 598"/>
              <a:gd name="T3" fmla="*/ 1955 h 2158"/>
              <a:gd name="T4" fmla="*/ 339 w 598"/>
              <a:gd name="T5" fmla="*/ 1893 h 2158"/>
              <a:gd name="T6" fmla="*/ 345 w 598"/>
              <a:gd name="T7" fmla="*/ 1843 h 2158"/>
              <a:gd name="T8" fmla="*/ 362 w 598"/>
              <a:gd name="T9" fmla="*/ 1791 h 2158"/>
              <a:gd name="T10" fmla="*/ 354 w 598"/>
              <a:gd name="T11" fmla="*/ 1740 h 2158"/>
              <a:gd name="T12" fmla="*/ 332 w 598"/>
              <a:gd name="T13" fmla="*/ 1683 h 2158"/>
              <a:gd name="T14" fmla="*/ 303 w 598"/>
              <a:gd name="T15" fmla="*/ 1581 h 2158"/>
              <a:gd name="T16" fmla="*/ 226 w 598"/>
              <a:gd name="T17" fmla="*/ 1460 h 2158"/>
              <a:gd name="T18" fmla="*/ 206 w 598"/>
              <a:gd name="T19" fmla="*/ 1381 h 2158"/>
              <a:gd name="T20" fmla="*/ 217 w 598"/>
              <a:gd name="T21" fmla="*/ 1299 h 2158"/>
              <a:gd name="T22" fmla="*/ 208 w 598"/>
              <a:gd name="T23" fmla="*/ 1235 h 2158"/>
              <a:gd name="T24" fmla="*/ 185 w 598"/>
              <a:gd name="T25" fmla="*/ 1165 h 2158"/>
              <a:gd name="T26" fmla="*/ 211 w 598"/>
              <a:gd name="T27" fmla="*/ 1123 h 2158"/>
              <a:gd name="T28" fmla="*/ 195 w 598"/>
              <a:gd name="T29" fmla="*/ 1082 h 2158"/>
              <a:gd name="T30" fmla="*/ 211 w 598"/>
              <a:gd name="T31" fmla="*/ 1025 h 2158"/>
              <a:gd name="T32" fmla="*/ 210 w 598"/>
              <a:gd name="T33" fmla="*/ 993 h 2158"/>
              <a:gd name="T34" fmla="*/ 187 w 598"/>
              <a:gd name="T35" fmla="*/ 927 h 2158"/>
              <a:gd name="T36" fmla="*/ 136 w 598"/>
              <a:gd name="T37" fmla="*/ 852 h 2158"/>
              <a:gd name="T38" fmla="*/ 134 w 598"/>
              <a:gd name="T39" fmla="*/ 686 h 2158"/>
              <a:gd name="T40" fmla="*/ 183 w 598"/>
              <a:gd name="T41" fmla="*/ 584 h 2158"/>
              <a:gd name="T42" fmla="*/ 189 w 598"/>
              <a:gd name="T43" fmla="*/ 522 h 2158"/>
              <a:gd name="T44" fmla="*/ 160 w 598"/>
              <a:gd name="T45" fmla="*/ 459 h 2158"/>
              <a:gd name="T46" fmla="*/ 182 w 598"/>
              <a:gd name="T47" fmla="*/ 406 h 2158"/>
              <a:gd name="T48" fmla="*/ 229 w 598"/>
              <a:gd name="T49" fmla="*/ 346 h 2158"/>
              <a:gd name="T50" fmla="*/ 200 w 598"/>
              <a:gd name="T51" fmla="*/ 308 h 2158"/>
              <a:gd name="T52" fmla="*/ 148 w 598"/>
              <a:gd name="T53" fmla="*/ 222 h 2158"/>
              <a:gd name="T54" fmla="*/ 129 w 598"/>
              <a:gd name="T55" fmla="*/ 125 h 2158"/>
              <a:gd name="T56" fmla="*/ 91 w 598"/>
              <a:gd name="T57" fmla="*/ 37 h 2158"/>
              <a:gd name="T58" fmla="*/ 0 w 598"/>
              <a:gd name="T59" fmla="*/ 44 h 2158"/>
              <a:gd name="T60" fmla="*/ 31 w 598"/>
              <a:gd name="T61" fmla="*/ 200 h 2158"/>
              <a:gd name="T62" fmla="*/ 42 w 598"/>
              <a:gd name="T63" fmla="*/ 304 h 2158"/>
              <a:gd name="T64" fmla="*/ 27 w 598"/>
              <a:gd name="T65" fmla="*/ 374 h 2158"/>
              <a:gd name="T66" fmla="*/ 52 w 598"/>
              <a:gd name="T67" fmla="*/ 524 h 2158"/>
              <a:gd name="T68" fmla="*/ 46 w 598"/>
              <a:gd name="T69" fmla="*/ 649 h 2158"/>
              <a:gd name="T70" fmla="*/ 36 w 598"/>
              <a:gd name="T71" fmla="*/ 718 h 2158"/>
              <a:gd name="T72" fmla="*/ 52 w 598"/>
              <a:gd name="T73" fmla="*/ 767 h 2158"/>
              <a:gd name="T74" fmla="*/ 64 w 598"/>
              <a:gd name="T75" fmla="*/ 871 h 2158"/>
              <a:gd name="T76" fmla="*/ 81 w 598"/>
              <a:gd name="T77" fmla="*/ 913 h 2158"/>
              <a:gd name="T78" fmla="*/ 73 w 598"/>
              <a:gd name="T79" fmla="*/ 1045 h 2158"/>
              <a:gd name="T80" fmla="*/ 63 w 598"/>
              <a:gd name="T81" fmla="*/ 1152 h 2158"/>
              <a:gd name="T82" fmla="*/ 40 w 598"/>
              <a:gd name="T83" fmla="*/ 1188 h 2158"/>
              <a:gd name="T84" fmla="*/ 60 w 598"/>
              <a:gd name="T85" fmla="*/ 1258 h 2158"/>
              <a:gd name="T86" fmla="*/ 106 w 598"/>
              <a:gd name="T87" fmla="*/ 1343 h 2158"/>
              <a:gd name="T88" fmla="*/ 93 w 598"/>
              <a:gd name="T89" fmla="*/ 1396 h 2158"/>
              <a:gd name="T90" fmla="*/ 106 w 598"/>
              <a:gd name="T91" fmla="*/ 1449 h 2158"/>
              <a:gd name="T92" fmla="*/ 164 w 598"/>
              <a:gd name="T93" fmla="*/ 1467 h 2158"/>
              <a:gd name="T94" fmla="*/ 209 w 598"/>
              <a:gd name="T95" fmla="*/ 1621 h 2158"/>
              <a:gd name="T96" fmla="*/ 227 w 598"/>
              <a:gd name="T97" fmla="*/ 1709 h 2158"/>
              <a:gd name="T98" fmla="*/ 151 w 598"/>
              <a:gd name="T99" fmla="*/ 1749 h 2158"/>
              <a:gd name="T100" fmla="*/ 207 w 598"/>
              <a:gd name="T101" fmla="*/ 1776 h 2158"/>
              <a:gd name="T102" fmla="*/ 250 w 598"/>
              <a:gd name="T103" fmla="*/ 1820 h 2158"/>
              <a:gd name="T104" fmla="*/ 275 w 598"/>
              <a:gd name="T105" fmla="*/ 1871 h 2158"/>
              <a:gd name="T106" fmla="*/ 308 w 598"/>
              <a:gd name="T107" fmla="*/ 1961 h 2158"/>
              <a:gd name="T108" fmla="*/ 359 w 598"/>
              <a:gd name="T109" fmla="*/ 2013 h 2158"/>
              <a:gd name="T110" fmla="*/ 393 w 598"/>
              <a:gd name="T111" fmla="*/ 2048 h 2158"/>
              <a:gd name="T112" fmla="*/ 424 w 598"/>
              <a:gd name="T113" fmla="*/ 2074 h 2158"/>
              <a:gd name="T114" fmla="*/ 465 w 598"/>
              <a:gd name="T115" fmla="*/ 2110 h 2158"/>
              <a:gd name="T116" fmla="*/ 519 w 598"/>
              <a:gd name="T117" fmla="*/ 2140 h 2158"/>
              <a:gd name="T118" fmla="*/ 538 w 598"/>
              <a:gd name="T119" fmla="*/ 2151 h 2158"/>
              <a:gd name="T120" fmla="*/ 586 w 598"/>
              <a:gd name="T121" fmla="*/ 2098 h 2158"/>
              <a:gd name="T122" fmla="*/ 591 w 598"/>
              <a:gd name="T123" fmla="*/ 2071 h 2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104" name="Freeform 9">
            <a:extLst>
              <a:ext uri="{FF2B5EF4-FFF2-40B4-BE49-F238E27FC236}">
                <a16:creationId xmlns="" xmlns:a16="http://schemas.microsoft.com/office/drawing/2014/main" id="{B8FC3B97-1296-413C-997A-A25F07EA3E2D}"/>
              </a:ext>
            </a:extLst>
          </p:cNvPr>
          <p:cNvSpPr>
            <a:spLocks/>
          </p:cNvSpPr>
          <p:nvPr>
            <p:custDataLst>
              <p:tags r:id="rId6"/>
            </p:custDataLst>
          </p:nvPr>
        </p:nvSpPr>
        <p:spPr bwMode="auto">
          <a:xfrm>
            <a:off x="1821990" y="4305409"/>
            <a:ext cx="1177715" cy="1243859"/>
          </a:xfrm>
          <a:custGeom>
            <a:avLst/>
            <a:gdLst>
              <a:gd name="T0" fmla="*/ 440 w 2226"/>
              <a:gd name="T1" fmla="*/ 896 h 2292"/>
              <a:gd name="T2" fmla="*/ 505 w 2226"/>
              <a:gd name="T3" fmla="*/ 985 h 2292"/>
              <a:gd name="T4" fmla="*/ 572 w 2226"/>
              <a:gd name="T5" fmla="*/ 1054 h 2292"/>
              <a:gd name="T6" fmla="*/ 716 w 2226"/>
              <a:gd name="T7" fmla="*/ 1098 h 2292"/>
              <a:gd name="T8" fmla="*/ 798 w 2226"/>
              <a:gd name="T9" fmla="*/ 1204 h 2292"/>
              <a:gd name="T10" fmla="*/ 846 w 2226"/>
              <a:gd name="T11" fmla="*/ 1292 h 2292"/>
              <a:gd name="T12" fmla="*/ 939 w 2226"/>
              <a:gd name="T13" fmla="*/ 1355 h 2292"/>
              <a:gd name="T14" fmla="*/ 957 w 2226"/>
              <a:gd name="T15" fmla="*/ 1466 h 2292"/>
              <a:gd name="T16" fmla="*/ 976 w 2226"/>
              <a:gd name="T17" fmla="*/ 1541 h 2292"/>
              <a:gd name="T18" fmla="*/ 992 w 2226"/>
              <a:gd name="T19" fmla="*/ 1632 h 2292"/>
              <a:gd name="T20" fmla="*/ 1131 w 2226"/>
              <a:gd name="T21" fmla="*/ 1698 h 2292"/>
              <a:gd name="T22" fmla="*/ 1193 w 2226"/>
              <a:gd name="T23" fmla="*/ 1805 h 2292"/>
              <a:gd name="T24" fmla="*/ 1243 w 2226"/>
              <a:gd name="T25" fmla="*/ 1864 h 2292"/>
              <a:gd name="T26" fmla="*/ 1183 w 2226"/>
              <a:gd name="T27" fmla="*/ 2003 h 2292"/>
              <a:gd name="T28" fmla="*/ 1084 w 2226"/>
              <a:gd name="T29" fmla="*/ 2128 h 2292"/>
              <a:gd name="T30" fmla="*/ 1180 w 2226"/>
              <a:gd name="T31" fmla="*/ 2161 h 2292"/>
              <a:gd name="T32" fmla="*/ 1296 w 2226"/>
              <a:gd name="T33" fmla="*/ 2234 h 2292"/>
              <a:gd name="T34" fmla="*/ 1419 w 2226"/>
              <a:gd name="T35" fmla="*/ 2198 h 2292"/>
              <a:gd name="T36" fmla="*/ 1518 w 2226"/>
              <a:gd name="T37" fmla="*/ 2036 h 2292"/>
              <a:gd name="T38" fmla="*/ 1512 w 2226"/>
              <a:gd name="T39" fmla="*/ 1918 h 2292"/>
              <a:gd name="T40" fmla="*/ 1561 w 2226"/>
              <a:gd name="T41" fmla="*/ 1793 h 2292"/>
              <a:gd name="T42" fmla="*/ 1706 w 2226"/>
              <a:gd name="T43" fmla="*/ 1727 h 2292"/>
              <a:gd name="T44" fmla="*/ 1798 w 2226"/>
              <a:gd name="T45" fmla="*/ 1681 h 2292"/>
              <a:gd name="T46" fmla="*/ 1897 w 2226"/>
              <a:gd name="T47" fmla="*/ 1641 h 2292"/>
              <a:gd name="T48" fmla="*/ 1982 w 2226"/>
              <a:gd name="T49" fmla="*/ 1400 h 2292"/>
              <a:gd name="T50" fmla="*/ 2014 w 2226"/>
              <a:gd name="T51" fmla="*/ 1288 h 2292"/>
              <a:gd name="T52" fmla="*/ 2002 w 2226"/>
              <a:gd name="T53" fmla="*/ 1090 h 2292"/>
              <a:gd name="T54" fmla="*/ 2073 w 2226"/>
              <a:gd name="T55" fmla="*/ 1009 h 2292"/>
              <a:gd name="T56" fmla="*/ 2190 w 2226"/>
              <a:gd name="T57" fmla="*/ 877 h 2292"/>
              <a:gd name="T58" fmla="*/ 2222 w 2226"/>
              <a:gd name="T59" fmla="*/ 732 h 2292"/>
              <a:gd name="T60" fmla="*/ 2157 w 2226"/>
              <a:gd name="T61" fmla="*/ 599 h 2292"/>
              <a:gd name="T62" fmla="*/ 2059 w 2226"/>
              <a:gd name="T63" fmla="*/ 563 h 2292"/>
              <a:gd name="T64" fmla="*/ 1921 w 2226"/>
              <a:gd name="T65" fmla="*/ 462 h 2292"/>
              <a:gd name="T66" fmla="*/ 1742 w 2226"/>
              <a:gd name="T67" fmla="*/ 450 h 2292"/>
              <a:gd name="T68" fmla="*/ 1670 w 2226"/>
              <a:gd name="T69" fmla="*/ 447 h 2292"/>
              <a:gd name="T70" fmla="*/ 1636 w 2226"/>
              <a:gd name="T71" fmla="*/ 394 h 2292"/>
              <a:gd name="T72" fmla="*/ 1512 w 2226"/>
              <a:gd name="T73" fmla="*/ 348 h 2292"/>
              <a:gd name="T74" fmla="*/ 1411 w 2226"/>
              <a:gd name="T75" fmla="*/ 409 h 2292"/>
              <a:gd name="T76" fmla="*/ 1338 w 2226"/>
              <a:gd name="T77" fmla="*/ 405 h 2292"/>
              <a:gd name="T78" fmla="*/ 1247 w 2226"/>
              <a:gd name="T79" fmla="*/ 384 h 2292"/>
              <a:gd name="T80" fmla="*/ 1317 w 2226"/>
              <a:gd name="T81" fmla="*/ 268 h 2292"/>
              <a:gd name="T82" fmla="*/ 1338 w 2226"/>
              <a:gd name="T83" fmla="*/ 184 h 2292"/>
              <a:gd name="T84" fmla="*/ 1291 w 2226"/>
              <a:gd name="T85" fmla="*/ 68 h 2292"/>
              <a:gd name="T86" fmla="*/ 1124 w 2226"/>
              <a:gd name="T87" fmla="*/ 135 h 2292"/>
              <a:gd name="T88" fmla="*/ 1003 w 2226"/>
              <a:gd name="T89" fmla="*/ 170 h 2292"/>
              <a:gd name="T90" fmla="*/ 960 w 2226"/>
              <a:gd name="T91" fmla="*/ 187 h 2292"/>
              <a:gd name="T92" fmla="*/ 812 w 2226"/>
              <a:gd name="T93" fmla="*/ 176 h 2292"/>
              <a:gd name="T94" fmla="*/ 811 w 2226"/>
              <a:gd name="T95" fmla="*/ 67 h 2292"/>
              <a:gd name="T96" fmla="*/ 745 w 2226"/>
              <a:gd name="T97" fmla="*/ 0 h 2292"/>
              <a:gd name="T98" fmla="*/ 700 w 2226"/>
              <a:gd name="T99" fmla="*/ 31 h 2292"/>
              <a:gd name="T100" fmla="*/ 589 w 2226"/>
              <a:gd name="T101" fmla="*/ 70 h 2292"/>
              <a:gd name="T102" fmla="*/ 560 w 2226"/>
              <a:gd name="T103" fmla="*/ 198 h 2292"/>
              <a:gd name="T104" fmla="*/ 453 w 2226"/>
              <a:gd name="T105" fmla="*/ 258 h 2292"/>
              <a:gd name="T106" fmla="*/ 286 w 2226"/>
              <a:gd name="T107" fmla="*/ 197 h 2292"/>
              <a:gd name="T108" fmla="*/ 253 w 2226"/>
              <a:gd name="T109" fmla="*/ 240 h 2292"/>
              <a:gd name="T110" fmla="*/ 198 w 2226"/>
              <a:gd name="T111" fmla="*/ 311 h 2292"/>
              <a:gd name="T112" fmla="*/ 246 w 2226"/>
              <a:gd name="T113" fmla="*/ 388 h 2292"/>
              <a:gd name="T114" fmla="*/ 194 w 2226"/>
              <a:gd name="T115" fmla="*/ 560 h 2292"/>
              <a:gd name="T116" fmla="*/ 100 w 2226"/>
              <a:gd name="T117" fmla="*/ 567 h 2292"/>
              <a:gd name="T118" fmla="*/ 16 w 2226"/>
              <a:gd name="T119" fmla="*/ 687 h 2292"/>
              <a:gd name="T120" fmla="*/ 22 w 2226"/>
              <a:gd name="T121" fmla="*/ 824 h 2292"/>
              <a:gd name="T122" fmla="*/ 120 w 2226"/>
              <a:gd name="T123" fmla="*/ 905 h 2292"/>
              <a:gd name="T124" fmla="*/ 191 w 2226"/>
              <a:gd name="T125" fmla="*/ 949 h 2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105" name="Freeform 10">
            <a:extLst>
              <a:ext uri="{FF2B5EF4-FFF2-40B4-BE49-F238E27FC236}">
                <a16:creationId xmlns="" xmlns:a16="http://schemas.microsoft.com/office/drawing/2014/main" id="{FE710300-26C3-4FB3-85C8-2E4BC9B1B316}"/>
              </a:ext>
            </a:extLst>
          </p:cNvPr>
          <p:cNvSpPr>
            <a:spLocks/>
          </p:cNvSpPr>
          <p:nvPr>
            <p:custDataLst>
              <p:tags r:id="rId7"/>
            </p:custDataLst>
          </p:nvPr>
        </p:nvSpPr>
        <p:spPr bwMode="auto">
          <a:xfrm>
            <a:off x="4395946" y="3215801"/>
            <a:ext cx="85089" cy="50871"/>
          </a:xfrm>
          <a:custGeom>
            <a:avLst/>
            <a:gdLst>
              <a:gd name="T0" fmla="*/ 94 w 161"/>
              <a:gd name="T1" fmla="*/ 0 h 93"/>
              <a:gd name="T2" fmla="*/ 107 w 161"/>
              <a:gd name="T3" fmla="*/ 18 h 93"/>
              <a:gd name="T4" fmla="*/ 112 w 161"/>
              <a:gd name="T5" fmla="*/ 12 h 93"/>
              <a:gd name="T6" fmla="*/ 117 w 161"/>
              <a:gd name="T7" fmla="*/ 8 h 93"/>
              <a:gd name="T8" fmla="*/ 122 w 161"/>
              <a:gd name="T9" fmla="*/ 5 h 93"/>
              <a:gd name="T10" fmla="*/ 127 w 161"/>
              <a:gd name="T11" fmla="*/ 3 h 93"/>
              <a:gd name="T12" fmla="*/ 137 w 161"/>
              <a:gd name="T13" fmla="*/ 1 h 93"/>
              <a:gd name="T14" fmla="*/ 148 w 161"/>
              <a:gd name="T15" fmla="*/ 0 h 93"/>
              <a:gd name="T16" fmla="*/ 151 w 161"/>
              <a:gd name="T17" fmla="*/ 0 h 93"/>
              <a:gd name="T18" fmla="*/ 161 w 161"/>
              <a:gd name="T19" fmla="*/ 0 h 93"/>
              <a:gd name="T20" fmla="*/ 161 w 161"/>
              <a:gd name="T21" fmla="*/ 92 h 93"/>
              <a:gd name="T22" fmla="*/ 155 w 161"/>
              <a:gd name="T23" fmla="*/ 93 h 93"/>
              <a:gd name="T24" fmla="*/ 150 w 161"/>
              <a:gd name="T25" fmla="*/ 93 h 93"/>
              <a:gd name="T26" fmla="*/ 145 w 161"/>
              <a:gd name="T27" fmla="*/ 92 h 93"/>
              <a:gd name="T28" fmla="*/ 140 w 161"/>
              <a:gd name="T29" fmla="*/ 91 h 93"/>
              <a:gd name="T30" fmla="*/ 129 w 161"/>
              <a:gd name="T31" fmla="*/ 88 h 93"/>
              <a:gd name="T32" fmla="*/ 120 w 161"/>
              <a:gd name="T33" fmla="*/ 82 h 93"/>
              <a:gd name="T34" fmla="*/ 111 w 161"/>
              <a:gd name="T35" fmla="*/ 75 h 93"/>
              <a:gd name="T36" fmla="*/ 104 w 161"/>
              <a:gd name="T37" fmla="*/ 67 h 93"/>
              <a:gd name="T38" fmla="*/ 97 w 161"/>
              <a:gd name="T39" fmla="*/ 59 h 93"/>
              <a:gd name="T40" fmla="*/ 94 w 161"/>
              <a:gd name="T41" fmla="*/ 49 h 93"/>
              <a:gd name="T42" fmla="*/ 92 w 161"/>
              <a:gd name="T43" fmla="*/ 50 h 93"/>
              <a:gd name="T44" fmla="*/ 89 w 161"/>
              <a:gd name="T45" fmla="*/ 51 h 93"/>
              <a:gd name="T46" fmla="*/ 86 w 161"/>
              <a:gd name="T47" fmla="*/ 51 h 93"/>
              <a:gd name="T48" fmla="*/ 84 w 161"/>
              <a:gd name="T49" fmla="*/ 51 h 93"/>
              <a:gd name="T50" fmla="*/ 78 w 161"/>
              <a:gd name="T51" fmla="*/ 50 h 93"/>
              <a:gd name="T52" fmla="*/ 74 w 161"/>
              <a:gd name="T53" fmla="*/ 49 h 93"/>
              <a:gd name="T54" fmla="*/ 65 w 161"/>
              <a:gd name="T55" fmla="*/ 48 h 93"/>
              <a:gd name="T56" fmla="*/ 55 w 161"/>
              <a:gd name="T57" fmla="*/ 45 h 93"/>
              <a:gd name="T58" fmla="*/ 44 w 161"/>
              <a:gd name="T59" fmla="*/ 40 h 93"/>
              <a:gd name="T60" fmla="*/ 32 w 161"/>
              <a:gd name="T61" fmla="*/ 34 h 93"/>
              <a:gd name="T62" fmla="*/ 21 w 161"/>
              <a:gd name="T63" fmla="*/ 26 h 93"/>
              <a:gd name="T64" fmla="*/ 12 w 161"/>
              <a:gd name="T65" fmla="*/ 18 h 93"/>
              <a:gd name="T66" fmla="*/ 8 w 161"/>
              <a:gd name="T67" fmla="*/ 14 h 93"/>
              <a:gd name="T68" fmla="*/ 5 w 161"/>
              <a:gd name="T69" fmla="*/ 9 h 93"/>
              <a:gd name="T70" fmla="*/ 3 w 161"/>
              <a:gd name="T71" fmla="*/ 5 h 93"/>
              <a:gd name="T72" fmla="*/ 0 w 161"/>
              <a:gd name="T73" fmla="*/ 0 h 93"/>
              <a:gd name="T74" fmla="*/ 94 w 161"/>
              <a:gd name="T75"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000" b="1" dirty="0"/>
          </a:p>
        </p:txBody>
      </p:sp>
      <p:sp>
        <p:nvSpPr>
          <p:cNvPr id="106" name="Freeform 11">
            <a:extLst>
              <a:ext uri="{FF2B5EF4-FFF2-40B4-BE49-F238E27FC236}">
                <a16:creationId xmlns="" xmlns:a16="http://schemas.microsoft.com/office/drawing/2014/main" id="{F2690BD1-491D-42D0-AE90-505C0DD39325}"/>
              </a:ext>
            </a:extLst>
          </p:cNvPr>
          <p:cNvSpPr>
            <a:spLocks/>
          </p:cNvSpPr>
          <p:nvPr>
            <p:custDataLst>
              <p:tags r:id="rId8"/>
            </p:custDataLst>
          </p:nvPr>
        </p:nvSpPr>
        <p:spPr bwMode="auto">
          <a:xfrm>
            <a:off x="3826725" y="3088273"/>
            <a:ext cx="100560" cy="165738"/>
          </a:xfrm>
          <a:custGeom>
            <a:avLst/>
            <a:gdLst>
              <a:gd name="T0" fmla="*/ 38 w 192"/>
              <a:gd name="T1" fmla="*/ 3 h 307"/>
              <a:gd name="T2" fmla="*/ 37 w 192"/>
              <a:gd name="T3" fmla="*/ 0 h 307"/>
              <a:gd name="T4" fmla="*/ 57 w 192"/>
              <a:gd name="T5" fmla="*/ 3 h 307"/>
              <a:gd name="T6" fmla="*/ 110 w 192"/>
              <a:gd name="T7" fmla="*/ 14 h 307"/>
              <a:gd name="T8" fmla="*/ 155 w 192"/>
              <a:gd name="T9" fmla="*/ 25 h 307"/>
              <a:gd name="T10" fmla="*/ 181 w 192"/>
              <a:gd name="T11" fmla="*/ 28 h 307"/>
              <a:gd name="T12" fmla="*/ 192 w 192"/>
              <a:gd name="T13" fmla="*/ 35 h 307"/>
              <a:gd name="T14" fmla="*/ 188 w 192"/>
              <a:gd name="T15" fmla="*/ 47 h 307"/>
              <a:gd name="T16" fmla="*/ 175 w 192"/>
              <a:gd name="T17" fmla="*/ 82 h 307"/>
              <a:gd name="T18" fmla="*/ 158 w 192"/>
              <a:gd name="T19" fmla="*/ 127 h 307"/>
              <a:gd name="T20" fmla="*/ 147 w 192"/>
              <a:gd name="T21" fmla="*/ 165 h 307"/>
              <a:gd name="T22" fmla="*/ 146 w 192"/>
              <a:gd name="T23" fmla="*/ 207 h 307"/>
              <a:gd name="T24" fmla="*/ 144 w 192"/>
              <a:gd name="T25" fmla="*/ 249 h 307"/>
              <a:gd name="T26" fmla="*/ 134 w 192"/>
              <a:gd name="T27" fmla="*/ 277 h 307"/>
              <a:gd name="T28" fmla="*/ 106 w 192"/>
              <a:gd name="T29" fmla="*/ 296 h 307"/>
              <a:gd name="T30" fmla="*/ 83 w 192"/>
              <a:gd name="T31" fmla="*/ 303 h 307"/>
              <a:gd name="T32" fmla="*/ 72 w 192"/>
              <a:gd name="T33" fmla="*/ 307 h 307"/>
              <a:gd name="T34" fmla="*/ 52 w 192"/>
              <a:gd name="T35" fmla="*/ 305 h 307"/>
              <a:gd name="T36" fmla="*/ 32 w 192"/>
              <a:gd name="T37" fmla="*/ 291 h 307"/>
              <a:gd name="T38" fmla="*/ 30 w 192"/>
              <a:gd name="T39" fmla="*/ 277 h 307"/>
              <a:gd name="T40" fmla="*/ 22 w 192"/>
              <a:gd name="T41" fmla="*/ 257 h 307"/>
              <a:gd name="T42" fmla="*/ 10 w 192"/>
              <a:gd name="T43" fmla="*/ 231 h 307"/>
              <a:gd name="T44" fmla="*/ 2 w 192"/>
              <a:gd name="T45" fmla="*/ 211 h 307"/>
              <a:gd name="T46" fmla="*/ 0 w 192"/>
              <a:gd name="T47" fmla="*/ 197 h 307"/>
              <a:gd name="T48" fmla="*/ 0 w 192"/>
              <a:gd name="T49" fmla="*/ 180 h 307"/>
              <a:gd name="T50" fmla="*/ 2 w 192"/>
              <a:gd name="T51" fmla="*/ 165 h 307"/>
              <a:gd name="T52" fmla="*/ 11 w 192"/>
              <a:gd name="T53" fmla="*/ 145 h 307"/>
              <a:gd name="T54" fmla="*/ 33 w 192"/>
              <a:gd name="T55" fmla="*/ 109 h 307"/>
              <a:gd name="T56" fmla="*/ 48 w 192"/>
              <a:gd name="T57" fmla="*/ 81 h 307"/>
              <a:gd name="T58" fmla="*/ 52 w 192"/>
              <a:gd name="T59" fmla="*/ 62 h 307"/>
              <a:gd name="T60" fmla="*/ 53 w 192"/>
              <a:gd name="T61" fmla="*/ 41 h 307"/>
              <a:gd name="T62" fmla="*/ 55 w 192"/>
              <a:gd name="T63" fmla="*/ 30 h 307"/>
              <a:gd name="T64" fmla="*/ 57 w 192"/>
              <a:gd name="T65" fmla="*/ 26 h 307"/>
              <a:gd name="T66" fmla="*/ 60 w 192"/>
              <a:gd name="T67" fmla="*/ 22 h 307"/>
              <a:gd name="T68" fmla="*/ 44 w 192"/>
              <a:gd name="T69" fmla="*/ 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chemeClr val="accent2"/>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000" b="1" dirty="0"/>
          </a:p>
        </p:txBody>
      </p:sp>
      <p:sp>
        <p:nvSpPr>
          <p:cNvPr id="107" name="Freeform 12">
            <a:extLst>
              <a:ext uri="{FF2B5EF4-FFF2-40B4-BE49-F238E27FC236}">
                <a16:creationId xmlns="" xmlns:a16="http://schemas.microsoft.com/office/drawing/2014/main" id="{E8A02DF8-17B2-4BD9-9A4A-687C09CA9A2A}"/>
              </a:ext>
            </a:extLst>
          </p:cNvPr>
          <p:cNvSpPr>
            <a:spLocks/>
          </p:cNvSpPr>
          <p:nvPr>
            <p:custDataLst>
              <p:tags r:id="rId9"/>
            </p:custDataLst>
          </p:nvPr>
        </p:nvSpPr>
        <p:spPr bwMode="auto">
          <a:xfrm>
            <a:off x="3867857" y="2527080"/>
            <a:ext cx="208856" cy="278966"/>
          </a:xfrm>
          <a:custGeom>
            <a:avLst/>
            <a:gdLst>
              <a:gd name="T0" fmla="*/ 26 w 398"/>
              <a:gd name="T1" fmla="*/ 2 h 518"/>
              <a:gd name="T2" fmla="*/ 95 w 398"/>
              <a:gd name="T3" fmla="*/ 13 h 518"/>
              <a:gd name="T4" fmla="*/ 116 w 398"/>
              <a:gd name="T5" fmla="*/ 23 h 518"/>
              <a:gd name="T6" fmla="*/ 80 w 398"/>
              <a:gd name="T7" fmla="*/ 47 h 518"/>
              <a:gd name="T8" fmla="*/ 64 w 398"/>
              <a:gd name="T9" fmla="*/ 62 h 518"/>
              <a:gd name="T10" fmla="*/ 77 w 398"/>
              <a:gd name="T11" fmla="*/ 69 h 518"/>
              <a:gd name="T12" fmla="*/ 167 w 398"/>
              <a:gd name="T13" fmla="*/ 79 h 518"/>
              <a:gd name="T14" fmla="*/ 210 w 398"/>
              <a:gd name="T15" fmla="*/ 109 h 518"/>
              <a:gd name="T16" fmla="*/ 154 w 398"/>
              <a:gd name="T17" fmla="*/ 127 h 518"/>
              <a:gd name="T18" fmla="*/ 147 w 398"/>
              <a:gd name="T19" fmla="*/ 138 h 518"/>
              <a:gd name="T20" fmla="*/ 191 w 398"/>
              <a:gd name="T21" fmla="*/ 143 h 518"/>
              <a:gd name="T22" fmla="*/ 211 w 398"/>
              <a:gd name="T23" fmla="*/ 156 h 518"/>
              <a:gd name="T24" fmla="*/ 243 w 398"/>
              <a:gd name="T25" fmla="*/ 191 h 518"/>
              <a:gd name="T26" fmla="*/ 258 w 398"/>
              <a:gd name="T27" fmla="*/ 212 h 518"/>
              <a:gd name="T28" fmla="*/ 260 w 398"/>
              <a:gd name="T29" fmla="*/ 237 h 518"/>
              <a:gd name="T30" fmla="*/ 272 w 398"/>
              <a:gd name="T31" fmla="*/ 254 h 518"/>
              <a:gd name="T32" fmla="*/ 286 w 398"/>
              <a:gd name="T33" fmla="*/ 279 h 518"/>
              <a:gd name="T34" fmla="*/ 306 w 398"/>
              <a:gd name="T35" fmla="*/ 297 h 518"/>
              <a:gd name="T36" fmla="*/ 327 w 398"/>
              <a:gd name="T37" fmla="*/ 320 h 518"/>
              <a:gd name="T38" fmla="*/ 346 w 398"/>
              <a:gd name="T39" fmla="*/ 337 h 518"/>
              <a:gd name="T40" fmla="*/ 370 w 398"/>
              <a:gd name="T41" fmla="*/ 341 h 518"/>
              <a:gd name="T42" fmla="*/ 396 w 398"/>
              <a:gd name="T43" fmla="*/ 365 h 518"/>
              <a:gd name="T44" fmla="*/ 395 w 398"/>
              <a:gd name="T45" fmla="*/ 395 h 518"/>
              <a:gd name="T46" fmla="*/ 382 w 398"/>
              <a:gd name="T47" fmla="*/ 404 h 518"/>
              <a:gd name="T48" fmla="*/ 367 w 398"/>
              <a:gd name="T49" fmla="*/ 415 h 518"/>
              <a:gd name="T50" fmla="*/ 368 w 398"/>
              <a:gd name="T51" fmla="*/ 426 h 518"/>
              <a:gd name="T52" fmla="*/ 376 w 398"/>
              <a:gd name="T53" fmla="*/ 443 h 518"/>
              <a:gd name="T54" fmla="*/ 359 w 398"/>
              <a:gd name="T55" fmla="*/ 463 h 518"/>
              <a:gd name="T56" fmla="*/ 146 w 398"/>
              <a:gd name="T57" fmla="*/ 500 h 518"/>
              <a:gd name="T58" fmla="*/ 68 w 398"/>
              <a:gd name="T59" fmla="*/ 508 h 518"/>
              <a:gd name="T60" fmla="*/ 53 w 398"/>
              <a:gd name="T61" fmla="*/ 518 h 518"/>
              <a:gd name="T62" fmla="*/ 58 w 398"/>
              <a:gd name="T63" fmla="*/ 493 h 518"/>
              <a:gd name="T64" fmla="*/ 71 w 398"/>
              <a:gd name="T65" fmla="*/ 476 h 518"/>
              <a:gd name="T66" fmla="*/ 114 w 398"/>
              <a:gd name="T67" fmla="*/ 458 h 518"/>
              <a:gd name="T68" fmla="*/ 172 w 398"/>
              <a:gd name="T69" fmla="*/ 439 h 518"/>
              <a:gd name="T70" fmla="*/ 179 w 398"/>
              <a:gd name="T71" fmla="*/ 426 h 518"/>
              <a:gd name="T72" fmla="*/ 171 w 398"/>
              <a:gd name="T73" fmla="*/ 434 h 518"/>
              <a:gd name="T74" fmla="*/ 111 w 398"/>
              <a:gd name="T75" fmla="*/ 432 h 518"/>
              <a:gd name="T76" fmla="*/ 76 w 398"/>
              <a:gd name="T77" fmla="*/ 420 h 518"/>
              <a:gd name="T78" fmla="*/ 77 w 398"/>
              <a:gd name="T79" fmla="*/ 402 h 518"/>
              <a:gd name="T80" fmla="*/ 95 w 398"/>
              <a:gd name="T81" fmla="*/ 391 h 518"/>
              <a:gd name="T82" fmla="*/ 87 w 398"/>
              <a:gd name="T83" fmla="*/ 352 h 518"/>
              <a:gd name="T84" fmla="*/ 105 w 398"/>
              <a:gd name="T85" fmla="*/ 329 h 518"/>
              <a:gd name="T86" fmla="*/ 154 w 398"/>
              <a:gd name="T87" fmla="*/ 309 h 518"/>
              <a:gd name="T88" fmla="*/ 172 w 398"/>
              <a:gd name="T89" fmla="*/ 291 h 518"/>
              <a:gd name="T90" fmla="*/ 148 w 398"/>
              <a:gd name="T91" fmla="*/ 271 h 518"/>
              <a:gd name="T92" fmla="*/ 139 w 398"/>
              <a:gd name="T93" fmla="*/ 247 h 518"/>
              <a:gd name="T94" fmla="*/ 94 w 398"/>
              <a:gd name="T95" fmla="*/ 239 h 518"/>
              <a:gd name="T96" fmla="*/ 80 w 398"/>
              <a:gd name="T97" fmla="*/ 216 h 518"/>
              <a:gd name="T98" fmla="*/ 90 w 398"/>
              <a:gd name="T99" fmla="*/ 192 h 518"/>
              <a:gd name="T100" fmla="*/ 100 w 398"/>
              <a:gd name="T101" fmla="*/ 168 h 518"/>
              <a:gd name="T102" fmla="*/ 73 w 398"/>
              <a:gd name="T103" fmla="*/ 186 h 518"/>
              <a:gd name="T104" fmla="*/ 22 w 398"/>
              <a:gd name="T105" fmla="*/ 162 h 518"/>
              <a:gd name="T106" fmla="*/ 20 w 398"/>
              <a:gd name="T107" fmla="*/ 142 h 518"/>
              <a:gd name="T108" fmla="*/ 14 w 398"/>
              <a:gd name="T109" fmla="*/ 131 h 518"/>
              <a:gd name="T110" fmla="*/ 20 w 398"/>
              <a:gd name="T111" fmla="*/ 63 h 518"/>
              <a:gd name="T112" fmla="*/ 19 w 398"/>
              <a:gd name="T113" fmla="*/ 49 h 518"/>
              <a:gd name="T114" fmla="*/ 4 w 398"/>
              <a:gd name="T115" fmla="*/ 40 h 518"/>
              <a:gd name="T116" fmla="*/ 20 w 398"/>
              <a:gd name="T117" fmla="*/ 19 h 518"/>
              <a:gd name="T118" fmla="*/ 3 w 398"/>
              <a:gd name="T119" fmla="*/ 9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chemeClr val="accent2"/>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000" b="1" dirty="0"/>
          </a:p>
        </p:txBody>
      </p:sp>
      <p:sp>
        <p:nvSpPr>
          <p:cNvPr id="114" name="Freeform 13">
            <a:extLst>
              <a:ext uri="{FF2B5EF4-FFF2-40B4-BE49-F238E27FC236}">
                <a16:creationId xmlns="" xmlns:a16="http://schemas.microsoft.com/office/drawing/2014/main" id="{0062DA1C-7E6E-436B-9EAC-B0ED6A588B99}"/>
              </a:ext>
            </a:extLst>
          </p:cNvPr>
          <p:cNvSpPr>
            <a:spLocks/>
          </p:cNvSpPr>
          <p:nvPr>
            <p:custDataLst>
              <p:tags r:id="rId10"/>
            </p:custDataLst>
          </p:nvPr>
        </p:nvSpPr>
        <p:spPr bwMode="auto">
          <a:xfrm>
            <a:off x="4320527" y="2867915"/>
            <a:ext cx="206921" cy="78767"/>
          </a:xfrm>
          <a:custGeom>
            <a:avLst/>
            <a:gdLst>
              <a:gd name="T0" fmla="*/ 190 w 382"/>
              <a:gd name="T1" fmla="*/ 21 h 148"/>
              <a:gd name="T2" fmla="*/ 177 w 382"/>
              <a:gd name="T3" fmla="*/ 31 h 148"/>
              <a:gd name="T4" fmla="*/ 174 w 382"/>
              <a:gd name="T5" fmla="*/ 45 h 148"/>
              <a:gd name="T6" fmla="*/ 168 w 382"/>
              <a:gd name="T7" fmla="*/ 53 h 148"/>
              <a:gd name="T8" fmla="*/ 166 w 382"/>
              <a:gd name="T9" fmla="*/ 61 h 148"/>
              <a:gd name="T10" fmla="*/ 177 w 382"/>
              <a:gd name="T11" fmla="*/ 74 h 148"/>
              <a:gd name="T12" fmla="*/ 155 w 382"/>
              <a:gd name="T13" fmla="*/ 86 h 148"/>
              <a:gd name="T14" fmla="*/ 108 w 382"/>
              <a:gd name="T15" fmla="*/ 96 h 148"/>
              <a:gd name="T16" fmla="*/ 77 w 382"/>
              <a:gd name="T17" fmla="*/ 97 h 148"/>
              <a:gd name="T18" fmla="*/ 52 w 382"/>
              <a:gd name="T19" fmla="*/ 95 h 148"/>
              <a:gd name="T20" fmla="*/ 4 w 382"/>
              <a:gd name="T21" fmla="*/ 111 h 148"/>
              <a:gd name="T22" fmla="*/ 0 w 382"/>
              <a:gd name="T23" fmla="*/ 129 h 148"/>
              <a:gd name="T24" fmla="*/ 4 w 382"/>
              <a:gd name="T25" fmla="*/ 131 h 148"/>
              <a:gd name="T26" fmla="*/ 12 w 382"/>
              <a:gd name="T27" fmla="*/ 131 h 148"/>
              <a:gd name="T28" fmla="*/ 51 w 382"/>
              <a:gd name="T29" fmla="*/ 129 h 148"/>
              <a:gd name="T30" fmla="*/ 114 w 382"/>
              <a:gd name="T31" fmla="*/ 127 h 148"/>
              <a:gd name="T32" fmla="*/ 123 w 382"/>
              <a:gd name="T33" fmla="*/ 134 h 148"/>
              <a:gd name="T34" fmla="*/ 137 w 382"/>
              <a:gd name="T35" fmla="*/ 141 h 148"/>
              <a:gd name="T36" fmla="*/ 159 w 382"/>
              <a:gd name="T37" fmla="*/ 147 h 148"/>
              <a:gd name="T38" fmla="*/ 185 w 382"/>
              <a:gd name="T39" fmla="*/ 148 h 148"/>
              <a:gd name="T40" fmla="*/ 210 w 382"/>
              <a:gd name="T41" fmla="*/ 148 h 148"/>
              <a:gd name="T42" fmla="*/ 233 w 382"/>
              <a:gd name="T43" fmla="*/ 148 h 148"/>
              <a:gd name="T44" fmla="*/ 255 w 382"/>
              <a:gd name="T45" fmla="*/ 148 h 148"/>
              <a:gd name="T46" fmla="*/ 275 w 382"/>
              <a:gd name="T47" fmla="*/ 143 h 148"/>
              <a:gd name="T48" fmla="*/ 301 w 382"/>
              <a:gd name="T49" fmla="*/ 134 h 148"/>
              <a:gd name="T50" fmla="*/ 334 w 382"/>
              <a:gd name="T51" fmla="*/ 121 h 148"/>
              <a:gd name="T52" fmla="*/ 353 w 382"/>
              <a:gd name="T53" fmla="*/ 103 h 148"/>
              <a:gd name="T54" fmla="*/ 372 w 382"/>
              <a:gd name="T55" fmla="*/ 72 h 148"/>
              <a:gd name="T56" fmla="*/ 376 w 382"/>
              <a:gd name="T57" fmla="*/ 52 h 148"/>
              <a:gd name="T58" fmla="*/ 363 w 382"/>
              <a:gd name="T59" fmla="*/ 44 h 148"/>
              <a:gd name="T60" fmla="*/ 357 w 382"/>
              <a:gd name="T61" fmla="*/ 32 h 148"/>
              <a:gd name="T62" fmla="*/ 347 w 382"/>
              <a:gd name="T63" fmla="*/ 22 h 148"/>
              <a:gd name="T64" fmla="*/ 334 w 382"/>
              <a:gd name="T65" fmla="*/ 17 h 148"/>
              <a:gd name="T66" fmla="*/ 319 w 382"/>
              <a:gd name="T67" fmla="*/ 8 h 148"/>
              <a:gd name="T68" fmla="*/ 203 w 382"/>
              <a:gd name="T69"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chemeClr val="accent2"/>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000" b="1" dirty="0"/>
          </a:p>
        </p:txBody>
      </p:sp>
      <p:sp>
        <p:nvSpPr>
          <p:cNvPr id="115" name="Freeform 14">
            <a:extLst>
              <a:ext uri="{FF2B5EF4-FFF2-40B4-BE49-F238E27FC236}">
                <a16:creationId xmlns="" xmlns:a16="http://schemas.microsoft.com/office/drawing/2014/main" id="{61821A50-B1AA-4F78-823D-BDAD2A4D5CCF}"/>
              </a:ext>
            </a:extLst>
          </p:cNvPr>
          <p:cNvSpPr>
            <a:spLocks/>
          </p:cNvSpPr>
          <p:nvPr>
            <p:custDataLst>
              <p:tags r:id="rId11"/>
            </p:custDataLst>
          </p:nvPr>
        </p:nvSpPr>
        <p:spPr bwMode="auto">
          <a:xfrm>
            <a:off x="6138348" y="2712022"/>
            <a:ext cx="1560618" cy="1073198"/>
          </a:xfrm>
          <a:custGeom>
            <a:avLst/>
            <a:gdLst>
              <a:gd name="T0" fmla="*/ 373 w 2936"/>
              <a:gd name="T1" fmla="*/ 1071 h 1983"/>
              <a:gd name="T2" fmla="*/ 385 w 2936"/>
              <a:gd name="T3" fmla="*/ 1182 h 1983"/>
              <a:gd name="T4" fmla="*/ 478 w 2936"/>
              <a:gd name="T5" fmla="*/ 1358 h 1983"/>
              <a:gd name="T6" fmla="*/ 768 w 2936"/>
              <a:gd name="T7" fmla="*/ 1492 h 1983"/>
              <a:gd name="T8" fmla="*/ 1036 w 2936"/>
              <a:gd name="T9" fmla="*/ 1552 h 1983"/>
              <a:gd name="T10" fmla="*/ 1124 w 2936"/>
              <a:gd name="T11" fmla="*/ 1529 h 1983"/>
              <a:gd name="T12" fmla="*/ 1401 w 2936"/>
              <a:gd name="T13" fmla="*/ 1448 h 1983"/>
              <a:gd name="T14" fmla="*/ 1547 w 2936"/>
              <a:gd name="T15" fmla="*/ 1542 h 1983"/>
              <a:gd name="T16" fmla="*/ 1577 w 2936"/>
              <a:gd name="T17" fmla="*/ 1697 h 1983"/>
              <a:gd name="T18" fmla="*/ 1607 w 2936"/>
              <a:gd name="T19" fmla="*/ 1773 h 1983"/>
              <a:gd name="T20" fmla="*/ 1706 w 2936"/>
              <a:gd name="T21" fmla="*/ 1912 h 1983"/>
              <a:gd name="T22" fmla="*/ 1842 w 2936"/>
              <a:gd name="T23" fmla="*/ 1859 h 1983"/>
              <a:gd name="T24" fmla="*/ 2072 w 2936"/>
              <a:gd name="T25" fmla="*/ 1854 h 1983"/>
              <a:gd name="T26" fmla="*/ 2265 w 2936"/>
              <a:gd name="T27" fmla="*/ 1983 h 1983"/>
              <a:gd name="T28" fmla="*/ 2357 w 2936"/>
              <a:gd name="T29" fmla="*/ 1910 h 1983"/>
              <a:gd name="T30" fmla="*/ 2457 w 2936"/>
              <a:gd name="T31" fmla="*/ 1866 h 1983"/>
              <a:gd name="T32" fmla="*/ 2546 w 2936"/>
              <a:gd name="T33" fmla="*/ 1826 h 1983"/>
              <a:gd name="T34" fmla="*/ 2683 w 2936"/>
              <a:gd name="T35" fmla="*/ 1732 h 1983"/>
              <a:gd name="T36" fmla="*/ 2719 w 2936"/>
              <a:gd name="T37" fmla="*/ 1616 h 1983"/>
              <a:gd name="T38" fmla="*/ 2794 w 2936"/>
              <a:gd name="T39" fmla="*/ 1420 h 1983"/>
              <a:gd name="T40" fmla="*/ 2705 w 2936"/>
              <a:gd name="T41" fmla="*/ 1375 h 1983"/>
              <a:gd name="T42" fmla="*/ 2640 w 2936"/>
              <a:gd name="T43" fmla="*/ 1273 h 1983"/>
              <a:gd name="T44" fmla="*/ 2669 w 2936"/>
              <a:gd name="T45" fmla="*/ 1227 h 1983"/>
              <a:gd name="T46" fmla="*/ 2532 w 2936"/>
              <a:gd name="T47" fmla="*/ 1061 h 1983"/>
              <a:gd name="T48" fmla="*/ 2583 w 2936"/>
              <a:gd name="T49" fmla="*/ 993 h 1983"/>
              <a:gd name="T50" fmla="*/ 2453 w 2936"/>
              <a:gd name="T51" fmla="*/ 962 h 1983"/>
              <a:gd name="T52" fmla="*/ 2333 w 2936"/>
              <a:gd name="T53" fmla="*/ 887 h 1983"/>
              <a:gd name="T54" fmla="*/ 2368 w 2936"/>
              <a:gd name="T55" fmla="*/ 836 h 1983"/>
              <a:gd name="T56" fmla="*/ 2443 w 2936"/>
              <a:gd name="T57" fmla="*/ 756 h 1983"/>
              <a:gd name="T58" fmla="*/ 2496 w 2936"/>
              <a:gd name="T59" fmla="*/ 780 h 1983"/>
              <a:gd name="T60" fmla="*/ 2532 w 2936"/>
              <a:gd name="T61" fmla="*/ 853 h 1983"/>
              <a:gd name="T62" fmla="*/ 2689 w 2936"/>
              <a:gd name="T63" fmla="*/ 763 h 1983"/>
              <a:gd name="T64" fmla="*/ 2828 w 2936"/>
              <a:gd name="T65" fmla="*/ 673 h 1983"/>
              <a:gd name="T66" fmla="*/ 2886 w 2936"/>
              <a:gd name="T67" fmla="*/ 564 h 1983"/>
              <a:gd name="T68" fmla="*/ 2928 w 2936"/>
              <a:gd name="T69" fmla="*/ 494 h 1983"/>
              <a:gd name="T70" fmla="*/ 2893 w 2936"/>
              <a:gd name="T71" fmla="*/ 307 h 1983"/>
              <a:gd name="T72" fmla="*/ 2722 w 2936"/>
              <a:gd name="T73" fmla="*/ 341 h 1983"/>
              <a:gd name="T74" fmla="*/ 2461 w 2936"/>
              <a:gd name="T75" fmla="*/ 205 h 1983"/>
              <a:gd name="T76" fmla="*/ 2300 w 2936"/>
              <a:gd name="T77" fmla="*/ 89 h 1983"/>
              <a:gd name="T78" fmla="*/ 1980 w 2936"/>
              <a:gd name="T79" fmla="*/ 53 h 1983"/>
              <a:gd name="T80" fmla="*/ 2007 w 2936"/>
              <a:gd name="T81" fmla="*/ 155 h 1983"/>
              <a:gd name="T82" fmla="*/ 1952 w 2936"/>
              <a:gd name="T83" fmla="*/ 227 h 1983"/>
              <a:gd name="T84" fmla="*/ 2025 w 2936"/>
              <a:gd name="T85" fmla="*/ 350 h 1983"/>
              <a:gd name="T86" fmla="*/ 2146 w 2936"/>
              <a:gd name="T87" fmla="*/ 370 h 1983"/>
              <a:gd name="T88" fmla="*/ 2041 w 2936"/>
              <a:gd name="T89" fmla="*/ 455 h 1983"/>
              <a:gd name="T90" fmla="*/ 1891 w 2936"/>
              <a:gd name="T91" fmla="*/ 570 h 1983"/>
              <a:gd name="T92" fmla="*/ 1630 w 2936"/>
              <a:gd name="T93" fmla="*/ 713 h 1983"/>
              <a:gd name="T94" fmla="*/ 1228 w 2936"/>
              <a:gd name="T95" fmla="*/ 659 h 1983"/>
              <a:gd name="T96" fmla="*/ 1036 w 2936"/>
              <a:gd name="T97" fmla="*/ 560 h 1983"/>
              <a:gd name="T98" fmla="*/ 752 w 2936"/>
              <a:gd name="T99" fmla="*/ 495 h 1983"/>
              <a:gd name="T100" fmla="*/ 686 w 2936"/>
              <a:gd name="T101" fmla="*/ 379 h 1983"/>
              <a:gd name="T102" fmla="*/ 512 w 2936"/>
              <a:gd name="T103" fmla="*/ 299 h 1983"/>
              <a:gd name="T104" fmla="*/ 430 w 2936"/>
              <a:gd name="T105" fmla="*/ 311 h 1983"/>
              <a:gd name="T106" fmla="*/ 423 w 2936"/>
              <a:gd name="T107" fmla="*/ 388 h 1983"/>
              <a:gd name="T108" fmla="*/ 305 w 2936"/>
              <a:gd name="T109" fmla="*/ 382 h 1983"/>
              <a:gd name="T110" fmla="*/ 227 w 2936"/>
              <a:gd name="T111" fmla="*/ 507 h 1983"/>
              <a:gd name="T112" fmla="*/ 260 w 2936"/>
              <a:gd name="T113" fmla="*/ 595 h 1983"/>
              <a:gd name="T114" fmla="*/ 252 w 2936"/>
              <a:gd name="T115" fmla="*/ 716 h 1983"/>
              <a:gd name="T116" fmla="*/ 118 w 2936"/>
              <a:gd name="T117" fmla="*/ 781 h 1983"/>
              <a:gd name="T118" fmla="*/ 40 w 2936"/>
              <a:gd name="T119" fmla="*/ 894 h 1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16" name="Freeform 15">
            <a:extLst>
              <a:ext uri="{FF2B5EF4-FFF2-40B4-BE49-F238E27FC236}">
                <a16:creationId xmlns="" xmlns:a16="http://schemas.microsoft.com/office/drawing/2014/main" id="{B24BDA56-6423-4050-AF03-569EE2B8C2C3}"/>
              </a:ext>
            </a:extLst>
          </p:cNvPr>
          <p:cNvSpPr>
            <a:spLocks/>
          </p:cNvSpPr>
          <p:nvPr>
            <p:custDataLst>
              <p:tags r:id="rId12"/>
            </p:custDataLst>
          </p:nvPr>
        </p:nvSpPr>
        <p:spPr bwMode="auto">
          <a:xfrm>
            <a:off x="4544854" y="2237780"/>
            <a:ext cx="268805" cy="282248"/>
          </a:xfrm>
          <a:custGeom>
            <a:avLst/>
            <a:gdLst>
              <a:gd name="T0" fmla="*/ 345 w 504"/>
              <a:gd name="T1" fmla="*/ 493 h 524"/>
              <a:gd name="T2" fmla="*/ 256 w 504"/>
              <a:gd name="T3" fmla="*/ 505 h 524"/>
              <a:gd name="T4" fmla="*/ 235 w 504"/>
              <a:gd name="T5" fmla="*/ 517 h 524"/>
              <a:gd name="T6" fmla="*/ 210 w 504"/>
              <a:gd name="T7" fmla="*/ 522 h 524"/>
              <a:gd name="T8" fmla="*/ 155 w 504"/>
              <a:gd name="T9" fmla="*/ 524 h 524"/>
              <a:gd name="T10" fmla="*/ 106 w 504"/>
              <a:gd name="T11" fmla="*/ 522 h 524"/>
              <a:gd name="T12" fmla="*/ 94 w 504"/>
              <a:gd name="T13" fmla="*/ 516 h 524"/>
              <a:gd name="T14" fmla="*/ 71 w 504"/>
              <a:gd name="T15" fmla="*/ 509 h 524"/>
              <a:gd name="T16" fmla="*/ 36 w 504"/>
              <a:gd name="T17" fmla="*/ 496 h 524"/>
              <a:gd name="T18" fmla="*/ 22 w 504"/>
              <a:gd name="T19" fmla="*/ 486 h 524"/>
              <a:gd name="T20" fmla="*/ 20 w 504"/>
              <a:gd name="T21" fmla="*/ 477 h 524"/>
              <a:gd name="T22" fmla="*/ 27 w 504"/>
              <a:gd name="T23" fmla="*/ 463 h 524"/>
              <a:gd name="T24" fmla="*/ 32 w 504"/>
              <a:gd name="T25" fmla="*/ 445 h 524"/>
              <a:gd name="T26" fmla="*/ 28 w 504"/>
              <a:gd name="T27" fmla="*/ 432 h 524"/>
              <a:gd name="T28" fmla="*/ 10 w 504"/>
              <a:gd name="T29" fmla="*/ 417 h 524"/>
              <a:gd name="T30" fmla="*/ 1 w 504"/>
              <a:gd name="T31" fmla="*/ 407 h 524"/>
              <a:gd name="T32" fmla="*/ 1 w 504"/>
              <a:gd name="T33" fmla="*/ 391 h 524"/>
              <a:gd name="T34" fmla="*/ 17 w 504"/>
              <a:gd name="T35" fmla="*/ 360 h 524"/>
              <a:gd name="T36" fmla="*/ 48 w 504"/>
              <a:gd name="T37" fmla="*/ 328 h 524"/>
              <a:gd name="T38" fmla="*/ 86 w 504"/>
              <a:gd name="T39" fmla="*/ 299 h 524"/>
              <a:gd name="T40" fmla="*/ 124 w 504"/>
              <a:gd name="T41" fmla="*/ 279 h 524"/>
              <a:gd name="T42" fmla="*/ 160 w 504"/>
              <a:gd name="T43" fmla="*/ 272 h 524"/>
              <a:gd name="T44" fmla="*/ 155 w 504"/>
              <a:gd name="T45" fmla="*/ 264 h 524"/>
              <a:gd name="T46" fmla="*/ 142 w 504"/>
              <a:gd name="T47" fmla="*/ 259 h 524"/>
              <a:gd name="T48" fmla="*/ 133 w 504"/>
              <a:gd name="T49" fmla="*/ 251 h 524"/>
              <a:gd name="T50" fmla="*/ 127 w 504"/>
              <a:gd name="T51" fmla="*/ 229 h 524"/>
              <a:gd name="T52" fmla="*/ 124 w 504"/>
              <a:gd name="T53" fmla="*/ 195 h 524"/>
              <a:gd name="T54" fmla="*/ 115 w 504"/>
              <a:gd name="T55" fmla="*/ 161 h 524"/>
              <a:gd name="T56" fmla="*/ 100 w 504"/>
              <a:gd name="T57" fmla="*/ 134 h 524"/>
              <a:gd name="T58" fmla="*/ 68 w 504"/>
              <a:gd name="T59" fmla="*/ 90 h 524"/>
              <a:gd name="T60" fmla="*/ 86 w 504"/>
              <a:gd name="T61" fmla="*/ 60 h 524"/>
              <a:gd name="T62" fmla="*/ 106 w 504"/>
              <a:gd name="T63" fmla="*/ 56 h 524"/>
              <a:gd name="T64" fmla="*/ 130 w 504"/>
              <a:gd name="T65" fmla="*/ 58 h 524"/>
              <a:gd name="T66" fmla="*/ 139 w 504"/>
              <a:gd name="T67" fmla="*/ 61 h 524"/>
              <a:gd name="T68" fmla="*/ 160 w 504"/>
              <a:gd name="T69" fmla="*/ 56 h 524"/>
              <a:gd name="T70" fmla="*/ 164 w 504"/>
              <a:gd name="T71" fmla="*/ 33 h 524"/>
              <a:gd name="T72" fmla="*/ 171 w 504"/>
              <a:gd name="T73" fmla="*/ 13 h 524"/>
              <a:gd name="T74" fmla="*/ 187 w 504"/>
              <a:gd name="T75" fmla="*/ 0 h 524"/>
              <a:gd name="T76" fmla="*/ 225 w 504"/>
              <a:gd name="T77" fmla="*/ 0 h 524"/>
              <a:gd name="T78" fmla="*/ 254 w 504"/>
              <a:gd name="T79" fmla="*/ 8 h 524"/>
              <a:gd name="T80" fmla="*/ 280 w 504"/>
              <a:gd name="T81" fmla="*/ 21 h 524"/>
              <a:gd name="T82" fmla="*/ 279 w 504"/>
              <a:gd name="T83" fmla="*/ 62 h 524"/>
              <a:gd name="T84" fmla="*/ 292 w 504"/>
              <a:gd name="T85" fmla="*/ 77 h 524"/>
              <a:gd name="T86" fmla="*/ 319 w 504"/>
              <a:gd name="T87" fmla="*/ 94 h 524"/>
              <a:gd name="T88" fmla="*/ 356 w 504"/>
              <a:gd name="T89" fmla="*/ 119 h 524"/>
              <a:gd name="T90" fmla="*/ 346 w 504"/>
              <a:gd name="T91" fmla="*/ 135 h 524"/>
              <a:gd name="T92" fmla="*/ 340 w 504"/>
              <a:gd name="T93" fmla="*/ 153 h 524"/>
              <a:gd name="T94" fmla="*/ 344 w 504"/>
              <a:gd name="T95" fmla="*/ 176 h 524"/>
              <a:gd name="T96" fmla="*/ 363 w 504"/>
              <a:gd name="T97" fmla="*/ 200 h 524"/>
              <a:gd name="T98" fmla="*/ 378 w 504"/>
              <a:gd name="T99" fmla="*/ 210 h 524"/>
              <a:gd name="T100" fmla="*/ 386 w 504"/>
              <a:gd name="T101" fmla="*/ 256 h 524"/>
              <a:gd name="T102" fmla="*/ 404 w 504"/>
              <a:gd name="T103" fmla="*/ 289 h 524"/>
              <a:gd name="T104" fmla="*/ 432 w 504"/>
              <a:gd name="T105" fmla="*/ 315 h 524"/>
              <a:gd name="T106" fmla="*/ 463 w 504"/>
              <a:gd name="T107" fmla="*/ 335 h 524"/>
              <a:gd name="T108" fmla="*/ 466 w 504"/>
              <a:gd name="T109" fmla="*/ 390 h 524"/>
              <a:gd name="T110" fmla="*/ 397 w 504"/>
              <a:gd name="T111" fmla="*/ 45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117" name="Freeform 16">
            <a:extLst>
              <a:ext uri="{FF2B5EF4-FFF2-40B4-BE49-F238E27FC236}">
                <a16:creationId xmlns="" xmlns:a16="http://schemas.microsoft.com/office/drawing/2014/main" id="{0EFF3C5A-AA38-456D-86BC-10AEF4C6E167}"/>
              </a:ext>
            </a:extLst>
          </p:cNvPr>
          <p:cNvSpPr>
            <a:spLocks/>
          </p:cNvSpPr>
          <p:nvPr>
            <p:custDataLst>
              <p:tags r:id="rId13"/>
            </p:custDataLst>
          </p:nvPr>
        </p:nvSpPr>
        <p:spPr bwMode="auto">
          <a:xfrm>
            <a:off x="4223834" y="2669358"/>
            <a:ext cx="222392" cy="246146"/>
          </a:xfrm>
          <a:custGeom>
            <a:avLst/>
            <a:gdLst>
              <a:gd name="T0" fmla="*/ 426 w 438"/>
              <a:gd name="T1" fmla="*/ 190 h 451"/>
              <a:gd name="T2" fmla="*/ 408 w 438"/>
              <a:gd name="T3" fmla="*/ 128 h 451"/>
              <a:gd name="T4" fmla="*/ 387 w 438"/>
              <a:gd name="T5" fmla="*/ 85 h 451"/>
              <a:gd name="T6" fmla="*/ 367 w 438"/>
              <a:gd name="T7" fmla="*/ 62 h 451"/>
              <a:gd name="T8" fmla="*/ 356 w 438"/>
              <a:gd name="T9" fmla="*/ 58 h 451"/>
              <a:gd name="T10" fmla="*/ 335 w 438"/>
              <a:gd name="T11" fmla="*/ 45 h 451"/>
              <a:gd name="T12" fmla="*/ 314 w 438"/>
              <a:gd name="T13" fmla="*/ 38 h 451"/>
              <a:gd name="T14" fmla="*/ 293 w 438"/>
              <a:gd name="T15" fmla="*/ 38 h 451"/>
              <a:gd name="T16" fmla="*/ 276 w 438"/>
              <a:gd name="T17" fmla="*/ 42 h 451"/>
              <a:gd name="T18" fmla="*/ 251 w 438"/>
              <a:gd name="T19" fmla="*/ 58 h 451"/>
              <a:gd name="T20" fmla="*/ 235 w 438"/>
              <a:gd name="T21" fmla="*/ 67 h 451"/>
              <a:gd name="T22" fmla="*/ 217 w 438"/>
              <a:gd name="T23" fmla="*/ 66 h 451"/>
              <a:gd name="T24" fmla="*/ 174 w 438"/>
              <a:gd name="T25" fmla="*/ 37 h 451"/>
              <a:gd name="T26" fmla="*/ 113 w 438"/>
              <a:gd name="T27" fmla="*/ 0 h 451"/>
              <a:gd name="T28" fmla="*/ 95 w 438"/>
              <a:gd name="T29" fmla="*/ 23 h 451"/>
              <a:gd name="T30" fmla="*/ 93 w 438"/>
              <a:gd name="T31" fmla="*/ 43 h 451"/>
              <a:gd name="T32" fmla="*/ 98 w 438"/>
              <a:gd name="T33" fmla="*/ 52 h 451"/>
              <a:gd name="T34" fmla="*/ 119 w 438"/>
              <a:gd name="T35" fmla="*/ 69 h 451"/>
              <a:gd name="T36" fmla="*/ 99 w 438"/>
              <a:gd name="T37" fmla="*/ 73 h 451"/>
              <a:gd name="T38" fmla="*/ 66 w 438"/>
              <a:gd name="T39" fmla="*/ 93 h 451"/>
              <a:gd name="T40" fmla="*/ 58 w 438"/>
              <a:gd name="T41" fmla="*/ 119 h 451"/>
              <a:gd name="T42" fmla="*/ 45 w 438"/>
              <a:gd name="T43" fmla="*/ 138 h 451"/>
              <a:gd name="T44" fmla="*/ 35 w 438"/>
              <a:gd name="T45" fmla="*/ 156 h 451"/>
              <a:gd name="T46" fmla="*/ 33 w 438"/>
              <a:gd name="T47" fmla="*/ 179 h 451"/>
              <a:gd name="T48" fmla="*/ 7 w 438"/>
              <a:gd name="T49" fmla="*/ 238 h 451"/>
              <a:gd name="T50" fmla="*/ 15 w 438"/>
              <a:gd name="T51" fmla="*/ 246 h 451"/>
              <a:gd name="T52" fmla="*/ 26 w 438"/>
              <a:gd name="T53" fmla="*/ 247 h 451"/>
              <a:gd name="T54" fmla="*/ 33 w 438"/>
              <a:gd name="T55" fmla="*/ 346 h 451"/>
              <a:gd name="T56" fmla="*/ 93 w 438"/>
              <a:gd name="T57" fmla="*/ 353 h 451"/>
              <a:gd name="T58" fmla="*/ 104 w 438"/>
              <a:gd name="T59" fmla="*/ 376 h 451"/>
              <a:gd name="T60" fmla="*/ 89 w 438"/>
              <a:gd name="T61" fmla="*/ 425 h 451"/>
              <a:gd name="T62" fmla="*/ 109 w 438"/>
              <a:gd name="T63" fmla="*/ 447 h 451"/>
              <a:gd name="T64" fmla="*/ 152 w 438"/>
              <a:gd name="T65" fmla="*/ 447 h 451"/>
              <a:gd name="T66" fmla="*/ 205 w 438"/>
              <a:gd name="T67" fmla="*/ 444 h 451"/>
              <a:gd name="T68" fmla="*/ 276 w 438"/>
              <a:gd name="T69" fmla="*/ 446 h 451"/>
              <a:gd name="T70" fmla="*/ 343 w 438"/>
              <a:gd name="T71" fmla="*/ 442 h 451"/>
              <a:gd name="T72" fmla="*/ 372 w 438"/>
              <a:gd name="T73" fmla="*/ 432 h 451"/>
              <a:gd name="T74" fmla="*/ 359 w 438"/>
              <a:gd name="T75" fmla="*/ 413 h 451"/>
              <a:gd name="T76" fmla="*/ 369 w 438"/>
              <a:gd name="T77" fmla="*/ 403 h 451"/>
              <a:gd name="T78" fmla="*/ 372 w 438"/>
              <a:gd name="T79" fmla="*/ 382 h 451"/>
              <a:gd name="T80" fmla="*/ 380 w 438"/>
              <a:gd name="T81" fmla="*/ 367 h 451"/>
              <a:gd name="T82" fmla="*/ 343 w 438"/>
              <a:gd name="T83" fmla="*/ 344 h 451"/>
              <a:gd name="T84" fmla="*/ 325 w 438"/>
              <a:gd name="T85" fmla="*/ 323 h 451"/>
              <a:gd name="T86" fmla="*/ 311 w 438"/>
              <a:gd name="T87" fmla="*/ 294 h 451"/>
              <a:gd name="T88" fmla="*/ 294 w 438"/>
              <a:gd name="T89" fmla="*/ 277 h 451"/>
              <a:gd name="T90" fmla="*/ 314 w 438"/>
              <a:gd name="T91" fmla="*/ 275 h 451"/>
              <a:gd name="T92" fmla="*/ 346 w 438"/>
              <a:gd name="T93" fmla="*/ 271 h 451"/>
              <a:gd name="T94" fmla="*/ 369 w 438"/>
              <a:gd name="T95" fmla="*/ 260 h 451"/>
              <a:gd name="T96" fmla="*/ 407 w 438"/>
              <a:gd name="T97" fmla="*/ 240 h 451"/>
              <a:gd name="T98" fmla="*/ 438 w 438"/>
              <a:gd name="T99" fmla="*/ 23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000" b="1" dirty="0"/>
          </a:p>
        </p:txBody>
      </p:sp>
      <p:sp>
        <p:nvSpPr>
          <p:cNvPr id="118" name="Freeform 17">
            <a:extLst>
              <a:ext uri="{FF2B5EF4-FFF2-40B4-BE49-F238E27FC236}">
                <a16:creationId xmlns="" xmlns:a16="http://schemas.microsoft.com/office/drawing/2014/main" id="{EFFB3779-0AFD-4927-B73C-400455E0F457}"/>
              </a:ext>
            </a:extLst>
          </p:cNvPr>
          <p:cNvSpPr>
            <a:spLocks/>
          </p:cNvSpPr>
          <p:nvPr>
            <p:custDataLst>
              <p:tags r:id="rId14"/>
            </p:custDataLst>
          </p:nvPr>
        </p:nvSpPr>
        <p:spPr bwMode="auto">
          <a:xfrm>
            <a:off x="4254776" y="2935195"/>
            <a:ext cx="305549" cy="283889"/>
          </a:xfrm>
          <a:custGeom>
            <a:avLst/>
            <a:gdLst>
              <a:gd name="T0" fmla="*/ 327 w 578"/>
              <a:gd name="T1" fmla="*/ 88 h 524"/>
              <a:gd name="T2" fmla="*/ 312 w 578"/>
              <a:gd name="T3" fmla="*/ 85 h 524"/>
              <a:gd name="T4" fmla="*/ 301 w 578"/>
              <a:gd name="T5" fmla="*/ 79 h 524"/>
              <a:gd name="T6" fmla="*/ 275 w 578"/>
              <a:gd name="T7" fmla="*/ 66 h 524"/>
              <a:gd name="T8" fmla="*/ 251 w 578"/>
              <a:gd name="T9" fmla="*/ 78 h 524"/>
              <a:gd name="T10" fmla="*/ 246 w 578"/>
              <a:gd name="T11" fmla="*/ 105 h 524"/>
              <a:gd name="T12" fmla="*/ 253 w 578"/>
              <a:gd name="T13" fmla="*/ 153 h 524"/>
              <a:gd name="T14" fmla="*/ 270 w 578"/>
              <a:gd name="T15" fmla="*/ 172 h 524"/>
              <a:gd name="T16" fmla="*/ 287 w 578"/>
              <a:gd name="T17" fmla="*/ 178 h 524"/>
              <a:gd name="T18" fmla="*/ 298 w 578"/>
              <a:gd name="T19" fmla="*/ 191 h 524"/>
              <a:gd name="T20" fmla="*/ 351 w 578"/>
              <a:gd name="T21" fmla="*/ 225 h 524"/>
              <a:gd name="T22" fmla="*/ 449 w 578"/>
              <a:gd name="T23" fmla="*/ 309 h 524"/>
              <a:gd name="T24" fmla="*/ 477 w 578"/>
              <a:gd name="T25" fmla="*/ 322 h 524"/>
              <a:gd name="T26" fmla="*/ 504 w 578"/>
              <a:gd name="T27" fmla="*/ 328 h 524"/>
              <a:gd name="T28" fmla="*/ 536 w 578"/>
              <a:gd name="T29" fmla="*/ 356 h 524"/>
              <a:gd name="T30" fmla="*/ 578 w 578"/>
              <a:gd name="T31" fmla="*/ 376 h 524"/>
              <a:gd name="T32" fmla="*/ 565 w 578"/>
              <a:gd name="T33" fmla="*/ 407 h 524"/>
              <a:gd name="T34" fmla="*/ 526 w 578"/>
              <a:gd name="T35" fmla="*/ 383 h 524"/>
              <a:gd name="T36" fmla="*/ 508 w 578"/>
              <a:gd name="T37" fmla="*/ 376 h 524"/>
              <a:gd name="T38" fmla="*/ 498 w 578"/>
              <a:gd name="T39" fmla="*/ 397 h 524"/>
              <a:gd name="T40" fmla="*/ 506 w 578"/>
              <a:gd name="T41" fmla="*/ 426 h 524"/>
              <a:gd name="T42" fmla="*/ 514 w 578"/>
              <a:gd name="T43" fmla="*/ 442 h 524"/>
              <a:gd name="T44" fmla="*/ 500 w 578"/>
              <a:gd name="T45" fmla="*/ 468 h 524"/>
              <a:gd name="T46" fmla="*/ 483 w 578"/>
              <a:gd name="T47" fmla="*/ 505 h 524"/>
              <a:gd name="T48" fmla="*/ 465 w 578"/>
              <a:gd name="T49" fmla="*/ 522 h 524"/>
              <a:gd name="T50" fmla="*/ 436 w 578"/>
              <a:gd name="T51" fmla="*/ 505 h 524"/>
              <a:gd name="T52" fmla="*/ 456 w 578"/>
              <a:gd name="T53" fmla="*/ 484 h 524"/>
              <a:gd name="T54" fmla="*/ 465 w 578"/>
              <a:gd name="T55" fmla="*/ 467 h 524"/>
              <a:gd name="T56" fmla="*/ 461 w 578"/>
              <a:gd name="T57" fmla="*/ 441 h 524"/>
              <a:gd name="T58" fmla="*/ 427 w 578"/>
              <a:gd name="T59" fmla="*/ 395 h 524"/>
              <a:gd name="T60" fmla="*/ 385 w 578"/>
              <a:gd name="T61" fmla="*/ 369 h 524"/>
              <a:gd name="T62" fmla="*/ 355 w 578"/>
              <a:gd name="T63" fmla="*/ 356 h 524"/>
              <a:gd name="T64" fmla="*/ 318 w 578"/>
              <a:gd name="T65" fmla="*/ 330 h 524"/>
              <a:gd name="T66" fmla="*/ 268 w 578"/>
              <a:gd name="T67" fmla="*/ 315 h 524"/>
              <a:gd name="T68" fmla="*/ 218 w 578"/>
              <a:gd name="T69" fmla="*/ 285 h 524"/>
              <a:gd name="T70" fmla="*/ 162 w 578"/>
              <a:gd name="T71" fmla="*/ 229 h 524"/>
              <a:gd name="T72" fmla="*/ 126 w 578"/>
              <a:gd name="T73" fmla="*/ 168 h 524"/>
              <a:gd name="T74" fmla="*/ 77 w 578"/>
              <a:gd name="T75" fmla="*/ 154 h 524"/>
              <a:gd name="T76" fmla="*/ 51 w 578"/>
              <a:gd name="T77" fmla="*/ 157 h 524"/>
              <a:gd name="T78" fmla="*/ 15 w 578"/>
              <a:gd name="T79" fmla="*/ 165 h 524"/>
              <a:gd name="T80" fmla="*/ 3 w 578"/>
              <a:gd name="T81" fmla="*/ 133 h 524"/>
              <a:gd name="T82" fmla="*/ 1 w 578"/>
              <a:gd name="T83" fmla="*/ 93 h 524"/>
              <a:gd name="T84" fmla="*/ 6 w 578"/>
              <a:gd name="T85" fmla="*/ 49 h 524"/>
              <a:gd name="T86" fmla="*/ 45 w 578"/>
              <a:gd name="T87" fmla="*/ 41 h 524"/>
              <a:gd name="T88" fmla="*/ 68 w 578"/>
              <a:gd name="T89" fmla="*/ 33 h 524"/>
              <a:gd name="T90" fmla="*/ 83 w 578"/>
              <a:gd name="T91" fmla="*/ 48 h 524"/>
              <a:gd name="T92" fmla="*/ 104 w 578"/>
              <a:gd name="T93" fmla="*/ 44 h 524"/>
              <a:gd name="T94" fmla="*/ 149 w 578"/>
              <a:gd name="T95" fmla="*/ 16 h 524"/>
              <a:gd name="T96" fmla="*/ 239 w 578"/>
              <a:gd name="T97" fmla="*/ 0 h 524"/>
              <a:gd name="T98" fmla="*/ 257 w 578"/>
              <a:gd name="T99" fmla="*/ 13 h 524"/>
              <a:gd name="T100" fmla="*/ 332 w 578"/>
              <a:gd name="T101" fmla="*/ 19 h 524"/>
              <a:gd name="T102" fmla="*/ 322 w 578"/>
              <a:gd name="T103" fmla="*/ 65 h 524"/>
              <a:gd name="T104" fmla="*/ 325 w 578"/>
              <a:gd name="T105" fmla="*/ 9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000" b="1" dirty="0"/>
          </a:p>
        </p:txBody>
      </p:sp>
      <p:sp>
        <p:nvSpPr>
          <p:cNvPr id="119" name="Freeform 18">
            <a:extLst>
              <a:ext uri="{FF2B5EF4-FFF2-40B4-BE49-F238E27FC236}">
                <a16:creationId xmlns="" xmlns:a16="http://schemas.microsoft.com/office/drawing/2014/main" id="{E65B5A90-BFC5-4853-A5E3-56B8667B6A52}"/>
              </a:ext>
            </a:extLst>
          </p:cNvPr>
          <p:cNvSpPr>
            <a:spLocks/>
          </p:cNvSpPr>
          <p:nvPr>
            <p:custDataLst>
              <p:tags r:id="rId15"/>
            </p:custDataLst>
          </p:nvPr>
        </p:nvSpPr>
        <p:spPr bwMode="auto">
          <a:xfrm>
            <a:off x="4276047" y="3109139"/>
            <a:ext cx="40611" cy="85330"/>
          </a:xfrm>
          <a:custGeom>
            <a:avLst/>
            <a:gdLst>
              <a:gd name="T0" fmla="*/ 0 w 79"/>
              <a:gd name="T1" fmla="*/ 37 h 160"/>
              <a:gd name="T2" fmla="*/ 6 w 79"/>
              <a:gd name="T3" fmla="*/ 37 h 160"/>
              <a:gd name="T4" fmla="*/ 11 w 79"/>
              <a:gd name="T5" fmla="*/ 36 h 160"/>
              <a:gd name="T6" fmla="*/ 16 w 79"/>
              <a:gd name="T7" fmla="*/ 35 h 160"/>
              <a:gd name="T8" fmla="*/ 19 w 79"/>
              <a:gd name="T9" fmla="*/ 33 h 160"/>
              <a:gd name="T10" fmla="*/ 26 w 79"/>
              <a:gd name="T11" fmla="*/ 28 h 160"/>
              <a:gd name="T12" fmla="*/ 31 w 79"/>
              <a:gd name="T13" fmla="*/ 22 h 160"/>
              <a:gd name="T14" fmla="*/ 37 w 79"/>
              <a:gd name="T15" fmla="*/ 16 h 160"/>
              <a:gd name="T16" fmla="*/ 41 w 79"/>
              <a:gd name="T17" fmla="*/ 10 h 160"/>
              <a:gd name="T18" fmla="*/ 46 w 79"/>
              <a:gd name="T19" fmla="*/ 5 h 160"/>
              <a:gd name="T20" fmla="*/ 53 w 79"/>
              <a:gd name="T21" fmla="*/ 0 h 160"/>
              <a:gd name="T22" fmla="*/ 57 w 79"/>
              <a:gd name="T23" fmla="*/ 3 h 160"/>
              <a:gd name="T24" fmla="*/ 62 w 79"/>
              <a:gd name="T25" fmla="*/ 7 h 160"/>
              <a:gd name="T26" fmla="*/ 64 w 79"/>
              <a:gd name="T27" fmla="*/ 10 h 160"/>
              <a:gd name="T28" fmla="*/ 66 w 79"/>
              <a:gd name="T29" fmla="*/ 14 h 160"/>
              <a:gd name="T30" fmla="*/ 69 w 79"/>
              <a:gd name="T31" fmla="*/ 22 h 160"/>
              <a:gd name="T32" fmla="*/ 72 w 79"/>
              <a:gd name="T33" fmla="*/ 32 h 160"/>
              <a:gd name="T34" fmla="*/ 73 w 79"/>
              <a:gd name="T35" fmla="*/ 40 h 160"/>
              <a:gd name="T36" fmla="*/ 74 w 79"/>
              <a:gd name="T37" fmla="*/ 49 h 160"/>
              <a:gd name="T38" fmla="*/ 76 w 79"/>
              <a:gd name="T39" fmla="*/ 58 h 160"/>
              <a:gd name="T40" fmla="*/ 79 w 79"/>
              <a:gd name="T41" fmla="*/ 67 h 160"/>
              <a:gd name="T42" fmla="*/ 79 w 79"/>
              <a:gd name="T43" fmla="*/ 98 h 160"/>
              <a:gd name="T44" fmla="*/ 68 w 79"/>
              <a:gd name="T45" fmla="*/ 115 h 160"/>
              <a:gd name="T46" fmla="*/ 59 w 79"/>
              <a:gd name="T47" fmla="*/ 129 h 160"/>
              <a:gd name="T48" fmla="*/ 53 w 79"/>
              <a:gd name="T49" fmla="*/ 136 h 160"/>
              <a:gd name="T50" fmla="*/ 50 w 79"/>
              <a:gd name="T51" fmla="*/ 144 h 160"/>
              <a:gd name="T52" fmla="*/ 48 w 79"/>
              <a:gd name="T53" fmla="*/ 151 h 160"/>
              <a:gd name="T54" fmla="*/ 46 w 79"/>
              <a:gd name="T55" fmla="*/ 160 h 160"/>
              <a:gd name="T56" fmla="*/ 40 w 79"/>
              <a:gd name="T57" fmla="*/ 155 h 160"/>
              <a:gd name="T58" fmla="*/ 33 w 79"/>
              <a:gd name="T59" fmla="*/ 150 h 160"/>
              <a:gd name="T60" fmla="*/ 28 w 79"/>
              <a:gd name="T61" fmla="*/ 144 h 160"/>
              <a:gd name="T62" fmla="*/ 22 w 79"/>
              <a:gd name="T63" fmla="*/ 137 h 160"/>
              <a:gd name="T64" fmla="*/ 18 w 79"/>
              <a:gd name="T65" fmla="*/ 130 h 160"/>
              <a:gd name="T66" fmla="*/ 15 w 79"/>
              <a:gd name="T67" fmla="*/ 123 h 160"/>
              <a:gd name="T68" fmla="*/ 11 w 79"/>
              <a:gd name="T69" fmla="*/ 115 h 160"/>
              <a:gd name="T70" fmla="*/ 8 w 79"/>
              <a:gd name="T71" fmla="*/ 108 h 160"/>
              <a:gd name="T72" fmla="*/ 4 w 79"/>
              <a:gd name="T73" fmla="*/ 91 h 160"/>
              <a:gd name="T74" fmla="*/ 1 w 79"/>
              <a:gd name="T75" fmla="*/ 73 h 160"/>
              <a:gd name="T76" fmla="*/ 0 w 79"/>
              <a:gd name="T77" fmla="*/ 55 h 160"/>
              <a:gd name="T78" fmla="*/ 0 w 79"/>
              <a:gd name="T79"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grpSp>
        <p:nvGrpSpPr>
          <p:cNvPr id="131" name="Group 19">
            <a:extLst>
              <a:ext uri="{FF2B5EF4-FFF2-40B4-BE49-F238E27FC236}">
                <a16:creationId xmlns="" xmlns:a16="http://schemas.microsoft.com/office/drawing/2014/main" id="{982A95DB-74BB-43D5-BD17-661112E9556D}"/>
              </a:ext>
            </a:extLst>
          </p:cNvPr>
          <p:cNvGrpSpPr>
            <a:grpSpLocks/>
          </p:cNvGrpSpPr>
          <p:nvPr>
            <p:custDataLst>
              <p:tags r:id="rId16"/>
            </p:custDataLst>
          </p:nvPr>
        </p:nvGrpSpPr>
        <p:grpSpPr bwMode="auto">
          <a:xfrm>
            <a:off x="7101407" y="4205311"/>
            <a:ext cx="576288" cy="219891"/>
            <a:chOff x="4488" y="2394"/>
            <a:chExt cx="358" cy="124"/>
          </a:xfrm>
        </p:grpSpPr>
        <p:sp>
          <p:nvSpPr>
            <p:cNvPr id="677" name="Freeform 20">
              <a:extLst>
                <a:ext uri="{FF2B5EF4-FFF2-40B4-BE49-F238E27FC236}">
                  <a16:creationId xmlns="" xmlns:a16="http://schemas.microsoft.com/office/drawing/2014/main" id="{78162C3A-3912-484A-95CF-50825131FA8E}"/>
                </a:ext>
              </a:extLst>
            </p:cNvPr>
            <p:cNvSpPr>
              <a:spLocks/>
            </p:cNvSpPr>
            <p:nvPr/>
          </p:nvSpPr>
          <p:spPr bwMode="auto">
            <a:xfrm>
              <a:off x="4675" y="2394"/>
              <a:ext cx="171" cy="124"/>
            </a:xfrm>
            <a:custGeom>
              <a:avLst/>
              <a:gdLst>
                <a:gd name="T0" fmla="*/ 424 w 512"/>
                <a:gd name="T1" fmla="*/ 198 h 408"/>
                <a:gd name="T2" fmla="*/ 387 w 512"/>
                <a:gd name="T3" fmla="*/ 193 h 408"/>
                <a:gd name="T4" fmla="*/ 367 w 512"/>
                <a:gd name="T5" fmla="*/ 203 h 408"/>
                <a:gd name="T6" fmla="*/ 354 w 512"/>
                <a:gd name="T7" fmla="*/ 217 h 408"/>
                <a:gd name="T8" fmla="*/ 347 w 512"/>
                <a:gd name="T9" fmla="*/ 254 h 408"/>
                <a:gd name="T10" fmla="*/ 327 w 512"/>
                <a:gd name="T11" fmla="*/ 306 h 408"/>
                <a:gd name="T12" fmla="*/ 305 w 512"/>
                <a:gd name="T13" fmla="*/ 335 h 408"/>
                <a:gd name="T14" fmla="*/ 289 w 512"/>
                <a:gd name="T15" fmla="*/ 350 h 408"/>
                <a:gd name="T16" fmla="*/ 271 w 512"/>
                <a:gd name="T17" fmla="*/ 359 h 408"/>
                <a:gd name="T18" fmla="*/ 256 w 512"/>
                <a:gd name="T19" fmla="*/ 368 h 408"/>
                <a:gd name="T20" fmla="*/ 253 w 512"/>
                <a:gd name="T21" fmla="*/ 376 h 408"/>
                <a:gd name="T22" fmla="*/ 215 w 512"/>
                <a:gd name="T23" fmla="*/ 370 h 408"/>
                <a:gd name="T24" fmla="*/ 183 w 512"/>
                <a:gd name="T25" fmla="*/ 367 h 408"/>
                <a:gd name="T26" fmla="*/ 155 w 512"/>
                <a:gd name="T27" fmla="*/ 373 h 408"/>
                <a:gd name="T28" fmla="*/ 138 w 512"/>
                <a:gd name="T29" fmla="*/ 388 h 408"/>
                <a:gd name="T30" fmla="*/ 97 w 512"/>
                <a:gd name="T31" fmla="*/ 405 h 408"/>
                <a:gd name="T32" fmla="*/ 62 w 512"/>
                <a:gd name="T33" fmla="*/ 407 h 408"/>
                <a:gd name="T34" fmla="*/ 45 w 512"/>
                <a:gd name="T35" fmla="*/ 400 h 408"/>
                <a:gd name="T36" fmla="*/ 15 w 512"/>
                <a:gd name="T37" fmla="*/ 368 h 408"/>
                <a:gd name="T38" fmla="*/ 2 w 512"/>
                <a:gd name="T39" fmla="*/ 344 h 408"/>
                <a:gd name="T40" fmla="*/ 8 w 512"/>
                <a:gd name="T41" fmla="*/ 335 h 408"/>
                <a:gd name="T42" fmla="*/ 34 w 512"/>
                <a:gd name="T43" fmla="*/ 344 h 408"/>
                <a:gd name="T44" fmla="*/ 53 w 512"/>
                <a:gd name="T45" fmla="*/ 336 h 408"/>
                <a:gd name="T46" fmla="*/ 56 w 512"/>
                <a:gd name="T47" fmla="*/ 314 h 408"/>
                <a:gd name="T48" fmla="*/ 71 w 512"/>
                <a:gd name="T49" fmla="*/ 300 h 408"/>
                <a:gd name="T50" fmla="*/ 82 w 512"/>
                <a:gd name="T51" fmla="*/ 286 h 408"/>
                <a:gd name="T52" fmla="*/ 89 w 512"/>
                <a:gd name="T53" fmla="*/ 272 h 408"/>
                <a:gd name="T54" fmla="*/ 101 w 512"/>
                <a:gd name="T55" fmla="*/ 262 h 408"/>
                <a:gd name="T56" fmla="*/ 137 w 512"/>
                <a:gd name="T57" fmla="*/ 246 h 408"/>
                <a:gd name="T58" fmla="*/ 175 w 512"/>
                <a:gd name="T59" fmla="*/ 232 h 408"/>
                <a:gd name="T60" fmla="*/ 202 w 512"/>
                <a:gd name="T61" fmla="*/ 217 h 408"/>
                <a:gd name="T62" fmla="*/ 213 w 512"/>
                <a:gd name="T63" fmla="*/ 205 h 408"/>
                <a:gd name="T64" fmla="*/ 219 w 512"/>
                <a:gd name="T65" fmla="*/ 191 h 408"/>
                <a:gd name="T66" fmla="*/ 227 w 512"/>
                <a:gd name="T67" fmla="*/ 161 h 408"/>
                <a:gd name="T68" fmla="*/ 229 w 512"/>
                <a:gd name="T69" fmla="*/ 149 h 408"/>
                <a:gd name="T70" fmla="*/ 231 w 512"/>
                <a:gd name="T71" fmla="*/ 152 h 408"/>
                <a:gd name="T72" fmla="*/ 239 w 512"/>
                <a:gd name="T73" fmla="*/ 143 h 408"/>
                <a:gd name="T74" fmla="*/ 237 w 512"/>
                <a:gd name="T75" fmla="*/ 155 h 408"/>
                <a:gd name="T76" fmla="*/ 240 w 512"/>
                <a:gd name="T77" fmla="*/ 174 h 408"/>
                <a:gd name="T78" fmla="*/ 251 w 512"/>
                <a:gd name="T79" fmla="*/ 193 h 408"/>
                <a:gd name="T80" fmla="*/ 272 w 512"/>
                <a:gd name="T81" fmla="*/ 205 h 408"/>
                <a:gd name="T82" fmla="*/ 306 w 512"/>
                <a:gd name="T83" fmla="*/ 204 h 408"/>
                <a:gd name="T84" fmla="*/ 320 w 512"/>
                <a:gd name="T85" fmla="*/ 205 h 408"/>
                <a:gd name="T86" fmla="*/ 327 w 512"/>
                <a:gd name="T87" fmla="*/ 198 h 408"/>
                <a:gd name="T88" fmla="*/ 324 w 512"/>
                <a:gd name="T89" fmla="*/ 176 h 408"/>
                <a:gd name="T90" fmla="*/ 299 w 512"/>
                <a:gd name="T91" fmla="*/ 130 h 408"/>
                <a:gd name="T92" fmla="*/ 319 w 512"/>
                <a:gd name="T93" fmla="*/ 109 h 408"/>
                <a:gd name="T94" fmla="*/ 344 w 512"/>
                <a:gd name="T95" fmla="*/ 66 h 408"/>
                <a:gd name="T96" fmla="*/ 374 w 512"/>
                <a:gd name="T97" fmla="*/ 22 h 408"/>
                <a:gd name="T98" fmla="*/ 399 w 512"/>
                <a:gd name="T99" fmla="*/ 0 h 408"/>
                <a:gd name="T100" fmla="*/ 401 w 512"/>
                <a:gd name="T101" fmla="*/ 23 h 408"/>
                <a:gd name="T102" fmla="*/ 413 w 512"/>
                <a:gd name="T103" fmla="*/ 50 h 408"/>
                <a:gd name="T104" fmla="*/ 439 w 512"/>
                <a:gd name="T105" fmla="*/ 75 h 408"/>
                <a:gd name="T106" fmla="*/ 486 w 512"/>
                <a:gd name="T107" fmla="*/ 106 h 408"/>
                <a:gd name="T108" fmla="*/ 508 w 512"/>
                <a:gd name="T109" fmla="*/ 132 h 408"/>
                <a:gd name="T110" fmla="*/ 499 w 512"/>
                <a:gd name="T111" fmla="*/ 149 h 408"/>
                <a:gd name="T112" fmla="*/ 478 w 512"/>
                <a:gd name="T113" fmla="*/ 152 h 408"/>
                <a:gd name="T114" fmla="*/ 458 w 512"/>
                <a:gd name="T115" fmla="*/ 18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678" name="Freeform 21">
              <a:extLst>
                <a:ext uri="{FF2B5EF4-FFF2-40B4-BE49-F238E27FC236}">
                  <a16:creationId xmlns="" xmlns:a16="http://schemas.microsoft.com/office/drawing/2014/main" id="{BB35D6B8-C0CC-468E-9DCC-EC33B366B14B}"/>
                </a:ext>
              </a:extLst>
            </p:cNvPr>
            <p:cNvSpPr>
              <a:spLocks/>
            </p:cNvSpPr>
            <p:nvPr/>
          </p:nvSpPr>
          <p:spPr bwMode="auto">
            <a:xfrm>
              <a:off x="4488" y="2420"/>
              <a:ext cx="77" cy="89"/>
            </a:xfrm>
            <a:custGeom>
              <a:avLst/>
              <a:gdLst>
                <a:gd name="T0" fmla="*/ 151 w 232"/>
                <a:gd name="T1" fmla="*/ 24 h 289"/>
                <a:gd name="T2" fmla="*/ 165 w 232"/>
                <a:gd name="T3" fmla="*/ 48 h 289"/>
                <a:gd name="T4" fmla="*/ 174 w 232"/>
                <a:gd name="T5" fmla="*/ 56 h 289"/>
                <a:gd name="T6" fmla="*/ 181 w 232"/>
                <a:gd name="T7" fmla="*/ 60 h 289"/>
                <a:gd name="T8" fmla="*/ 186 w 232"/>
                <a:gd name="T9" fmla="*/ 166 h 289"/>
                <a:gd name="T10" fmla="*/ 189 w 232"/>
                <a:gd name="T11" fmla="*/ 196 h 289"/>
                <a:gd name="T12" fmla="*/ 193 w 232"/>
                <a:gd name="T13" fmla="*/ 207 h 289"/>
                <a:gd name="T14" fmla="*/ 199 w 232"/>
                <a:gd name="T15" fmla="*/ 216 h 289"/>
                <a:gd name="T16" fmla="*/ 232 w 232"/>
                <a:gd name="T17" fmla="*/ 246 h 289"/>
                <a:gd name="T18" fmla="*/ 219 w 232"/>
                <a:gd name="T19" fmla="*/ 288 h 289"/>
                <a:gd name="T20" fmla="*/ 186 w 232"/>
                <a:gd name="T21" fmla="*/ 282 h 289"/>
                <a:gd name="T22" fmla="*/ 151 w 232"/>
                <a:gd name="T23" fmla="*/ 264 h 289"/>
                <a:gd name="T24" fmla="*/ 113 w 232"/>
                <a:gd name="T25" fmla="*/ 235 h 289"/>
                <a:gd name="T26" fmla="*/ 81 w 232"/>
                <a:gd name="T27" fmla="*/ 207 h 289"/>
                <a:gd name="T28" fmla="*/ 56 w 232"/>
                <a:gd name="T29" fmla="*/ 176 h 289"/>
                <a:gd name="T30" fmla="*/ 31 w 232"/>
                <a:gd name="T31" fmla="*/ 145 h 289"/>
                <a:gd name="T32" fmla="*/ 9 w 232"/>
                <a:gd name="T33" fmla="*/ 126 h 289"/>
                <a:gd name="T34" fmla="*/ 2 w 232"/>
                <a:gd name="T35" fmla="*/ 117 h 289"/>
                <a:gd name="T36" fmla="*/ 0 w 232"/>
                <a:gd name="T37" fmla="*/ 109 h 289"/>
                <a:gd name="T38" fmla="*/ 0 w 232"/>
                <a:gd name="T39" fmla="*/ 100 h 289"/>
                <a:gd name="T40" fmla="*/ 3 w 232"/>
                <a:gd name="T41" fmla="*/ 92 h 289"/>
                <a:gd name="T42" fmla="*/ 11 w 232"/>
                <a:gd name="T43" fmla="*/ 79 h 289"/>
                <a:gd name="T44" fmla="*/ 12 w 232"/>
                <a:gd name="T45" fmla="*/ 52 h 289"/>
                <a:gd name="T46" fmla="*/ 7 w 232"/>
                <a:gd name="T47" fmla="*/ 15 h 289"/>
                <a:gd name="T48" fmla="*/ 13 w 232"/>
                <a:gd name="T49" fmla="*/ 0 h 289"/>
                <a:gd name="T50" fmla="*/ 26 w 232"/>
                <a:gd name="T51" fmla="*/ 3 h 289"/>
                <a:gd name="T52" fmla="*/ 42 w 232"/>
                <a:gd name="T53" fmla="*/ 10 h 289"/>
                <a:gd name="T54" fmla="*/ 59 w 232"/>
                <a:gd name="T55" fmla="*/ 21 h 289"/>
                <a:gd name="T56" fmla="*/ 73 w 232"/>
                <a:gd name="T57" fmla="*/ 28 h 289"/>
                <a:gd name="T58" fmla="*/ 81 w 232"/>
                <a:gd name="T59" fmla="*/ 31 h 289"/>
                <a:gd name="T60" fmla="*/ 91 w 232"/>
                <a:gd name="T61" fmla="*/ 31 h 289"/>
                <a:gd name="T62" fmla="*/ 105 w 232"/>
                <a:gd name="T63" fmla="*/ 26 h 289"/>
                <a:gd name="T64" fmla="*/ 120 w 232"/>
                <a:gd name="T65" fmla="*/ 19 h 289"/>
                <a:gd name="T66" fmla="*/ 133 w 232"/>
                <a:gd name="T67" fmla="*/ 1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grpSp>
      <p:sp>
        <p:nvSpPr>
          <p:cNvPr id="132" name="Freeform 22">
            <a:extLst>
              <a:ext uri="{FF2B5EF4-FFF2-40B4-BE49-F238E27FC236}">
                <a16:creationId xmlns="" xmlns:a16="http://schemas.microsoft.com/office/drawing/2014/main" id="{03CAB744-F2F0-4F07-877F-B9CB1B6C2613}"/>
              </a:ext>
            </a:extLst>
          </p:cNvPr>
          <p:cNvSpPr>
            <a:spLocks/>
          </p:cNvSpPr>
          <p:nvPr>
            <p:custDataLst>
              <p:tags r:id="rId17"/>
            </p:custDataLst>
          </p:nvPr>
        </p:nvSpPr>
        <p:spPr bwMode="auto">
          <a:xfrm>
            <a:off x="4691827" y="2009685"/>
            <a:ext cx="3734268" cy="1110940"/>
          </a:xfrm>
          <a:custGeom>
            <a:avLst/>
            <a:gdLst>
              <a:gd name="T0" fmla="*/ 725 w 7049"/>
              <a:gd name="T1" fmla="*/ 1733 h 2048"/>
              <a:gd name="T2" fmla="*/ 1070 w 7049"/>
              <a:gd name="T3" fmla="*/ 1937 h 2048"/>
              <a:gd name="T4" fmla="*/ 1212 w 7049"/>
              <a:gd name="T5" fmla="*/ 1814 h 2048"/>
              <a:gd name="T6" fmla="*/ 1674 w 7049"/>
              <a:gd name="T7" fmla="*/ 1469 h 2048"/>
              <a:gd name="T8" fmla="*/ 2618 w 7049"/>
              <a:gd name="T9" fmla="*/ 1315 h 2048"/>
              <a:gd name="T10" fmla="*/ 3350 w 7049"/>
              <a:gd name="T11" fmla="*/ 1494 h 2048"/>
              <a:gd name="T12" fmla="*/ 3676 w 7049"/>
              <a:gd name="T13" fmla="*/ 1438 h 2048"/>
              <a:gd name="T14" fmla="*/ 4136 w 7049"/>
              <a:gd name="T15" fmla="*/ 1492 h 2048"/>
              <a:gd name="T16" fmla="*/ 4577 w 7049"/>
              <a:gd name="T17" fmla="*/ 1509 h 2048"/>
              <a:gd name="T18" fmla="*/ 4759 w 7049"/>
              <a:gd name="T19" fmla="*/ 1372 h 2048"/>
              <a:gd name="T20" fmla="*/ 5156 w 7049"/>
              <a:gd name="T21" fmla="*/ 1476 h 2048"/>
              <a:gd name="T22" fmla="*/ 5614 w 7049"/>
              <a:gd name="T23" fmla="*/ 1598 h 2048"/>
              <a:gd name="T24" fmla="*/ 5604 w 7049"/>
              <a:gd name="T25" fmla="*/ 1844 h 2048"/>
              <a:gd name="T26" fmla="*/ 5853 w 7049"/>
              <a:gd name="T27" fmla="*/ 1612 h 2048"/>
              <a:gd name="T28" fmla="*/ 5570 w 7049"/>
              <a:gd name="T29" fmla="*/ 1256 h 2048"/>
              <a:gd name="T30" fmla="*/ 5331 w 7049"/>
              <a:gd name="T31" fmla="*/ 1147 h 2048"/>
              <a:gd name="T32" fmla="*/ 5857 w 7049"/>
              <a:gd name="T33" fmla="*/ 982 h 2048"/>
              <a:gd name="T34" fmla="*/ 5974 w 7049"/>
              <a:gd name="T35" fmla="*/ 822 h 2048"/>
              <a:gd name="T36" fmla="*/ 6132 w 7049"/>
              <a:gd name="T37" fmla="*/ 761 h 2048"/>
              <a:gd name="T38" fmla="*/ 6195 w 7049"/>
              <a:gd name="T39" fmla="*/ 974 h 2048"/>
              <a:gd name="T40" fmla="*/ 6352 w 7049"/>
              <a:gd name="T41" fmla="*/ 1251 h 2048"/>
              <a:gd name="T42" fmla="*/ 6575 w 7049"/>
              <a:gd name="T43" fmla="*/ 1410 h 2048"/>
              <a:gd name="T44" fmla="*/ 6566 w 7049"/>
              <a:gd name="T45" fmla="*/ 1214 h 2048"/>
              <a:gd name="T46" fmla="*/ 6373 w 7049"/>
              <a:gd name="T47" fmla="*/ 1037 h 2048"/>
              <a:gd name="T48" fmla="*/ 6547 w 7049"/>
              <a:gd name="T49" fmla="*/ 885 h 2048"/>
              <a:gd name="T50" fmla="*/ 6801 w 7049"/>
              <a:gd name="T51" fmla="*/ 784 h 2048"/>
              <a:gd name="T52" fmla="*/ 6628 w 7049"/>
              <a:gd name="T53" fmla="*/ 618 h 2048"/>
              <a:gd name="T54" fmla="*/ 6799 w 7049"/>
              <a:gd name="T55" fmla="*/ 636 h 2048"/>
              <a:gd name="T56" fmla="*/ 6861 w 7049"/>
              <a:gd name="T57" fmla="*/ 543 h 2048"/>
              <a:gd name="T58" fmla="*/ 6500 w 7049"/>
              <a:gd name="T59" fmla="*/ 462 h 2048"/>
              <a:gd name="T60" fmla="*/ 5843 w 7049"/>
              <a:gd name="T61" fmla="*/ 410 h 2048"/>
              <a:gd name="T62" fmla="*/ 5693 w 7049"/>
              <a:gd name="T63" fmla="*/ 415 h 2048"/>
              <a:gd name="T64" fmla="*/ 4991 w 7049"/>
              <a:gd name="T65" fmla="*/ 351 h 2048"/>
              <a:gd name="T66" fmla="*/ 4728 w 7049"/>
              <a:gd name="T67" fmla="*/ 290 h 2048"/>
              <a:gd name="T68" fmla="*/ 4412 w 7049"/>
              <a:gd name="T69" fmla="*/ 290 h 2048"/>
              <a:gd name="T70" fmla="*/ 4009 w 7049"/>
              <a:gd name="T71" fmla="*/ 318 h 2048"/>
              <a:gd name="T72" fmla="*/ 3574 w 7049"/>
              <a:gd name="T73" fmla="*/ 261 h 2048"/>
              <a:gd name="T74" fmla="*/ 3290 w 7049"/>
              <a:gd name="T75" fmla="*/ 244 h 2048"/>
              <a:gd name="T76" fmla="*/ 3008 w 7049"/>
              <a:gd name="T77" fmla="*/ 235 h 2048"/>
              <a:gd name="T78" fmla="*/ 2724 w 7049"/>
              <a:gd name="T79" fmla="*/ 58 h 2048"/>
              <a:gd name="T80" fmla="*/ 2617 w 7049"/>
              <a:gd name="T81" fmla="*/ 140 h 2048"/>
              <a:gd name="T82" fmla="*/ 2134 w 7049"/>
              <a:gd name="T83" fmla="*/ 167 h 2048"/>
              <a:gd name="T84" fmla="*/ 2159 w 7049"/>
              <a:gd name="T85" fmla="*/ 200 h 2048"/>
              <a:gd name="T86" fmla="*/ 2198 w 7049"/>
              <a:gd name="T87" fmla="*/ 342 h 2048"/>
              <a:gd name="T88" fmla="*/ 1933 w 7049"/>
              <a:gd name="T89" fmla="*/ 256 h 2048"/>
              <a:gd name="T90" fmla="*/ 1787 w 7049"/>
              <a:gd name="T91" fmla="*/ 273 h 2048"/>
              <a:gd name="T92" fmla="*/ 1917 w 7049"/>
              <a:gd name="T93" fmla="*/ 446 h 2048"/>
              <a:gd name="T94" fmla="*/ 2076 w 7049"/>
              <a:gd name="T95" fmla="*/ 529 h 2048"/>
              <a:gd name="T96" fmla="*/ 1883 w 7049"/>
              <a:gd name="T97" fmla="*/ 593 h 2048"/>
              <a:gd name="T98" fmla="*/ 1832 w 7049"/>
              <a:gd name="T99" fmla="*/ 464 h 2048"/>
              <a:gd name="T100" fmla="*/ 1621 w 7049"/>
              <a:gd name="T101" fmla="*/ 231 h 2048"/>
              <a:gd name="T102" fmla="*/ 1623 w 7049"/>
              <a:gd name="T103" fmla="*/ 451 h 2048"/>
              <a:gd name="T104" fmla="*/ 1238 w 7049"/>
              <a:gd name="T105" fmla="*/ 397 h 2048"/>
              <a:gd name="T106" fmla="*/ 1198 w 7049"/>
              <a:gd name="T107" fmla="*/ 477 h 2048"/>
              <a:gd name="T108" fmla="*/ 908 w 7049"/>
              <a:gd name="T109" fmla="*/ 500 h 2048"/>
              <a:gd name="T110" fmla="*/ 692 w 7049"/>
              <a:gd name="T111" fmla="*/ 483 h 2048"/>
              <a:gd name="T112" fmla="*/ 602 w 7049"/>
              <a:gd name="T113" fmla="*/ 585 h 2048"/>
              <a:gd name="T114" fmla="*/ 407 w 7049"/>
              <a:gd name="T115" fmla="*/ 739 h 2048"/>
              <a:gd name="T116" fmla="*/ 390 w 7049"/>
              <a:gd name="T117" fmla="*/ 612 h 2048"/>
              <a:gd name="T118" fmla="*/ 150 w 7049"/>
              <a:gd name="T119" fmla="*/ 440 h 2048"/>
              <a:gd name="T120" fmla="*/ 71 w 7049"/>
              <a:gd name="T121" fmla="*/ 605 h 2048"/>
              <a:gd name="T122" fmla="*/ 112 w 7049"/>
              <a:gd name="T123" fmla="*/ 958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133" name="Freeform 23">
            <a:extLst>
              <a:ext uri="{FF2B5EF4-FFF2-40B4-BE49-F238E27FC236}">
                <a16:creationId xmlns="" xmlns:a16="http://schemas.microsoft.com/office/drawing/2014/main" id="{5BD33B9C-7DB7-44ED-8FAF-BE6E4F3A1C45}"/>
              </a:ext>
            </a:extLst>
          </p:cNvPr>
          <p:cNvSpPr>
            <a:spLocks/>
          </p:cNvSpPr>
          <p:nvPr>
            <p:custDataLst>
              <p:tags r:id="rId18"/>
            </p:custDataLst>
          </p:nvPr>
        </p:nvSpPr>
        <p:spPr bwMode="auto">
          <a:xfrm>
            <a:off x="3841602" y="3030372"/>
            <a:ext cx="342291" cy="255992"/>
          </a:xfrm>
          <a:custGeom>
            <a:avLst/>
            <a:gdLst>
              <a:gd name="T0" fmla="*/ 406 w 647"/>
              <a:gd name="T1" fmla="*/ 27 h 470"/>
              <a:gd name="T2" fmla="*/ 428 w 647"/>
              <a:gd name="T3" fmla="*/ 45 h 470"/>
              <a:gd name="T4" fmla="*/ 458 w 647"/>
              <a:gd name="T5" fmla="*/ 60 h 470"/>
              <a:gd name="T6" fmla="*/ 512 w 647"/>
              <a:gd name="T7" fmla="*/ 78 h 470"/>
              <a:gd name="T8" fmla="*/ 538 w 647"/>
              <a:gd name="T9" fmla="*/ 81 h 470"/>
              <a:gd name="T10" fmla="*/ 562 w 647"/>
              <a:gd name="T11" fmla="*/ 99 h 470"/>
              <a:gd name="T12" fmla="*/ 567 w 647"/>
              <a:gd name="T13" fmla="*/ 97 h 470"/>
              <a:gd name="T14" fmla="*/ 575 w 647"/>
              <a:gd name="T15" fmla="*/ 85 h 470"/>
              <a:gd name="T16" fmla="*/ 583 w 647"/>
              <a:gd name="T17" fmla="*/ 78 h 470"/>
              <a:gd name="T18" fmla="*/ 603 w 647"/>
              <a:gd name="T19" fmla="*/ 80 h 470"/>
              <a:gd name="T20" fmla="*/ 624 w 647"/>
              <a:gd name="T21" fmla="*/ 79 h 470"/>
              <a:gd name="T22" fmla="*/ 640 w 647"/>
              <a:gd name="T23" fmla="*/ 84 h 470"/>
              <a:gd name="T24" fmla="*/ 646 w 647"/>
              <a:gd name="T25" fmla="*/ 103 h 470"/>
              <a:gd name="T26" fmla="*/ 646 w 647"/>
              <a:gd name="T27" fmla="*/ 123 h 470"/>
              <a:gd name="T28" fmla="*/ 618 w 647"/>
              <a:gd name="T29" fmla="*/ 131 h 470"/>
              <a:gd name="T30" fmla="*/ 586 w 647"/>
              <a:gd name="T31" fmla="*/ 146 h 470"/>
              <a:gd name="T32" fmla="*/ 560 w 647"/>
              <a:gd name="T33" fmla="*/ 165 h 470"/>
              <a:gd name="T34" fmla="*/ 504 w 647"/>
              <a:gd name="T35" fmla="*/ 214 h 470"/>
              <a:gd name="T36" fmla="*/ 489 w 647"/>
              <a:gd name="T37" fmla="*/ 227 h 470"/>
              <a:gd name="T38" fmla="*/ 474 w 647"/>
              <a:gd name="T39" fmla="*/ 254 h 470"/>
              <a:gd name="T40" fmla="*/ 473 w 647"/>
              <a:gd name="T41" fmla="*/ 282 h 470"/>
              <a:gd name="T42" fmla="*/ 473 w 647"/>
              <a:gd name="T43" fmla="*/ 311 h 470"/>
              <a:gd name="T44" fmla="*/ 463 w 647"/>
              <a:gd name="T45" fmla="*/ 340 h 470"/>
              <a:gd name="T46" fmla="*/ 450 w 647"/>
              <a:gd name="T47" fmla="*/ 354 h 470"/>
              <a:gd name="T48" fmla="*/ 411 w 647"/>
              <a:gd name="T49" fmla="*/ 384 h 470"/>
              <a:gd name="T50" fmla="*/ 383 w 647"/>
              <a:gd name="T51" fmla="*/ 411 h 470"/>
              <a:gd name="T52" fmla="*/ 374 w 647"/>
              <a:gd name="T53" fmla="*/ 425 h 470"/>
              <a:gd name="T54" fmla="*/ 369 w 647"/>
              <a:gd name="T55" fmla="*/ 432 h 470"/>
              <a:gd name="T56" fmla="*/ 310 w 647"/>
              <a:gd name="T57" fmla="*/ 429 h 470"/>
              <a:gd name="T58" fmla="*/ 257 w 647"/>
              <a:gd name="T59" fmla="*/ 434 h 470"/>
              <a:gd name="T60" fmla="*/ 224 w 647"/>
              <a:gd name="T61" fmla="*/ 446 h 470"/>
              <a:gd name="T62" fmla="*/ 193 w 647"/>
              <a:gd name="T63" fmla="*/ 467 h 470"/>
              <a:gd name="T64" fmla="*/ 179 w 647"/>
              <a:gd name="T65" fmla="*/ 469 h 470"/>
              <a:gd name="T66" fmla="*/ 169 w 647"/>
              <a:gd name="T67" fmla="*/ 461 h 470"/>
              <a:gd name="T68" fmla="*/ 153 w 647"/>
              <a:gd name="T69" fmla="*/ 432 h 470"/>
              <a:gd name="T70" fmla="*/ 140 w 647"/>
              <a:gd name="T71" fmla="*/ 414 h 470"/>
              <a:gd name="T72" fmla="*/ 122 w 647"/>
              <a:gd name="T73" fmla="*/ 400 h 470"/>
              <a:gd name="T74" fmla="*/ 114 w 647"/>
              <a:gd name="T75" fmla="*/ 379 h 470"/>
              <a:gd name="T76" fmla="*/ 126 w 647"/>
              <a:gd name="T77" fmla="*/ 336 h 470"/>
              <a:gd name="T78" fmla="*/ 127 w 647"/>
              <a:gd name="T79" fmla="*/ 267 h 470"/>
              <a:gd name="T80" fmla="*/ 147 w 647"/>
              <a:gd name="T81" fmla="*/ 206 h 470"/>
              <a:gd name="T82" fmla="*/ 168 w 647"/>
              <a:gd name="T83" fmla="*/ 149 h 470"/>
              <a:gd name="T84" fmla="*/ 172 w 647"/>
              <a:gd name="T85" fmla="*/ 131 h 470"/>
              <a:gd name="T86" fmla="*/ 116 w 647"/>
              <a:gd name="T87" fmla="*/ 123 h 470"/>
              <a:gd name="T88" fmla="*/ 62 w 647"/>
              <a:gd name="T89" fmla="*/ 109 h 470"/>
              <a:gd name="T90" fmla="*/ 17 w 647"/>
              <a:gd name="T91" fmla="*/ 93 h 470"/>
              <a:gd name="T92" fmla="*/ 0 w 647"/>
              <a:gd name="T93" fmla="*/ 38 h 470"/>
              <a:gd name="T94" fmla="*/ 23 w 647"/>
              <a:gd name="T95" fmla="*/ 34 h 470"/>
              <a:gd name="T96" fmla="*/ 51 w 647"/>
              <a:gd name="T97" fmla="*/ 20 h 470"/>
              <a:gd name="T98" fmla="*/ 73 w 647"/>
              <a:gd name="T99" fmla="*/ 4 h 470"/>
              <a:gd name="T100" fmla="*/ 86 w 647"/>
              <a:gd name="T101" fmla="*/ 0 h 470"/>
              <a:gd name="T102" fmla="*/ 132 w 647"/>
              <a:gd name="T103" fmla="*/ 7 h 470"/>
              <a:gd name="T104" fmla="*/ 171 w 647"/>
              <a:gd name="T105" fmla="*/ 17 h 470"/>
              <a:gd name="T106" fmla="*/ 209 w 647"/>
              <a:gd name="T107" fmla="*/ 20 h 470"/>
              <a:gd name="T108" fmla="*/ 235 w 647"/>
              <a:gd name="T109" fmla="*/ 29 h 470"/>
              <a:gd name="T110" fmla="*/ 258 w 647"/>
              <a:gd name="T111" fmla="*/ 37 h 470"/>
              <a:gd name="T112" fmla="*/ 385 w 647"/>
              <a:gd name="T113" fmla="*/ 2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000" b="1" dirty="0"/>
          </a:p>
        </p:txBody>
      </p:sp>
      <p:sp>
        <p:nvSpPr>
          <p:cNvPr id="135" name="Freeform 24">
            <a:extLst>
              <a:ext uri="{FF2B5EF4-FFF2-40B4-BE49-F238E27FC236}">
                <a16:creationId xmlns="" xmlns:a16="http://schemas.microsoft.com/office/drawing/2014/main" id="{E5B76AF9-EE04-49ED-A6D7-A1ED18846F9C}"/>
              </a:ext>
            </a:extLst>
          </p:cNvPr>
          <p:cNvSpPr>
            <a:spLocks/>
          </p:cNvSpPr>
          <p:nvPr>
            <p:custDataLst>
              <p:tags r:id="rId19"/>
            </p:custDataLst>
          </p:nvPr>
        </p:nvSpPr>
        <p:spPr bwMode="auto">
          <a:xfrm>
            <a:off x="7000846" y="3793425"/>
            <a:ext cx="253334" cy="470960"/>
          </a:xfrm>
          <a:custGeom>
            <a:avLst/>
            <a:gdLst>
              <a:gd name="T0" fmla="*/ 379 w 479"/>
              <a:gd name="T1" fmla="*/ 357 h 868"/>
              <a:gd name="T2" fmla="*/ 333 w 479"/>
              <a:gd name="T3" fmla="*/ 370 h 868"/>
              <a:gd name="T4" fmla="*/ 314 w 479"/>
              <a:gd name="T5" fmla="*/ 390 h 868"/>
              <a:gd name="T6" fmla="*/ 316 w 479"/>
              <a:gd name="T7" fmla="*/ 428 h 868"/>
              <a:gd name="T8" fmla="*/ 352 w 479"/>
              <a:gd name="T9" fmla="*/ 492 h 868"/>
              <a:gd name="T10" fmla="*/ 359 w 479"/>
              <a:gd name="T11" fmla="*/ 530 h 868"/>
              <a:gd name="T12" fmla="*/ 366 w 479"/>
              <a:gd name="T13" fmla="*/ 555 h 868"/>
              <a:gd name="T14" fmla="*/ 323 w 479"/>
              <a:gd name="T15" fmla="*/ 526 h 868"/>
              <a:gd name="T16" fmla="*/ 309 w 479"/>
              <a:gd name="T17" fmla="*/ 492 h 868"/>
              <a:gd name="T18" fmla="*/ 269 w 479"/>
              <a:gd name="T19" fmla="*/ 467 h 868"/>
              <a:gd name="T20" fmla="*/ 210 w 479"/>
              <a:gd name="T21" fmla="*/ 439 h 868"/>
              <a:gd name="T22" fmla="*/ 193 w 479"/>
              <a:gd name="T23" fmla="*/ 406 h 868"/>
              <a:gd name="T24" fmla="*/ 156 w 479"/>
              <a:gd name="T25" fmla="*/ 477 h 868"/>
              <a:gd name="T26" fmla="*/ 156 w 479"/>
              <a:gd name="T27" fmla="*/ 524 h 868"/>
              <a:gd name="T28" fmla="*/ 132 w 479"/>
              <a:gd name="T29" fmla="*/ 575 h 868"/>
              <a:gd name="T30" fmla="*/ 128 w 479"/>
              <a:gd name="T31" fmla="*/ 621 h 868"/>
              <a:gd name="T32" fmla="*/ 154 w 479"/>
              <a:gd name="T33" fmla="*/ 650 h 868"/>
              <a:gd name="T34" fmla="*/ 175 w 479"/>
              <a:gd name="T35" fmla="*/ 685 h 868"/>
              <a:gd name="T36" fmla="*/ 185 w 479"/>
              <a:gd name="T37" fmla="*/ 730 h 868"/>
              <a:gd name="T38" fmla="*/ 226 w 479"/>
              <a:gd name="T39" fmla="*/ 780 h 868"/>
              <a:gd name="T40" fmla="*/ 281 w 479"/>
              <a:gd name="T41" fmla="*/ 825 h 868"/>
              <a:gd name="T42" fmla="*/ 340 w 479"/>
              <a:gd name="T43" fmla="*/ 850 h 868"/>
              <a:gd name="T44" fmla="*/ 298 w 479"/>
              <a:gd name="T45" fmla="*/ 867 h 868"/>
              <a:gd name="T46" fmla="*/ 269 w 479"/>
              <a:gd name="T47" fmla="*/ 864 h 868"/>
              <a:gd name="T48" fmla="*/ 229 w 479"/>
              <a:gd name="T49" fmla="*/ 841 h 868"/>
              <a:gd name="T50" fmla="*/ 200 w 479"/>
              <a:gd name="T51" fmla="*/ 823 h 868"/>
              <a:gd name="T52" fmla="*/ 137 w 479"/>
              <a:gd name="T53" fmla="*/ 759 h 868"/>
              <a:gd name="T54" fmla="*/ 83 w 479"/>
              <a:gd name="T55" fmla="*/ 730 h 868"/>
              <a:gd name="T56" fmla="*/ 74 w 479"/>
              <a:gd name="T57" fmla="*/ 688 h 868"/>
              <a:gd name="T58" fmla="*/ 80 w 479"/>
              <a:gd name="T59" fmla="*/ 653 h 868"/>
              <a:gd name="T60" fmla="*/ 88 w 479"/>
              <a:gd name="T61" fmla="*/ 617 h 868"/>
              <a:gd name="T62" fmla="*/ 120 w 479"/>
              <a:gd name="T63" fmla="*/ 498 h 868"/>
              <a:gd name="T64" fmla="*/ 108 w 479"/>
              <a:gd name="T65" fmla="*/ 404 h 868"/>
              <a:gd name="T66" fmla="*/ 62 w 479"/>
              <a:gd name="T67" fmla="*/ 319 h 868"/>
              <a:gd name="T68" fmla="*/ 64 w 479"/>
              <a:gd name="T69" fmla="*/ 285 h 868"/>
              <a:gd name="T70" fmla="*/ 74 w 479"/>
              <a:gd name="T71" fmla="*/ 265 h 868"/>
              <a:gd name="T72" fmla="*/ 56 w 479"/>
              <a:gd name="T73" fmla="*/ 202 h 868"/>
              <a:gd name="T74" fmla="*/ 23 w 479"/>
              <a:gd name="T75" fmla="*/ 158 h 868"/>
              <a:gd name="T76" fmla="*/ 1 w 479"/>
              <a:gd name="T77" fmla="*/ 102 h 868"/>
              <a:gd name="T78" fmla="*/ 11 w 479"/>
              <a:gd name="T79" fmla="*/ 44 h 868"/>
              <a:gd name="T80" fmla="*/ 49 w 479"/>
              <a:gd name="T81" fmla="*/ 16 h 868"/>
              <a:gd name="T82" fmla="*/ 120 w 479"/>
              <a:gd name="T83" fmla="*/ 0 h 868"/>
              <a:gd name="T84" fmla="*/ 156 w 479"/>
              <a:gd name="T85" fmla="*/ 28 h 868"/>
              <a:gd name="T86" fmla="*/ 179 w 479"/>
              <a:gd name="T87" fmla="*/ 36 h 868"/>
              <a:gd name="T88" fmla="*/ 197 w 479"/>
              <a:gd name="T89" fmla="*/ 136 h 868"/>
              <a:gd name="T90" fmla="*/ 213 w 479"/>
              <a:gd name="T91" fmla="*/ 166 h 868"/>
              <a:gd name="T92" fmla="*/ 231 w 479"/>
              <a:gd name="T93" fmla="*/ 155 h 868"/>
              <a:gd name="T94" fmla="*/ 258 w 479"/>
              <a:gd name="T95" fmla="*/ 126 h 868"/>
              <a:gd name="T96" fmla="*/ 281 w 479"/>
              <a:gd name="T97" fmla="*/ 141 h 868"/>
              <a:gd name="T98" fmla="*/ 298 w 479"/>
              <a:gd name="T99" fmla="*/ 136 h 868"/>
              <a:gd name="T100" fmla="*/ 316 w 479"/>
              <a:gd name="T101" fmla="*/ 108 h 868"/>
              <a:gd name="T102" fmla="*/ 346 w 479"/>
              <a:gd name="T103" fmla="*/ 108 h 868"/>
              <a:gd name="T104" fmla="*/ 387 w 479"/>
              <a:gd name="T105" fmla="*/ 157 h 868"/>
              <a:gd name="T106" fmla="*/ 454 w 479"/>
              <a:gd name="T107" fmla="*/ 246 h 868"/>
              <a:gd name="T108" fmla="*/ 478 w 479"/>
              <a:gd name="T109" fmla="*/ 307 h 868"/>
              <a:gd name="T110" fmla="*/ 468 w 479"/>
              <a:gd name="T111" fmla="*/ 33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36" name="Freeform 25">
            <a:extLst>
              <a:ext uri="{FF2B5EF4-FFF2-40B4-BE49-F238E27FC236}">
                <a16:creationId xmlns="" xmlns:a16="http://schemas.microsoft.com/office/drawing/2014/main" id="{35B6C050-2BED-4879-BFA2-C10F4137D1F9}"/>
              </a:ext>
            </a:extLst>
          </p:cNvPr>
          <p:cNvSpPr>
            <a:spLocks/>
          </p:cNvSpPr>
          <p:nvPr>
            <p:custDataLst>
              <p:tags r:id="rId20"/>
            </p:custDataLst>
          </p:nvPr>
        </p:nvSpPr>
        <p:spPr bwMode="auto">
          <a:xfrm>
            <a:off x="2260974" y="6261451"/>
            <a:ext cx="29009" cy="59076"/>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37" name="Line 26" descr="Horizontal dunkel">
            <a:extLst>
              <a:ext uri="{FF2B5EF4-FFF2-40B4-BE49-F238E27FC236}">
                <a16:creationId xmlns="" xmlns:a16="http://schemas.microsoft.com/office/drawing/2014/main" id="{A23E49DF-E132-411F-87D2-8BEC44C65B58}"/>
              </a:ext>
            </a:extLst>
          </p:cNvPr>
          <p:cNvSpPr>
            <a:spLocks noChangeShapeType="1"/>
          </p:cNvSpPr>
          <p:nvPr>
            <p:custDataLst>
              <p:tags r:id="rId21"/>
            </p:custDataLst>
          </p:nvPr>
        </p:nvSpPr>
        <p:spPr bwMode="auto">
          <a:xfrm>
            <a:off x="387071" y="3079601"/>
            <a:ext cx="3867" cy="9846"/>
          </a:xfrm>
          <a:prstGeom prst="line">
            <a:avLst/>
          </a:prstGeom>
          <a:noFill/>
          <a:ln w="9525">
            <a:solidFill>
              <a:srgbClr val="FFFFFF"/>
            </a:solidFill>
            <a:round/>
            <a:headEnd/>
            <a:tailEnd/>
          </a:ln>
        </p:spPr>
        <p:txBody>
          <a:bodyPr/>
          <a:lstStyle/>
          <a:p>
            <a:endParaRPr lang="en-GB" dirty="0"/>
          </a:p>
        </p:txBody>
      </p:sp>
      <p:sp>
        <p:nvSpPr>
          <p:cNvPr id="151" name="Freeform 27">
            <a:extLst>
              <a:ext uri="{FF2B5EF4-FFF2-40B4-BE49-F238E27FC236}">
                <a16:creationId xmlns="" xmlns:a16="http://schemas.microsoft.com/office/drawing/2014/main" id="{A676A0C9-066A-45CD-A1E3-75219BE58960}"/>
              </a:ext>
            </a:extLst>
          </p:cNvPr>
          <p:cNvSpPr>
            <a:spLocks/>
          </p:cNvSpPr>
          <p:nvPr>
            <p:custDataLst>
              <p:tags r:id="rId22"/>
            </p:custDataLst>
          </p:nvPr>
        </p:nvSpPr>
        <p:spPr bwMode="auto">
          <a:xfrm>
            <a:off x="390939" y="3076319"/>
            <a:ext cx="3867" cy="57434"/>
          </a:xfrm>
          <a:custGeom>
            <a:avLst/>
            <a:gdLst>
              <a:gd name="T0" fmla="*/ 0 w 6"/>
              <a:gd name="T1" fmla="*/ 24 h 24"/>
              <a:gd name="T2" fmla="*/ 0 w 6"/>
              <a:gd name="T3" fmla="*/ 19 h 24"/>
              <a:gd name="T4" fmla="*/ 1 w 6"/>
              <a:gd name="T5" fmla="*/ 14 h 24"/>
              <a:gd name="T6" fmla="*/ 3 w 6"/>
              <a:gd name="T7" fmla="*/ 8 h 24"/>
              <a:gd name="T8" fmla="*/ 6 w 6"/>
              <a:gd name="T9" fmla="*/ 0 h 24"/>
            </a:gdLst>
            <a:ahLst/>
            <a:cxnLst>
              <a:cxn ang="0">
                <a:pos x="T0" y="T1"/>
              </a:cxn>
              <a:cxn ang="0">
                <a:pos x="T2" y="T3"/>
              </a:cxn>
              <a:cxn ang="0">
                <a:pos x="T4" y="T5"/>
              </a:cxn>
              <a:cxn ang="0">
                <a:pos x="T6" y="T7"/>
              </a:cxn>
              <a:cxn ang="0">
                <a:pos x="T8" y="T9"/>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52" name="Freeform 29">
            <a:extLst>
              <a:ext uri="{FF2B5EF4-FFF2-40B4-BE49-F238E27FC236}">
                <a16:creationId xmlns="" xmlns:a16="http://schemas.microsoft.com/office/drawing/2014/main" id="{8CA6CABF-9FA0-46C8-97A9-023AF4A43447}"/>
              </a:ext>
            </a:extLst>
          </p:cNvPr>
          <p:cNvSpPr>
            <a:spLocks/>
          </p:cNvSpPr>
          <p:nvPr>
            <p:custDataLst>
              <p:tags r:id="rId23"/>
            </p:custDataLst>
          </p:nvPr>
        </p:nvSpPr>
        <p:spPr bwMode="auto">
          <a:xfrm>
            <a:off x="1976698" y="3127189"/>
            <a:ext cx="59948" cy="59076"/>
          </a:xfrm>
          <a:custGeom>
            <a:avLst/>
            <a:gdLst>
              <a:gd name="T0" fmla="*/ 0 w 112"/>
              <a:gd name="T1" fmla="*/ 36 h 36"/>
              <a:gd name="T2" fmla="*/ 59 w 112"/>
              <a:gd name="T3" fmla="*/ 36 h 36"/>
              <a:gd name="T4" fmla="*/ 67 w 112"/>
              <a:gd name="T5" fmla="*/ 30 h 36"/>
              <a:gd name="T6" fmla="*/ 75 w 112"/>
              <a:gd name="T7" fmla="*/ 26 h 36"/>
              <a:gd name="T8" fmla="*/ 84 w 112"/>
              <a:gd name="T9" fmla="*/ 23 h 36"/>
              <a:gd name="T10" fmla="*/ 91 w 112"/>
              <a:gd name="T11" fmla="*/ 20 h 36"/>
              <a:gd name="T12" fmla="*/ 98 w 112"/>
              <a:gd name="T13" fmla="*/ 17 h 36"/>
              <a:gd name="T14" fmla="*/ 104 w 112"/>
              <a:gd name="T15" fmla="*/ 13 h 36"/>
              <a:gd name="T16" fmla="*/ 107 w 112"/>
              <a:gd name="T17" fmla="*/ 11 h 36"/>
              <a:gd name="T18" fmla="*/ 109 w 112"/>
              <a:gd name="T19" fmla="*/ 8 h 36"/>
              <a:gd name="T20" fmla="*/ 111 w 112"/>
              <a:gd name="T21" fmla="*/ 4 h 36"/>
              <a:gd name="T22" fmla="*/ 112 w 112"/>
              <a:gd name="T23" fmla="*/ 0 h 36"/>
              <a:gd name="T24" fmla="*/ 100 w 112"/>
              <a:gd name="T25" fmla="*/ 0 h 36"/>
              <a:gd name="T26" fmla="*/ 85 w 112"/>
              <a:gd name="T27" fmla="*/ 1 h 36"/>
              <a:gd name="T28" fmla="*/ 67 w 112"/>
              <a:gd name="T29" fmla="*/ 3 h 36"/>
              <a:gd name="T30" fmla="*/ 48 w 112"/>
              <a:gd name="T31" fmla="*/ 7 h 36"/>
              <a:gd name="T32" fmla="*/ 40 w 112"/>
              <a:gd name="T33" fmla="*/ 9 h 36"/>
              <a:gd name="T34" fmla="*/ 31 w 112"/>
              <a:gd name="T35" fmla="*/ 11 h 36"/>
              <a:gd name="T36" fmla="*/ 23 w 112"/>
              <a:gd name="T37" fmla="*/ 14 h 36"/>
              <a:gd name="T38" fmla="*/ 17 w 112"/>
              <a:gd name="T39" fmla="*/ 18 h 36"/>
              <a:gd name="T40" fmla="*/ 10 w 112"/>
              <a:gd name="T41" fmla="*/ 22 h 36"/>
              <a:gd name="T42" fmla="*/ 6 w 112"/>
              <a:gd name="T43" fmla="*/ 26 h 36"/>
              <a:gd name="T44" fmla="*/ 1 w 112"/>
              <a:gd name="T45" fmla="*/ 31 h 36"/>
              <a:gd name="T46" fmla="*/ 0 w 112"/>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53" name="Freeform 30">
            <a:extLst>
              <a:ext uri="{FF2B5EF4-FFF2-40B4-BE49-F238E27FC236}">
                <a16:creationId xmlns="" xmlns:a16="http://schemas.microsoft.com/office/drawing/2014/main" id="{4082AED8-37DB-432F-B831-D58534742C0A}"/>
              </a:ext>
            </a:extLst>
          </p:cNvPr>
          <p:cNvSpPr>
            <a:spLocks/>
          </p:cNvSpPr>
          <p:nvPr>
            <p:custDataLst>
              <p:tags r:id="rId24"/>
            </p:custDataLst>
          </p:nvPr>
        </p:nvSpPr>
        <p:spPr bwMode="auto">
          <a:xfrm>
            <a:off x="6716780" y="2680079"/>
            <a:ext cx="1065553" cy="467678"/>
          </a:xfrm>
          <a:custGeom>
            <a:avLst/>
            <a:gdLst>
              <a:gd name="T0" fmla="*/ 433 w 2006"/>
              <a:gd name="T1" fmla="*/ 765 h 863"/>
              <a:gd name="T2" fmla="*/ 412 w 2006"/>
              <a:gd name="T3" fmla="*/ 764 h 863"/>
              <a:gd name="T4" fmla="*/ 390 w 2006"/>
              <a:gd name="T5" fmla="*/ 794 h 863"/>
              <a:gd name="T6" fmla="*/ 375 w 2006"/>
              <a:gd name="T7" fmla="*/ 792 h 863"/>
              <a:gd name="T8" fmla="*/ 370 w 2006"/>
              <a:gd name="T9" fmla="*/ 751 h 863"/>
              <a:gd name="T10" fmla="*/ 324 w 2006"/>
              <a:gd name="T11" fmla="*/ 724 h 863"/>
              <a:gd name="T12" fmla="*/ 312 w 2006"/>
              <a:gd name="T13" fmla="*/ 708 h 863"/>
              <a:gd name="T14" fmla="*/ 288 w 2006"/>
              <a:gd name="T15" fmla="*/ 692 h 863"/>
              <a:gd name="T16" fmla="*/ 251 w 2006"/>
              <a:gd name="T17" fmla="*/ 641 h 863"/>
              <a:gd name="T18" fmla="*/ 232 w 2006"/>
              <a:gd name="T19" fmla="*/ 610 h 863"/>
              <a:gd name="T20" fmla="*/ 253 w 2006"/>
              <a:gd name="T21" fmla="*/ 594 h 863"/>
              <a:gd name="T22" fmla="*/ 279 w 2006"/>
              <a:gd name="T23" fmla="*/ 573 h 863"/>
              <a:gd name="T24" fmla="*/ 338 w 2006"/>
              <a:gd name="T25" fmla="*/ 544 h 863"/>
              <a:gd name="T26" fmla="*/ 319 w 2006"/>
              <a:gd name="T27" fmla="*/ 487 h 863"/>
              <a:gd name="T28" fmla="*/ 258 w 2006"/>
              <a:gd name="T29" fmla="*/ 475 h 863"/>
              <a:gd name="T30" fmla="*/ 209 w 2006"/>
              <a:gd name="T31" fmla="*/ 470 h 863"/>
              <a:gd name="T32" fmla="*/ 157 w 2006"/>
              <a:gd name="T33" fmla="*/ 495 h 863"/>
              <a:gd name="T34" fmla="*/ 106 w 2006"/>
              <a:gd name="T35" fmla="*/ 505 h 863"/>
              <a:gd name="T36" fmla="*/ 27 w 2006"/>
              <a:gd name="T37" fmla="*/ 413 h 863"/>
              <a:gd name="T38" fmla="*/ 20 w 2006"/>
              <a:gd name="T39" fmla="*/ 283 h 863"/>
              <a:gd name="T40" fmla="*/ 113 w 2006"/>
              <a:gd name="T41" fmla="*/ 259 h 863"/>
              <a:gd name="T42" fmla="*/ 292 w 2006"/>
              <a:gd name="T43" fmla="*/ 222 h 863"/>
              <a:gd name="T44" fmla="*/ 498 w 2006"/>
              <a:gd name="T45" fmla="*/ 253 h 863"/>
              <a:gd name="T46" fmla="*/ 717 w 2006"/>
              <a:gd name="T47" fmla="*/ 253 h 863"/>
              <a:gd name="T48" fmla="*/ 658 w 2006"/>
              <a:gd name="T49" fmla="*/ 185 h 863"/>
              <a:gd name="T50" fmla="*/ 830 w 2006"/>
              <a:gd name="T51" fmla="*/ 68 h 863"/>
              <a:gd name="T52" fmla="*/ 1050 w 2006"/>
              <a:gd name="T53" fmla="*/ 13 h 863"/>
              <a:gd name="T54" fmla="*/ 1176 w 2006"/>
              <a:gd name="T55" fmla="*/ 61 h 863"/>
              <a:gd name="T56" fmla="*/ 1296 w 2006"/>
              <a:gd name="T57" fmla="*/ 111 h 863"/>
              <a:gd name="T58" fmla="*/ 1442 w 2006"/>
              <a:gd name="T59" fmla="*/ 99 h 863"/>
              <a:gd name="T60" fmla="*/ 1647 w 2006"/>
              <a:gd name="T61" fmla="*/ 271 h 863"/>
              <a:gd name="T62" fmla="*/ 1793 w 2006"/>
              <a:gd name="T63" fmla="*/ 265 h 863"/>
              <a:gd name="T64" fmla="*/ 2000 w 2006"/>
              <a:gd name="T65" fmla="*/ 339 h 863"/>
              <a:gd name="T66" fmla="*/ 2002 w 2006"/>
              <a:gd name="T67" fmla="*/ 381 h 863"/>
              <a:gd name="T68" fmla="*/ 1981 w 2006"/>
              <a:gd name="T69" fmla="*/ 399 h 863"/>
              <a:gd name="T70" fmla="*/ 1960 w 2006"/>
              <a:gd name="T71" fmla="*/ 404 h 863"/>
              <a:gd name="T72" fmla="*/ 1963 w 2006"/>
              <a:gd name="T73" fmla="*/ 425 h 863"/>
              <a:gd name="T74" fmla="*/ 1985 w 2006"/>
              <a:gd name="T75" fmla="*/ 466 h 863"/>
              <a:gd name="T76" fmla="*/ 1979 w 2006"/>
              <a:gd name="T77" fmla="*/ 478 h 863"/>
              <a:gd name="T78" fmla="*/ 1939 w 2006"/>
              <a:gd name="T79" fmla="*/ 481 h 863"/>
              <a:gd name="T80" fmla="*/ 1893 w 2006"/>
              <a:gd name="T81" fmla="*/ 474 h 863"/>
              <a:gd name="T82" fmla="*/ 1864 w 2006"/>
              <a:gd name="T83" fmla="*/ 474 h 863"/>
              <a:gd name="T84" fmla="*/ 1878 w 2006"/>
              <a:gd name="T85" fmla="*/ 548 h 863"/>
              <a:gd name="T86" fmla="*/ 1880 w 2006"/>
              <a:gd name="T87" fmla="*/ 586 h 863"/>
              <a:gd name="T88" fmla="*/ 1789 w 2006"/>
              <a:gd name="T89" fmla="*/ 588 h 863"/>
              <a:gd name="T90" fmla="*/ 1768 w 2006"/>
              <a:gd name="T91" fmla="*/ 604 h 863"/>
              <a:gd name="T92" fmla="*/ 1795 w 2006"/>
              <a:gd name="T93" fmla="*/ 619 h 863"/>
              <a:gd name="T94" fmla="*/ 1814 w 2006"/>
              <a:gd name="T95" fmla="*/ 650 h 863"/>
              <a:gd name="T96" fmla="*/ 1834 w 2006"/>
              <a:gd name="T97" fmla="*/ 689 h 863"/>
              <a:gd name="T98" fmla="*/ 1837 w 2006"/>
              <a:gd name="T99" fmla="*/ 706 h 863"/>
              <a:gd name="T100" fmla="*/ 1837 w 2006"/>
              <a:gd name="T101" fmla="*/ 754 h 863"/>
              <a:gd name="T102" fmla="*/ 1741 w 2006"/>
              <a:gd name="T103" fmla="*/ 740 h 863"/>
              <a:gd name="T104" fmla="*/ 1475 w 2006"/>
              <a:gd name="T105" fmla="*/ 764 h 863"/>
              <a:gd name="T106" fmla="*/ 1316 w 2006"/>
              <a:gd name="T107" fmla="*/ 795 h 863"/>
              <a:gd name="T108" fmla="*/ 1142 w 2006"/>
              <a:gd name="T109" fmla="*/ 838 h 863"/>
              <a:gd name="T110" fmla="*/ 963 w 2006"/>
              <a:gd name="T111" fmla="*/ 697 h 863"/>
              <a:gd name="T112" fmla="*/ 684 w 2006"/>
              <a:gd name="T113" fmla="*/ 586 h 863"/>
              <a:gd name="T114" fmla="*/ 584 w 2006"/>
              <a:gd name="T115" fmla="*/ 832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54" name="Freeform 31">
            <a:extLst>
              <a:ext uri="{FF2B5EF4-FFF2-40B4-BE49-F238E27FC236}">
                <a16:creationId xmlns="" xmlns:a16="http://schemas.microsoft.com/office/drawing/2014/main" id="{6B261CD2-C1E1-48B6-9B18-5ADB07CF4D3F}"/>
              </a:ext>
            </a:extLst>
          </p:cNvPr>
          <p:cNvSpPr>
            <a:spLocks/>
          </p:cNvSpPr>
          <p:nvPr>
            <p:custDataLst>
              <p:tags r:id="rId25"/>
            </p:custDataLst>
          </p:nvPr>
        </p:nvSpPr>
        <p:spPr bwMode="auto">
          <a:xfrm>
            <a:off x="5593002" y="2982783"/>
            <a:ext cx="498933" cy="257634"/>
          </a:xfrm>
          <a:custGeom>
            <a:avLst/>
            <a:gdLst>
              <a:gd name="T0" fmla="*/ 638 w 950"/>
              <a:gd name="T1" fmla="*/ 443 h 468"/>
              <a:gd name="T2" fmla="*/ 558 w 950"/>
              <a:gd name="T3" fmla="*/ 418 h 468"/>
              <a:gd name="T4" fmla="*/ 471 w 950"/>
              <a:gd name="T5" fmla="*/ 376 h 468"/>
              <a:gd name="T6" fmla="*/ 392 w 950"/>
              <a:gd name="T7" fmla="*/ 307 h 468"/>
              <a:gd name="T8" fmla="*/ 305 w 950"/>
              <a:gd name="T9" fmla="*/ 258 h 468"/>
              <a:gd name="T10" fmla="*/ 253 w 950"/>
              <a:gd name="T11" fmla="*/ 209 h 468"/>
              <a:gd name="T12" fmla="*/ 186 w 950"/>
              <a:gd name="T13" fmla="*/ 172 h 468"/>
              <a:gd name="T14" fmla="*/ 133 w 950"/>
              <a:gd name="T15" fmla="*/ 190 h 468"/>
              <a:gd name="T16" fmla="*/ 99 w 950"/>
              <a:gd name="T17" fmla="*/ 240 h 468"/>
              <a:gd name="T18" fmla="*/ 40 w 950"/>
              <a:gd name="T19" fmla="*/ 246 h 468"/>
              <a:gd name="T20" fmla="*/ 0 w 950"/>
              <a:gd name="T21" fmla="*/ 24 h 468"/>
              <a:gd name="T22" fmla="*/ 79 w 950"/>
              <a:gd name="T23" fmla="*/ 6 h 468"/>
              <a:gd name="T24" fmla="*/ 133 w 950"/>
              <a:gd name="T25" fmla="*/ 55 h 468"/>
              <a:gd name="T26" fmla="*/ 157 w 950"/>
              <a:gd name="T27" fmla="*/ 15 h 468"/>
              <a:gd name="T28" fmla="*/ 332 w 950"/>
              <a:gd name="T29" fmla="*/ 117 h 468"/>
              <a:gd name="T30" fmla="*/ 438 w 950"/>
              <a:gd name="T31" fmla="*/ 117 h 468"/>
              <a:gd name="T32" fmla="*/ 525 w 950"/>
              <a:gd name="T33" fmla="*/ 135 h 468"/>
              <a:gd name="T34" fmla="*/ 597 w 950"/>
              <a:gd name="T35" fmla="*/ 228 h 468"/>
              <a:gd name="T36" fmla="*/ 671 w 950"/>
              <a:gd name="T37" fmla="*/ 252 h 468"/>
              <a:gd name="T38" fmla="*/ 730 w 950"/>
              <a:gd name="T39" fmla="*/ 258 h 468"/>
              <a:gd name="T40" fmla="*/ 791 w 950"/>
              <a:gd name="T41" fmla="*/ 215 h 468"/>
              <a:gd name="T42" fmla="*/ 843 w 950"/>
              <a:gd name="T43" fmla="*/ 196 h 468"/>
              <a:gd name="T44" fmla="*/ 824 w 950"/>
              <a:gd name="T45" fmla="*/ 252 h 468"/>
              <a:gd name="T46" fmla="*/ 870 w 950"/>
              <a:gd name="T47" fmla="*/ 240 h 468"/>
              <a:gd name="T48" fmla="*/ 950 w 950"/>
              <a:gd name="T49" fmla="*/ 283 h 468"/>
              <a:gd name="T50" fmla="*/ 883 w 950"/>
              <a:gd name="T51" fmla="*/ 320 h 468"/>
              <a:gd name="T52" fmla="*/ 824 w 950"/>
              <a:gd name="T53" fmla="*/ 283 h 468"/>
              <a:gd name="T54" fmla="*/ 764 w 950"/>
              <a:gd name="T55" fmla="*/ 277 h 468"/>
              <a:gd name="T56" fmla="*/ 737 w 950"/>
              <a:gd name="T57" fmla="*/ 320 h 468"/>
              <a:gd name="T58" fmla="*/ 684 w 950"/>
              <a:gd name="T59" fmla="*/ 357 h 468"/>
              <a:gd name="T60" fmla="*/ 710 w 950"/>
              <a:gd name="T61" fmla="*/ 388 h 468"/>
              <a:gd name="T62" fmla="*/ 743 w 950"/>
              <a:gd name="T63" fmla="*/ 437 h 468"/>
              <a:gd name="T64" fmla="*/ 717 w 950"/>
              <a:gd name="T65" fmla="*/ 468 h 468"/>
              <a:gd name="T66" fmla="*/ 703 w 950"/>
              <a:gd name="T67" fmla="*/ 465 h 468"/>
              <a:gd name="T68" fmla="*/ 684 w 950"/>
              <a:gd name="T69" fmla="*/ 461 h 468"/>
              <a:gd name="T70" fmla="*/ 658 w 950"/>
              <a:gd name="T71" fmla="*/ 46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55" name="Freeform 32">
            <a:extLst>
              <a:ext uri="{FF2B5EF4-FFF2-40B4-BE49-F238E27FC236}">
                <a16:creationId xmlns="" xmlns:a16="http://schemas.microsoft.com/office/drawing/2014/main" id="{F5754723-C7A8-484E-8F04-27B20B63D65B}"/>
              </a:ext>
            </a:extLst>
          </p:cNvPr>
          <p:cNvSpPr>
            <a:spLocks/>
          </p:cNvSpPr>
          <p:nvPr>
            <p:custDataLst>
              <p:tags r:id="rId26"/>
            </p:custDataLst>
          </p:nvPr>
        </p:nvSpPr>
        <p:spPr bwMode="auto">
          <a:xfrm>
            <a:off x="4140678" y="4019880"/>
            <a:ext cx="361631" cy="298658"/>
          </a:xfrm>
          <a:custGeom>
            <a:avLst/>
            <a:gdLst>
              <a:gd name="T0" fmla="*/ 6 w 671"/>
              <a:gd name="T1" fmla="*/ 383 h 549"/>
              <a:gd name="T2" fmla="*/ 8 w 671"/>
              <a:gd name="T3" fmla="*/ 316 h 549"/>
              <a:gd name="T4" fmla="*/ 17 w 671"/>
              <a:gd name="T5" fmla="*/ 287 h 549"/>
              <a:gd name="T6" fmla="*/ 52 w 671"/>
              <a:gd name="T7" fmla="*/ 238 h 549"/>
              <a:gd name="T8" fmla="*/ 71 w 671"/>
              <a:gd name="T9" fmla="*/ 205 h 549"/>
              <a:gd name="T10" fmla="*/ 73 w 671"/>
              <a:gd name="T11" fmla="*/ 167 h 549"/>
              <a:gd name="T12" fmla="*/ 73 w 671"/>
              <a:gd name="T13" fmla="*/ 137 h 549"/>
              <a:gd name="T14" fmla="*/ 54 w 671"/>
              <a:gd name="T15" fmla="*/ 108 h 549"/>
              <a:gd name="T16" fmla="*/ 61 w 671"/>
              <a:gd name="T17" fmla="*/ 79 h 549"/>
              <a:gd name="T18" fmla="*/ 76 w 671"/>
              <a:gd name="T19" fmla="*/ 50 h 549"/>
              <a:gd name="T20" fmla="*/ 96 w 671"/>
              <a:gd name="T21" fmla="*/ 25 h 549"/>
              <a:gd name="T22" fmla="*/ 120 w 671"/>
              <a:gd name="T23" fmla="*/ 7 h 549"/>
              <a:gd name="T24" fmla="*/ 146 w 671"/>
              <a:gd name="T25" fmla="*/ 0 h 549"/>
              <a:gd name="T26" fmla="*/ 173 w 671"/>
              <a:gd name="T27" fmla="*/ 5 h 549"/>
              <a:gd name="T28" fmla="*/ 206 w 671"/>
              <a:gd name="T29" fmla="*/ 26 h 549"/>
              <a:gd name="T30" fmla="*/ 236 w 671"/>
              <a:gd name="T31" fmla="*/ 45 h 549"/>
              <a:gd name="T32" fmla="*/ 259 w 671"/>
              <a:gd name="T33" fmla="*/ 50 h 549"/>
              <a:gd name="T34" fmla="*/ 272 w 671"/>
              <a:gd name="T35" fmla="*/ 44 h 549"/>
              <a:gd name="T36" fmla="*/ 284 w 671"/>
              <a:gd name="T37" fmla="*/ 35 h 549"/>
              <a:gd name="T38" fmla="*/ 300 w 671"/>
              <a:gd name="T39" fmla="*/ 32 h 549"/>
              <a:gd name="T40" fmla="*/ 318 w 671"/>
              <a:gd name="T41" fmla="*/ 39 h 549"/>
              <a:gd name="T42" fmla="*/ 337 w 671"/>
              <a:gd name="T43" fmla="*/ 65 h 549"/>
              <a:gd name="T44" fmla="*/ 353 w 671"/>
              <a:gd name="T45" fmla="*/ 79 h 549"/>
              <a:gd name="T46" fmla="*/ 370 w 671"/>
              <a:gd name="T47" fmla="*/ 81 h 549"/>
              <a:gd name="T48" fmla="*/ 381 w 671"/>
              <a:gd name="T49" fmla="*/ 75 h 549"/>
              <a:gd name="T50" fmla="*/ 397 w 671"/>
              <a:gd name="T51" fmla="*/ 56 h 549"/>
              <a:gd name="T52" fmla="*/ 419 w 671"/>
              <a:gd name="T53" fmla="*/ 38 h 549"/>
              <a:gd name="T54" fmla="*/ 458 w 671"/>
              <a:gd name="T55" fmla="*/ 22 h 549"/>
              <a:gd name="T56" fmla="*/ 487 w 671"/>
              <a:gd name="T57" fmla="*/ 25 h 549"/>
              <a:gd name="T58" fmla="*/ 511 w 671"/>
              <a:gd name="T59" fmla="*/ 35 h 549"/>
              <a:gd name="T60" fmla="*/ 537 w 671"/>
              <a:gd name="T61" fmla="*/ 43 h 549"/>
              <a:gd name="T62" fmla="*/ 571 w 671"/>
              <a:gd name="T63" fmla="*/ 39 h 549"/>
              <a:gd name="T64" fmla="*/ 646 w 671"/>
              <a:gd name="T65" fmla="*/ 67 h 549"/>
              <a:gd name="T66" fmla="*/ 665 w 671"/>
              <a:gd name="T67" fmla="*/ 105 h 549"/>
              <a:gd name="T68" fmla="*/ 623 w 671"/>
              <a:gd name="T69" fmla="*/ 183 h 549"/>
              <a:gd name="T70" fmla="*/ 593 w 671"/>
              <a:gd name="T71" fmla="*/ 233 h 549"/>
              <a:gd name="T72" fmla="*/ 570 w 671"/>
              <a:gd name="T73" fmla="*/ 291 h 549"/>
              <a:gd name="T74" fmla="*/ 550 w 671"/>
              <a:gd name="T75" fmla="*/ 343 h 549"/>
              <a:gd name="T76" fmla="*/ 525 w 671"/>
              <a:gd name="T77" fmla="*/ 407 h 549"/>
              <a:gd name="T78" fmla="*/ 516 w 671"/>
              <a:gd name="T79" fmla="*/ 422 h 549"/>
              <a:gd name="T80" fmla="*/ 500 w 671"/>
              <a:gd name="T81" fmla="*/ 439 h 549"/>
              <a:gd name="T82" fmla="*/ 482 w 671"/>
              <a:gd name="T83" fmla="*/ 443 h 549"/>
              <a:gd name="T84" fmla="*/ 459 w 671"/>
              <a:gd name="T85" fmla="*/ 432 h 549"/>
              <a:gd name="T86" fmla="*/ 440 w 671"/>
              <a:gd name="T87" fmla="*/ 421 h 549"/>
              <a:gd name="T88" fmla="*/ 408 w 671"/>
              <a:gd name="T89" fmla="*/ 424 h 549"/>
              <a:gd name="T90" fmla="*/ 381 w 671"/>
              <a:gd name="T91" fmla="*/ 441 h 549"/>
              <a:gd name="T92" fmla="*/ 364 w 671"/>
              <a:gd name="T93" fmla="*/ 469 h 549"/>
              <a:gd name="T94" fmla="*/ 342 w 671"/>
              <a:gd name="T95" fmla="*/ 521 h 549"/>
              <a:gd name="T96" fmla="*/ 325 w 671"/>
              <a:gd name="T97" fmla="*/ 549 h 549"/>
              <a:gd name="T98" fmla="*/ 229 w 671"/>
              <a:gd name="T99" fmla="*/ 546 h 549"/>
              <a:gd name="T100" fmla="*/ 217 w 671"/>
              <a:gd name="T101" fmla="*/ 548 h 549"/>
              <a:gd name="T102" fmla="*/ 179 w 671"/>
              <a:gd name="T103" fmla="*/ 543 h 549"/>
              <a:gd name="T104" fmla="*/ 161 w 671"/>
              <a:gd name="T105" fmla="*/ 540 h 549"/>
              <a:gd name="T106" fmla="*/ 144 w 671"/>
              <a:gd name="T107" fmla="*/ 531 h 549"/>
              <a:gd name="T108" fmla="*/ 129 w 671"/>
              <a:gd name="T109" fmla="*/ 515 h 549"/>
              <a:gd name="T110" fmla="*/ 119 w 671"/>
              <a:gd name="T111" fmla="*/ 496 h 549"/>
              <a:gd name="T112" fmla="*/ 113 w 671"/>
              <a:gd name="T113" fmla="*/ 472 h 549"/>
              <a:gd name="T114" fmla="*/ 100 w 671"/>
              <a:gd name="T115" fmla="*/ 460 h 549"/>
              <a:gd name="T116" fmla="*/ 83 w 671"/>
              <a:gd name="T117" fmla="*/ 447 h 549"/>
              <a:gd name="T118" fmla="*/ 63 w 671"/>
              <a:gd name="T119" fmla="*/ 432 h 549"/>
              <a:gd name="T120" fmla="*/ 39 w 671"/>
              <a:gd name="T121" fmla="*/ 429 h 549"/>
              <a:gd name="T122" fmla="*/ 0 w 671"/>
              <a:gd name="T123" fmla="*/ 43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chemeClr val="accent2"/>
          </a:solidFill>
          <a:ln w="9525" cmpd="sng">
            <a:solidFill>
              <a:srgbClr val="FFFFFF"/>
            </a:solidFill>
            <a:prstDash val="solid"/>
            <a:round/>
            <a:headEnd/>
            <a:tailEnd/>
          </a:ln>
        </p:spPr>
        <p:txBody>
          <a:bodyPr/>
          <a:lstStyle/>
          <a:p>
            <a:endParaRPr lang="en-GB" dirty="0"/>
          </a:p>
        </p:txBody>
      </p:sp>
      <p:sp>
        <p:nvSpPr>
          <p:cNvPr id="156" name="Freeform 33">
            <a:extLst>
              <a:ext uri="{FF2B5EF4-FFF2-40B4-BE49-F238E27FC236}">
                <a16:creationId xmlns="" xmlns:a16="http://schemas.microsoft.com/office/drawing/2014/main" id="{369DF4E4-7A4D-4044-AD79-9EC90B347A0E}"/>
              </a:ext>
            </a:extLst>
          </p:cNvPr>
          <p:cNvSpPr>
            <a:spLocks/>
          </p:cNvSpPr>
          <p:nvPr>
            <p:custDataLst>
              <p:tags r:id="rId27"/>
            </p:custDataLst>
          </p:nvPr>
        </p:nvSpPr>
        <p:spPr bwMode="auto">
          <a:xfrm>
            <a:off x="5167554" y="3880397"/>
            <a:ext cx="185650" cy="175584"/>
          </a:xfrm>
          <a:custGeom>
            <a:avLst/>
            <a:gdLst>
              <a:gd name="T0" fmla="*/ 326 w 358"/>
              <a:gd name="T1" fmla="*/ 324 h 327"/>
              <a:gd name="T2" fmla="*/ 331 w 358"/>
              <a:gd name="T3" fmla="*/ 321 h 327"/>
              <a:gd name="T4" fmla="*/ 337 w 358"/>
              <a:gd name="T5" fmla="*/ 318 h 327"/>
              <a:gd name="T6" fmla="*/ 346 w 358"/>
              <a:gd name="T7" fmla="*/ 318 h 327"/>
              <a:gd name="T8" fmla="*/ 356 w 358"/>
              <a:gd name="T9" fmla="*/ 324 h 327"/>
              <a:gd name="T10" fmla="*/ 319 w 358"/>
              <a:gd name="T11" fmla="*/ 285 h 327"/>
              <a:gd name="T12" fmla="*/ 278 w 358"/>
              <a:gd name="T13" fmla="*/ 235 h 327"/>
              <a:gd name="T14" fmla="*/ 253 w 358"/>
              <a:gd name="T15" fmla="*/ 204 h 327"/>
              <a:gd name="T16" fmla="*/ 232 w 358"/>
              <a:gd name="T17" fmla="*/ 186 h 327"/>
              <a:gd name="T18" fmla="*/ 219 w 358"/>
              <a:gd name="T19" fmla="*/ 181 h 327"/>
              <a:gd name="T20" fmla="*/ 208 w 358"/>
              <a:gd name="T21" fmla="*/ 180 h 327"/>
              <a:gd name="T22" fmla="*/ 201 w 358"/>
              <a:gd name="T23" fmla="*/ 179 h 327"/>
              <a:gd name="T24" fmla="*/ 199 w 358"/>
              <a:gd name="T25" fmla="*/ 174 h 327"/>
              <a:gd name="T26" fmla="*/ 198 w 358"/>
              <a:gd name="T27" fmla="*/ 170 h 327"/>
              <a:gd name="T28" fmla="*/ 195 w 358"/>
              <a:gd name="T29" fmla="*/ 169 h 327"/>
              <a:gd name="T30" fmla="*/ 184 w 358"/>
              <a:gd name="T31" fmla="*/ 172 h 327"/>
              <a:gd name="T32" fmla="*/ 171 w 358"/>
              <a:gd name="T33" fmla="*/ 172 h 327"/>
              <a:gd name="T34" fmla="*/ 165 w 358"/>
              <a:gd name="T35" fmla="*/ 168 h 327"/>
              <a:gd name="T36" fmla="*/ 160 w 358"/>
              <a:gd name="T37" fmla="*/ 161 h 327"/>
              <a:gd name="T38" fmla="*/ 152 w 358"/>
              <a:gd name="T39" fmla="*/ 144 h 327"/>
              <a:gd name="T40" fmla="*/ 143 w 358"/>
              <a:gd name="T41" fmla="*/ 131 h 327"/>
              <a:gd name="T42" fmla="*/ 133 w 358"/>
              <a:gd name="T43" fmla="*/ 119 h 327"/>
              <a:gd name="T44" fmla="*/ 127 w 358"/>
              <a:gd name="T45" fmla="*/ 105 h 327"/>
              <a:gd name="T46" fmla="*/ 122 w 358"/>
              <a:gd name="T47" fmla="*/ 84 h 327"/>
              <a:gd name="T48" fmla="*/ 119 w 358"/>
              <a:gd name="T49" fmla="*/ 53 h 327"/>
              <a:gd name="T50" fmla="*/ 117 w 358"/>
              <a:gd name="T51" fmla="*/ 23 h 327"/>
              <a:gd name="T52" fmla="*/ 112 w 358"/>
              <a:gd name="T53" fmla="*/ 0 h 327"/>
              <a:gd name="T54" fmla="*/ 73 w 358"/>
              <a:gd name="T55" fmla="*/ 26 h 327"/>
              <a:gd name="T56" fmla="*/ 61 w 358"/>
              <a:gd name="T57" fmla="*/ 33 h 327"/>
              <a:gd name="T58" fmla="*/ 33 w 358"/>
              <a:gd name="T59" fmla="*/ 50 h 327"/>
              <a:gd name="T60" fmla="*/ 21 w 358"/>
              <a:gd name="T61" fmla="*/ 61 h 327"/>
              <a:gd name="T62" fmla="*/ 17 w 358"/>
              <a:gd name="T63" fmla="*/ 72 h 327"/>
              <a:gd name="T64" fmla="*/ 16 w 358"/>
              <a:gd name="T65" fmla="*/ 83 h 327"/>
              <a:gd name="T66" fmla="*/ 20 w 358"/>
              <a:gd name="T67" fmla="*/ 93 h 327"/>
              <a:gd name="T68" fmla="*/ 22 w 358"/>
              <a:gd name="T69" fmla="*/ 100 h 327"/>
              <a:gd name="T70" fmla="*/ 20 w 358"/>
              <a:gd name="T71" fmla="*/ 110 h 327"/>
              <a:gd name="T72" fmla="*/ 15 w 358"/>
              <a:gd name="T73" fmla="*/ 123 h 327"/>
              <a:gd name="T74" fmla="*/ 7 w 358"/>
              <a:gd name="T75" fmla="*/ 136 h 327"/>
              <a:gd name="T76" fmla="*/ 0 w 358"/>
              <a:gd name="T77" fmla="*/ 155 h 327"/>
              <a:gd name="T78" fmla="*/ 0 w 358"/>
              <a:gd name="T79" fmla="*/ 174 h 327"/>
              <a:gd name="T80" fmla="*/ 5 w 358"/>
              <a:gd name="T81" fmla="*/ 182 h 327"/>
              <a:gd name="T82" fmla="*/ 11 w 358"/>
              <a:gd name="T83" fmla="*/ 187 h 327"/>
              <a:gd name="T84" fmla="*/ 20 w 358"/>
              <a:gd name="T85" fmla="*/ 186 h 327"/>
              <a:gd name="T86" fmla="*/ 44 w 358"/>
              <a:gd name="T87" fmla="*/ 168 h 327"/>
              <a:gd name="T88" fmla="*/ 60 w 358"/>
              <a:gd name="T89" fmla="*/ 161 h 327"/>
              <a:gd name="T90" fmla="*/ 76 w 358"/>
              <a:gd name="T91" fmla="*/ 150 h 327"/>
              <a:gd name="T92" fmla="*/ 93 w 358"/>
              <a:gd name="T93" fmla="*/ 159 h 327"/>
              <a:gd name="T94" fmla="*/ 110 w 358"/>
              <a:gd name="T95" fmla="*/ 164 h 327"/>
              <a:gd name="T96" fmla="*/ 142 w 358"/>
              <a:gd name="T97" fmla="*/ 180 h 327"/>
              <a:gd name="T98" fmla="*/ 163 w 358"/>
              <a:gd name="T99" fmla="*/ 190 h 327"/>
              <a:gd name="T100" fmla="*/ 196 w 358"/>
              <a:gd name="T101" fmla="*/ 209 h 327"/>
              <a:gd name="T102" fmla="*/ 219 w 358"/>
              <a:gd name="T103" fmla="*/ 225 h 327"/>
              <a:gd name="T104" fmla="*/ 245 w 358"/>
              <a:gd name="T105" fmla="*/ 244 h 327"/>
              <a:gd name="T106" fmla="*/ 256 w 358"/>
              <a:gd name="T107" fmla="*/ 254 h 327"/>
              <a:gd name="T108" fmla="*/ 267 w 358"/>
              <a:gd name="T109" fmla="*/ 270 h 327"/>
              <a:gd name="T110" fmla="*/ 269 w 358"/>
              <a:gd name="T111" fmla="*/ 279 h 327"/>
              <a:gd name="T112" fmla="*/ 269 w 358"/>
              <a:gd name="T113" fmla="*/ 286 h 327"/>
              <a:gd name="T114" fmla="*/ 270 w 358"/>
              <a:gd name="T115" fmla="*/ 290 h 327"/>
              <a:gd name="T116" fmla="*/ 276 w 358"/>
              <a:gd name="T117" fmla="*/ 292 h 327"/>
              <a:gd name="T118" fmla="*/ 292 w 358"/>
              <a:gd name="T119" fmla="*/ 302 h 327"/>
              <a:gd name="T120" fmla="*/ 318 w 358"/>
              <a:gd name="T121" fmla="*/ 32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57" name="Freeform 34">
            <a:extLst>
              <a:ext uri="{FF2B5EF4-FFF2-40B4-BE49-F238E27FC236}">
                <a16:creationId xmlns="" xmlns:a16="http://schemas.microsoft.com/office/drawing/2014/main" id="{65A26DFF-4418-45DF-A7AC-B4E404021239}"/>
              </a:ext>
            </a:extLst>
          </p:cNvPr>
          <p:cNvSpPr>
            <a:spLocks/>
          </p:cNvSpPr>
          <p:nvPr>
            <p:custDataLst>
              <p:tags r:id="rId28"/>
            </p:custDataLst>
          </p:nvPr>
        </p:nvSpPr>
        <p:spPr bwMode="auto">
          <a:xfrm>
            <a:off x="4511977" y="2851505"/>
            <a:ext cx="152775" cy="59076"/>
          </a:xfrm>
          <a:custGeom>
            <a:avLst/>
            <a:gdLst>
              <a:gd name="T0" fmla="*/ 126 w 292"/>
              <a:gd name="T1" fmla="*/ 0 h 99"/>
              <a:gd name="T2" fmla="*/ 153 w 292"/>
              <a:gd name="T3" fmla="*/ 0 h 99"/>
              <a:gd name="T4" fmla="*/ 198 w 292"/>
              <a:gd name="T5" fmla="*/ 1 h 99"/>
              <a:gd name="T6" fmla="*/ 250 w 292"/>
              <a:gd name="T7" fmla="*/ 6 h 99"/>
              <a:gd name="T8" fmla="*/ 292 w 292"/>
              <a:gd name="T9" fmla="*/ 7 h 99"/>
              <a:gd name="T10" fmla="*/ 290 w 292"/>
              <a:gd name="T11" fmla="*/ 20 h 99"/>
              <a:gd name="T12" fmla="*/ 285 w 292"/>
              <a:gd name="T13" fmla="*/ 33 h 99"/>
              <a:gd name="T14" fmla="*/ 279 w 292"/>
              <a:gd name="T15" fmla="*/ 55 h 99"/>
              <a:gd name="T16" fmla="*/ 135 w 292"/>
              <a:gd name="T17" fmla="*/ 70 h 99"/>
              <a:gd name="T18" fmla="*/ 99 w 292"/>
              <a:gd name="T19" fmla="*/ 89 h 99"/>
              <a:gd name="T20" fmla="*/ 79 w 292"/>
              <a:gd name="T21" fmla="*/ 96 h 99"/>
              <a:gd name="T22" fmla="*/ 66 w 292"/>
              <a:gd name="T23" fmla="*/ 98 h 99"/>
              <a:gd name="T24" fmla="*/ 55 w 292"/>
              <a:gd name="T25" fmla="*/ 98 h 99"/>
              <a:gd name="T26" fmla="*/ 45 w 292"/>
              <a:gd name="T27" fmla="*/ 94 h 99"/>
              <a:gd name="T28" fmla="*/ 33 w 292"/>
              <a:gd name="T29" fmla="*/ 86 h 99"/>
              <a:gd name="T30" fmla="*/ 20 w 292"/>
              <a:gd name="T31" fmla="*/ 77 h 99"/>
              <a:gd name="T32" fmla="*/ 7 w 292"/>
              <a:gd name="T33" fmla="*/ 69 h 99"/>
              <a:gd name="T34" fmla="*/ 1 w 292"/>
              <a:gd name="T35" fmla="*/ 57 h 99"/>
              <a:gd name="T36" fmla="*/ 0 w 292"/>
              <a:gd name="T37" fmla="*/ 42 h 99"/>
              <a:gd name="T38" fmla="*/ 1 w 292"/>
              <a:gd name="T39" fmla="*/ 25 h 99"/>
              <a:gd name="T40" fmla="*/ 3 w 292"/>
              <a:gd name="T41" fmla="*/ 20 h 99"/>
              <a:gd name="T42" fmla="*/ 9 w 292"/>
              <a:gd name="T43" fmla="*/ 18 h 99"/>
              <a:gd name="T44" fmla="*/ 15 w 292"/>
              <a:gd name="T45" fmla="*/ 21 h 99"/>
              <a:gd name="T46" fmla="*/ 25 w 292"/>
              <a:gd name="T47" fmla="*/ 28 h 99"/>
              <a:gd name="T48" fmla="*/ 35 w 292"/>
              <a:gd name="T49" fmla="*/ 32 h 99"/>
              <a:gd name="T50" fmla="*/ 45 w 292"/>
              <a:gd name="T51" fmla="*/ 34 h 99"/>
              <a:gd name="T52" fmla="*/ 54 w 292"/>
              <a:gd name="T53" fmla="*/ 33 h 99"/>
              <a:gd name="T54" fmla="*/ 67 w 292"/>
              <a:gd name="T55" fmla="*/ 29 h 99"/>
              <a:gd name="T56" fmla="*/ 81 w 292"/>
              <a:gd name="T57" fmla="*/ 19 h 99"/>
              <a:gd name="T58" fmla="*/ 88 w 292"/>
              <a:gd name="T59" fmla="*/ 11 h 99"/>
              <a:gd name="T60" fmla="*/ 94 w 292"/>
              <a:gd name="T61" fmla="*/ 6 h 99"/>
              <a:gd name="T62" fmla="*/ 109 w 292"/>
              <a:gd name="T63" fmla="*/ 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158" name="Freeform 35">
            <a:extLst>
              <a:ext uri="{FF2B5EF4-FFF2-40B4-BE49-F238E27FC236}">
                <a16:creationId xmlns="" xmlns:a16="http://schemas.microsoft.com/office/drawing/2014/main" id="{9E1FD619-F04B-4D04-A533-4E29F1185031}"/>
              </a:ext>
            </a:extLst>
          </p:cNvPr>
          <p:cNvSpPr>
            <a:spLocks/>
          </p:cNvSpPr>
          <p:nvPr>
            <p:custDataLst>
              <p:tags r:id="rId29"/>
            </p:custDataLst>
          </p:nvPr>
        </p:nvSpPr>
        <p:spPr bwMode="auto">
          <a:xfrm>
            <a:off x="5563993" y="3596508"/>
            <a:ext cx="23206" cy="59076"/>
          </a:xfrm>
          <a:custGeom>
            <a:avLst/>
            <a:gdLst>
              <a:gd name="T0" fmla="*/ 39 w 43"/>
              <a:gd name="T1" fmla="*/ 93 h 93"/>
              <a:gd name="T2" fmla="*/ 31 w 43"/>
              <a:gd name="T3" fmla="*/ 91 h 93"/>
              <a:gd name="T4" fmla="*/ 26 w 43"/>
              <a:gd name="T5" fmla="*/ 89 h 93"/>
              <a:gd name="T6" fmla="*/ 21 w 43"/>
              <a:gd name="T7" fmla="*/ 87 h 93"/>
              <a:gd name="T8" fmla="*/ 18 w 43"/>
              <a:gd name="T9" fmla="*/ 84 h 93"/>
              <a:gd name="T10" fmla="*/ 15 w 43"/>
              <a:gd name="T11" fmla="*/ 79 h 93"/>
              <a:gd name="T12" fmla="*/ 14 w 43"/>
              <a:gd name="T13" fmla="*/ 73 h 93"/>
              <a:gd name="T14" fmla="*/ 13 w 43"/>
              <a:gd name="T15" fmla="*/ 65 h 93"/>
              <a:gd name="T16" fmla="*/ 11 w 43"/>
              <a:gd name="T17" fmla="*/ 55 h 93"/>
              <a:gd name="T18" fmla="*/ 11 w 43"/>
              <a:gd name="T19" fmla="*/ 48 h 93"/>
              <a:gd name="T20" fmla="*/ 9 w 43"/>
              <a:gd name="T21" fmla="*/ 42 h 93"/>
              <a:gd name="T22" fmla="*/ 6 w 43"/>
              <a:gd name="T23" fmla="*/ 38 h 93"/>
              <a:gd name="T24" fmla="*/ 4 w 43"/>
              <a:gd name="T25" fmla="*/ 36 h 93"/>
              <a:gd name="T26" fmla="*/ 2 w 43"/>
              <a:gd name="T27" fmla="*/ 34 h 93"/>
              <a:gd name="T28" fmla="*/ 0 w 43"/>
              <a:gd name="T29" fmla="*/ 32 h 93"/>
              <a:gd name="T30" fmla="*/ 2 w 43"/>
              <a:gd name="T31" fmla="*/ 29 h 93"/>
              <a:gd name="T32" fmla="*/ 5 w 43"/>
              <a:gd name="T33" fmla="*/ 24 h 93"/>
              <a:gd name="T34" fmla="*/ 6 w 43"/>
              <a:gd name="T35" fmla="*/ 28 h 93"/>
              <a:gd name="T36" fmla="*/ 7 w 43"/>
              <a:gd name="T37" fmla="*/ 29 h 93"/>
              <a:gd name="T38" fmla="*/ 8 w 43"/>
              <a:gd name="T39" fmla="*/ 30 h 93"/>
              <a:gd name="T40" fmla="*/ 9 w 43"/>
              <a:gd name="T41" fmla="*/ 29 h 93"/>
              <a:gd name="T42" fmla="*/ 11 w 43"/>
              <a:gd name="T43" fmla="*/ 25 h 93"/>
              <a:gd name="T44" fmla="*/ 14 w 43"/>
              <a:gd name="T45" fmla="*/ 19 h 93"/>
              <a:gd name="T46" fmla="*/ 16 w 43"/>
              <a:gd name="T47" fmla="*/ 12 h 93"/>
              <a:gd name="T48" fmla="*/ 20 w 43"/>
              <a:gd name="T49" fmla="*/ 6 h 93"/>
              <a:gd name="T50" fmla="*/ 22 w 43"/>
              <a:gd name="T51" fmla="*/ 4 h 93"/>
              <a:gd name="T52" fmla="*/ 25 w 43"/>
              <a:gd name="T53" fmla="*/ 2 h 93"/>
              <a:gd name="T54" fmla="*/ 28 w 43"/>
              <a:gd name="T55" fmla="*/ 0 h 93"/>
              <a:gd name="T56" fmla="*/ 32 w 43"/>
              <a:gd name="T57" fmla="*/ 0 h 93"/>
              <a:gd name="T58" fmla="*/ 33 w 43"/>
              <a:gd name="T59" fmla="*/ 10 h 93"/>
              <a:gd name="T60" fmla="*/ 33 w 43"/>
              <a:gd name="T61" fmla="*/ 16 h 93"/>
              <a:gd name="T62" fmla="*/ 33 w 43"/>
              <a:gd name="T63" fmla="*/ 20 h 93"/>
              <a:gd name="T64" fmla="*/ 32 w 43"/>
              <a:gd name="T65" fmla="*/ 23 h 93"/>
              <a:gd name="T66" fmla="*/ 32 w 43"/>
              <a:gd name="T67" fmla="*/ 27 h 93"/>
              <a:gd name="T68" fmla="*/ 32 w 43"/>
              <a:gd name="T69" fmla="*/ 31 h 93"/>
              <a:gd name="T70" fmla="*/ 35 w 43"/>
              <a:gd name="T71" fmla="*/ 36 h 93"/>
              <a:gd name="T72" fmla="*/ 39 w 43"/>
              <a:gd name="T73" fmla="*/ 43 h 93"/>
              <a:gd name="T74" fmla="*/ 38 w 43"/>
              <a:gd name="T75" fmla="*/ 44 h 93"/>
              <a:gd name="T76" fmla="*/ 37 w 43"/>
              <a:gd name="T77" fmla="*/ 45 h 93"/>
              <a:gd name="T78" fmla="*/ 37 w 43"/>
              <a:gd name="T79" fmla="*/ 48 h 93"/>
              <a:gd name="T80" fmla="*/ 38 w 43"/>
              <a:gd name="T81" fmla="*/ 51 h 93"/>
              <a:gd name="T82" fmla="*/ 39 w 43"/>
              <a:gd name="T83" fmla="*/ 59 h 93"/>
              <a:gd name="T84" fmla="*/ 41 w 43"/>
              <a:gd name="T85" fmla="*/ 68 h 93"/>
              <a:gd name="T86" fmla="*/ 42 w 43"/>
              <a:gd name="T87" fmla="*/ 76 h 93"/>
              <a:gd name="T88" fmla="*/ 43 w 43"/>
              <a:gd name="T89" fmla="*/ 85 h 93"/>
              <a:gd name="T90" fmla="*/ 43 w 43"/>
              <a:gd name="T91" fmla="*/ 88 h 93"/>
              <a:gd name="T92" fmla="*/ 42 w 43"/>
              <a:gd name="T93" fmla="*/ 91 h 93"/>
              <a:gd name="T94" fmla="*/ 40 w 43"/>
              <a:gd name="T95" fmla="*/ 92 h 93"/>
              <a:gd name="T96" fmla="*/ 39 w 43"/>
              <a:gd name="T9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59" name="Freeform 36">
            <a:extLst>
              <a:ext uri="{FF2B5EF4-FFF2-40B4-BE49-F238E27FC236}">
                <a16:creationId xmlns="" xmlns:a16="http://schemas.microsoft.com/office/drawing/2014/main" id="{3A0F08DB-4AA9-4BC7-AB25-2A39A62BBBC9}"/>
              </a:ext>
            </a:extLst>
          </p:cNvPr>
          <p:cNvSpPr>
            <a:spLocks/>
          </p:cNvSpPr>
          <p:nvPr>
            <p:custDataLst>
              <p:tags r:id="rId30"/>
            </p:custDataLst>
          </p:nvPr>
        </p:nvSpPr>
        <p:spPr bwMode="auto">
          <a:xfrm>
            <a:off x="5709033" y="3601431"/>
            <a:ext cx="17404" cy="59076"/>
          </a:xfrm>
          <a:custGeom>
            <a:avLst/>
            <a:gdLst>
              <a:gd name="T0" fmla="*/ 40 w 40"/>
              <a:gd name="T1" fmla="*/ 56 h 56"/>
              <a:gd name="T2" fmla="*/ 37 w 40"/>
              <a:gd name="T3" fmla="*/ 46 h 56"/>
              <a:gd name="T4" fmla="*/ 33 w 40"/>
              <a:gd name="T5" fmla="*/ 38 h 56"/>
              <a:gd name="T6" fmla="*/ 28 w 40"/>
              <a:gd name="T7" fmla="*/ 32 h 56"/>
              <a:gd name="T8" fmla="*/ 23 w 40"/>
              <a:gd name="T9" fmla="*/ 28 h 56"/>
              <a:gd name="T10" fmla="*/ 11 w 40"/>
              <a:gd name="T11" fmla="*/ 21 h 56"/>
              <a:gd name="T12" fmla="*/ 0 w 40"/>
              <a:gd name="T13" fmla="*/ 12 h 56"/>
              <a:gd name="T14" fmla="*/ 13 w 40"/>
              <a:gd name="T15" fmla="*/ 4 h 56"/>
              <a:gd name="T16" fmla="*/ 20 w 40"/>
              <a:gd name="T17" fmla="*/ 0 h 56"/>
              <a:gd name="T18" fmla="*/ 28 w 40"/>
              <a:gd name="T19" fmla="*/ 12 h 56"/>
              <a:gd name="T20" fmla="*/ 35 w 40"/>
              <a:gd name="T21" fmla="*/ 22 h 56"/>
              <a:gd name="T22" fmla="*/ 37 w 40"/>
              <a:gd name="T23" fmla="*/ 25 h 56"/>
              <a:gd name="T24" fmla="*/ 39 w 40"/>
              <a:gd name="T25" fmla="*/ 29 h 56"/>
              <a:gd name="T26" fmla="*/ 39 w 40"/>
              <a:gd name="T27" fmla="*/ 33 h 56"/>
              <a:gd name="T28" fmla="*/ 40 w 40"/>
              <a:gd name="T29" fmla="*/ 37 h 56"/>
              <a:gd name="T30" fmla="*/ 40 w 40"/>
              <a:gd name="T31" fmla="*/ 44 h 56"/>
              <a:gd name="T32" fmla="*/ 40 w 40"/>
              <a:gd name="T33" fmla="*/ 46 h 56"/>
              <a:gd name="T34" fmla="*/ 40 w 40"/>
              <a:gd name="T35" fmla="*/ 49 h 56"/>
              <a:gd name="T36" fmla="*/ 40 w 40"/>
              <a:gd name="T3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60" name="Freeform 37">
            <a:extLst>
              <a:ext uri="{FF2B5EF4-FFF2-40B4-BE49-F238E27FC236}">
                <a16:creationId xmlns="" xmlns:a16="http://schemas.microsoft.com/office/drawing/2014/main" id="{9DCBFBAC-2BA7-43BB-A327-AE3255756070}"/>
              </a:ext>
            </a:extLst>
          </p:cNvPr>
          <p:cNvSpPr>
            <a:spLocks/>
          </p:cNvSpPr>
          <p:nvPr>
            <p:custDataLst>
              <p:tags r:id="rId31"/>
            </p:custDataLst>
          </p:nvPr>
        </p:nvSpPr>
        <p:spPr bwMode="auto">
          <a:xfrm>
            <a:off x="7521052" y="4284077"/>
            <a:ext cx="54148" cy="59076"/>
          </a:xfrm>
          <a:custGeom>
            <a:avLst/>
            <a:gdLst>
              <a:gd name="T0" fmla="*/ 0 w 106"/>
              <a:gd name="T1" fmla="*/ 7 h 71"/>
              <a:gd name="T2" fmla="*/ 12 w 106"/>
              <a:gd name="T3" fmla="*/ 10 h 71"/>
              <a:gd name="T4" fmla="*/ 24 w 106"/>
              <a:gd name="T5" fmla="*/ 12 h 71"/>
              <a:gd name="T6" fmla="*/ 35 w 106"/>
              <a:gd name="T7" fmla="*/ 13 h 71"/>
              <a:gd name="T8" fmla="*/ 45 w 106"/>
              <a:gd name="T9" fmla="*/ 13 h 71"/>
              <a:gd name="T10" fmla="*/ 54 w 106"/>
              <a:gd name="T11" fmla="*/ 11 h 71"/>
              <a:gd name="T12" fmla="*/ 61 w 106"/>
              <a:gd name="T13" fmla="*/ 8 h 71"/>
              <a:gd name="T14" fmla="*/ 68 w 106"/>
              <a:gd name="T15" fmla="*/ 5 h 71"/>
              <a:gd name="T16" fmla="*/ 74 w 106"/>
              <a:gd name="T17" fmla="*/ 0 h 71"/>
              <a:gd name="T18" fmla="*/ 84 w 106"/>
              <a:gd name="T19" fmla="*/ 16 h 71"/>
              <a:gd name="T20" fmla="*/ 94 w 106"/>
              <a:gd name="T21" fmla="*/ 30 h 71"/>
              <a:gd name="T22" fmla="*/ 101 w 106"/>
              <a:gd name="T23" fmla="*/ 44 h 71"/>
              <a:gd name="T24" fmla="*/ 105 w 106"/>
              <a:gd name="T25" fmla="*/ 55 h 71"/>
              <a:gd name="T26" fmla="*/ 106 w 106"/>
              <a:gd name="T27" fmla="*/ 60 h 71"/>
              <a:gd name="T28" fmla="*/ 106 w 106"/>
              <a:gd name="T29" fmla="*/ 63 h 71"/>
              <a:gd name="T30" fmla="*/ 105 w 106"/>
              <a:gd name="T31" fmla="*/ 67 h 71"/>
              <a:gd name="T32" fmla="*/ 103 w 106"/>
              <a:gd name="T33" fmla="*/ 69 h 71"/>
              <a:gd name="T34" fmla="*/ 101 w 106"/>
              <a:gd name="T35" fmla="*/ 70 h 71"/>
              <a:gd name="T36" fmla="*/ 98 w 106"/>
              <a:gd name="T37" fmla="*/ 70 h 71"/>
              <a:gd name="T38" fmla="*/ 92 w 106"/>
              <a:gd name="T39" fmla="*/ 70 h 71"/>
              <a:gd name="T40" fmla="*/ 87 w 106"/>
              <a:gd name="T41" fmla="*/ 68 h 71"/>
              <a:gd name="T42" fmla="*/ 74 w 106"/>
              <a:gd name="T43" fmla="*/ 70 h 71"/>
              <a:gd name="T44" fmla="*/ 63 w 106"/>
              <a:gd name="T45" fmla="*/ 71 h 71"/>
              <a:gd name="T46" fmla="*/ 53 w 106"/>
              <a:gd name="T47" fmla="*/ 69 h 71"/>
              <a:gd name="T48" fmla="*/ 45 w 106"/>
              <a:gd name="T49" fmla="*/ 66 h 71"/>
              <a:gd name="T50" fmla="*/ 37 w 106"/>
              <a:gd name="T51" fmla="*/ 62 h 71"/>
              <a:gd name="T52" fmla="*/ 32 w 106"/>
              <a:gd name="T53" fmla="*/ 57 h 71"/>
              <a:gd name="T54" fmla="*/ 27 w 106"/>
              <a:gd name="T55" fmla="*/ 51 h 71"/>
              <a:gd name="T56" fmla="*/ 24 w 106"/>
              <a:gd name="T57" fmla="*/ 45 h 71"/>
              <a:gd name="T58" fmla="*/ 21 w 106"/>
              <a:gd name="T59" fmla="*/ 38 h 71"/>
              <a:gd name="T60" fmla="*/ 20 w 106"/>
              <a:gd name="T61" fmla="*/ 30 h 71"/>
              <a:gd name="T62" fmla="*/ 19 w 106"/>
              <a:gd name="T63" fmla="*/ 24 h 71"/>
              <a:gd name="T64" fmla="*/ 18 w 106"/>
              <a:gd name="T65" fmla="*/ 19 h 71"/>
              <a:gd name="T66" fmla="*/ 18 w 106"/>
              <a:gd name="T67" fmla="*/ 14 h 71"/>
              <a:gd name="T68" fmla="*/ 19 w 106"/>
              <a:gd name="T69" fmla="*/ 10 h 71"/>
              <a:gd name="T70" fmla="*/ 20 w 106"/>
              <a:gd name="T71" fmla="*/ 7 h 71"/>
              <a:gd name="T72" fmla="*/ 21 w 106"/>
              <a:gd name="T73" fmla="*/ 7 h 71"/>
              <a:gd name="T74" fmla="*/ 20 w 106"/>
              <a:gd name="T75" fmla="*/ 10 h 71"/>
              <a:gd name="T76" fmla="*/ 19 w 106"/>
              <a:gd name="T77" fmla="*/ 16 h 71"/>
              <a:gd name="T78" fmla="*/ 19 w 106"/>
              <a:gd name="T79" fmla="*/ 17 h 71"/>
              <a:gd name="T80" fmla="*/ 19 w 106"/>
              <a:gd name="T81" fmla="*/ 17 h 71"/>
              <a:gd name="T82" fmla="*/ 20 w 106"/>
              <a:gd name="T83" fmla="*/ 17 h 71"/>
              <a:gd name="T84" fmla="*/ 21 w 106"/>
              <a:gd name="T85" fmla="*/ 17 h 71"/>
              <a:gd name="T86" fmla="*/ 23 w 106"/>
              <a:gd name="T87" fmla="*/ 13 h 71"/>
              <a:gd name="T88" fmla="*/ 27 w 106"/>
              <a:gd name="T89" fmla="*/ 7 h 71"/>
              <a:gd name="T90" fmla="*/ 0 w 106"/>
              <a:gd name="T91" fmla="*/ 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endParaRPr lang="en-GB" dirty="0"/>
          </a:p>
        </p:txBody>
      </p:sp>
      <p:grpSp>
        <p:nvGrpSpPr>
          <p:cNvPr id="161" name="Group 38">
            <a:extLst>
              <a:ext uri="{FF2B5EF4-FFF2-40B4-BE49-F238E27FC236}">
                <a16:creationId xmlns="" xmlns:a16="http://schemas.microsoft.com/office/drawing/2014/main" id="{1E2AB9FB-1370-47C8-A205-2DE8CA7346E2}"/>
              </a:ext>
            </a:extLst>
          </p:cNvPr>
          <p:cNvGrpSpPr>
            <a:grpSpLocks/>
          </p:cNvGrpSpPr>
          <p:nvPr>
            <p:custDataLst>
              <p:tags r:id="rId32"/>
            </p:custDataLst>
          </p:nvPr>
        </p:nvGrpSpPr>
        <p:grpSpPr bwMode="auto">
          <a:xfrm>
            <a:off x="2467897" y="6153148"/>
            <a:ext cx="79288" cy="57435"/>
            <a:chOff x="1654" y="3671"/>
            <a:chExt cx="49" cy="17"/>
          </a:xfrm>
        </p:grpSpPr>
        <p:sp>
          <p:nvSpPr>
            <p:cNvPr id="675" name="Freeform 39">
              <a:extLst>
                <a:ext uri="{FF2B5EF4-FFF2-40B4-BE49-F238E27FC236}">
                  <a16:creationId xmlns="" xmlns:a16="http://schemas.microsoft.com/office/drawing/2014/main" id="{488C39EC-F140-47F8-BFFD-803E108B0049}"/>
                </a:ext>
              </a:extLst>
            </p:cNvPr>
            <p:cNvSpPr>
              <a:spLocks/>
            </p:cNvSpPr>
            <p:nvPr/>
          </p:nvSpPr>
          <p:spPr bwMode="auto">
            <a:xfrm>
              <a:off x="1654" y="3672"/>
              <a:ext cx="20" cy="14"/>
            </a:xfrm>
            <a:custGeom>
              <a:avLst/>
              <a:gdLst>
                <a:gd name="T0" fmla="*/ 26 w 59"/>
                <a:gd name="T1" fmla="*/ 43 h 43"/>
                <a:gd name="T2" fmla="*/ 59 w 59"/>
                <a:gd name="T3" fmla="*/ 18 h 43"/>
                <a:gd name="T4" fmla="*/ 55 w 59"/>
                <a:gd name="T5" fmla="*/ 14 h 43"/>
                <a:gd name="T6" fmla="*/ 51 w 59"/>
                <a:gd name="T7" fmla="*/ 9 h 43"/>
                <a:gd name="T8" fmla="*/ 47 w 59"/>
                <a:gd name="T9" fmla="*/ 5 h 43"/>
                <a:gd name="T10" fmla="*/ 46 w 59"/>
                <a:gd name="T11" fmla="*/ 0 h 43"/>
                <a:gd name="T12" fmla="*/ 41 w 59"/>
                <a:gd name="T13" fmla="*/ 1 h 43"/>
                <a:gd name="T14" fmla="*/ 34 w 59"/>
                <a:gd name="T15" fmla="*/ 4 h 43"/>
                <a:gd name="T16" fmla="*/ 31 w 59"/>
                <a:gd name="T17" fmla="*/ 6 h 43"/>
                <a:gd name="T18" fmla="*/ 29 w 59"/>
                <a:gd name="T19" fmla="*/ 8 h 43"/>
                <a:gd name="T20" fmla="*/ 26 w 59"/>
                <a:gd name="T21" fmla="*/ 10 h 43"/>
                <a:gd name="T22" fmla="*/ 26 w 59"/>
                <a:gd name="T23" fmla="*/ 12 h 43"/>
                <a:gd name="T24" fmla="*/ 20 w 59"/>
                <a:gd name="T25" fmla="*/ 13 h 43"/>
                <a:gd name="T26" fmla="*/ 13 w 59"/>
                <a:gd name="T27" fmla="*/ 16 h 43"/>
                <a:gd name="T28" fmla="*/ 6 w 59"/>
                <a:gd name="T29" fmla="*/ 20 h 43"/>
                <a:gd name="T30" fmla="*/ 0 w 59"/>
                <a:gd name="T31" fmla="*/ 24 h 43"/>
                <a:gd name="T32" fmla="*/ 5 w 59"/>
                <a:gd name="T33" fmla="*/ 29 h 43"/>
                <a:gd name="T34" fmla="*/ 10 w 59"/>
                <a:gd name="T35" fmla="*/ 34 h 43"/>
                <a:gd name="T36" fmla="*/ 18 w 59"/>
                <a:gd name="T37" fmla="*/ 39 h 43"/>
                <a:gd name="T38" fmla="*/ 26 w 59"/>
                <a:gd name="T3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76" name="Freeform 40">
              <a:extLst>
                <a:ext uri="{FF2B5EF4-FFF2-40B4-BE49-F238E27FC236}">
                  <a16:creationId xmlns="" xmlns:a16="http://schemas.microsoft.com/office/drawing/2014/main" id="{E197B95F-EC03-49BF-A0AC-A51E8219AB3E}"/>
                </a:ext>
              </a:extLst>
            </p:cNvPr>
            <p:cNvSpPr>
              <a:spLocks/>
            </p:cNvSpPr>
            <p:nvPr/>
          </p:nvSpPr>
          <p:spPr bwMode="auto">
            <a:xfrm>
              <a:off x="1681" y="3671"/>
              <a:ext cx="22" cy="17"/>
            </a:xfrm>
            <a:custGeom>
              <a:avLst/>
              <a:gdLst>
                <a:gd name="T0" fmla="*/ 0 w 67"/>
                <a:gd name="T1" fmla="*/ 2 h 51"/>
                <a:gd name="T2" fmla="*/ 24 w 67"/>
                <a:gd name="T3" fmla="*/ 1 h 51"/>
                <a:gd name="T4" fmla="*/ 39 w 67"/>
                <a:gd name="T5" fmla="*/ 0 h 51"/>
                <a:gd name="T6" fmla="*/ 45 w 67"/>
                <a:gd name="T7" fmla="*/ 1 h 51"/>
                <a:gd name="T8" fmla="*/ 51 w 67"/>
                <a:gd name="T9" fmla="*/ 2 h 51"/>
                <a:gd name="T10" fmla="*/ 58 w 67"/>
                <a:gd name="T11" fmla="*/ 4 h 51"/>
                <a:gd name="T12" fmla="*/ 67 w 67"/>
                <a:gd name="T13" fmla="*/ 8 h 51"/>
                <a:gd name="T14" fmla="*/ 55 w 67"/>
                <a:gd name="T15" fmla="*/ 13 h 51"/>
                <a:gd name="T16" fmla="*/ 46 w 67"/>
                <a:gd name="T17" fmla="*/ 19 h 51"/>
                <a:gd name="T18" fmla="*/ 42 w 67"/>
                <a:gd name="T19" fmla="*/ 22 h 51"/>
                <a:gd name="T20" fmla="*/ 36 w 67"/>
                <a:gd name="T21" fmla="*/ 24 h 51"/>
                <a:gd name="T22" fmla="*/ 29 w 67"/>
                <a:gd name="T23" fmla="*/ 26 h 51"/>
                <a:gd name="T24" fmla="*/ 20 w 67"/>
                <a:gd name="T25" fmla="*/ 26 h 51"/>
                <a:gd name="T26" fmla="*/ 24 w 67"/>
                <a:gd name="T27" fmla="*/ 26 h 51"/>
                <a:gd name="T28" fmla="*/ 34 w 67"/>
                <a:gd name="T29" fmla="*/ 26 h 51"/>
                <a:gd name="T30" fmla="*/ 29 w 67"/>
                <a:gd name="T31" fmla="*/ 34 h 51"/>
                <a:gd name="T32" fmla="*/ 25 w 67"/>
                <a:gd name="T33" fmla="*/ 40 h 51"/>
                <a:gd name="T34" fmla="*/ 22 w 67"/>
                <a:gd name="T35" fmla="*/ 44 h 51"/>
                <a:gd name="T36" fmla="*/ 20 w 67"/>
                <a:gd name="T37" fmla="*/ 46 h 51"/>
                <a:gd name="T38" fmla="*/ 12 w 67"/>
                <a:gd name="T39" fmla="*/ 48 h 51"/>
                <a:gd name="T40" fmla="*/ 0 w 67"/>
                <a:gd name="T41" fmla="*/ 51 h 51"/>
                <a:gd name="T42" fmla="*/ 0 w 67"/>
                <a:gd name="T43"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endParaRPr lang="en-GB" dirty="0"/>
            </a:p>
          </p:txBody>
        </p:sp>
      </p:grpSp>
      <p:sp>
        <p:nvSpPr>
          <p:cNvPr id="162" name="Freeform 41">
            <a:extLst>
              <a:ext uri="{FF2B5EF4-FFF2-40B4-BE49-F238E27FC236}">
                <a16:creationId xmlns="" xmlns:a16="http://schemas.microsoft.com/office/drawing/2014/main" id="{784B0798-8CA9-48C7-885E-6C9C9CDBDB58}"/>
              </a:ext>
            </a:extLst>
          </p:cNvPr>
          <p:cNvSpPr>
            <a:spLocks/>
          </p:cNvSpPr>
          <p:nvPr>
            <p:custDataLst>
              <p:tags r:id="rId33"/>
            </p:custDataLst>
          </p:nvPr>
        </p:nvSpPr>
        <p:spPr bwMode="auto">
          <a:xfrm>
            <a:off x="2038582" y="3873833"/>
            <a:ext cx="38677" cy="60715"/>
          </a:xfrm>
          <a:custGeom>
            <a:avLst/>
            <a:gdLst>
              <a:gd name="T0" fmla="*/ 0 w 80"/>
              <a:gd name="T1" fmla="*/ 15 h 34"/>
              <a:gd name="T2" fmla="*/ 1 w 80"/>
              <a:gd name="T3" fmla="*/ 19 h 34"/>
              <a:gd name="T4" fmla="*/ 2 w 80"/>
              <a:gd name="T5" fmla="*/ 21 h 34"/>
              <a:gd name="T6" fmla="*/ 4 w 80"/>
              <a:gd name="T7" fmla="*/ 24 h 34"/>
              <a:gd name="T8" fmla="*/ 7 w 80"/>
              <a:gd name="T9" fmla="*/ 26 h 34"/>
              <a:gd name="T10" fmla="*/ 13 w 80"/>
              <a:gd name="T11" fmla="*/ 29 h 34"/>
              <a:gd name="T12" fmla="*/ 22 w 80"/>
              <a:gd name="T13" fmla="*/ 31 h 34"/>
              <a:gd name="T14" fmla="*/ 40 w 80"/>
              <a:gd name="T15" fmla="*/ 33 h 34"/>
              <a:gd name="T16" fmla="*/ 54 w 80"/>
              <a:gd name="T17" fmla="*/ 34 h 34"/>
              <a:gd name="T18" fmla="*/ 58 w 80"/>
              <a:gd name="T19" fmla="*/ 33 h 34"/>
              <a:gd name="T20" fmla="*/ 62 w 80"/>
              <a:gd name="T21" fmla="*/ 32 h 34"/>
              <a:gd name="T22" fmla="*/ 65 w 80"/>
              <a:gd name="T23" fmla="*/ 29 h 34"/>
              <a:gd name="T24" fmla="*/ 67 w 80"/>
              <a:gd name="T25" fmla="*/ 27 h 34"/>
              <a:gd name="T26" fmla="*/ 73 w 80"/>
              <a:gd name="T27" fmla="*/ 21 h 34"/>
              <a:gd name="T28" fmla="*/ 80 w 80"/>
              <a:gd name="T29" fmla="*/ 15 h 34"/>
              <a:gd name="T30" fmla="*/ 75 w 80"/>
              <a:gd name="T31" fmla="*/ 10 h 34"/>
              <a:gd name="T32" fmla="*/ 70 w 80"/>
              <a:gd name="T33" fmla="*/ 7 h 34"/>
              <a:gd name="T34" fmla="*/ 65 w 80"/>
              <a:gd name="T35" fmla="*/ 4 h 34"/>
              <a:gd name="T36" fmla="*/ 60 w 80"/>
              <a:gd name="T37" fmla="*/ 2 h 34"/>
              <a:gd name="T38" fmla="*/ 55 w 80"/>
              <a:gd name="T39" fmla="*/ 0 h 34"/>
              <a:gd name="T40" fmla="*/ 51 w 80"/>
              <a:gd name="T41" fmla="*/ 0 h 34"/>
              <a:gd name="T42" fmla="*/ 45 w 80"/>
              <a:gd name="T43" fmla="*/ 1 h 34"/>
              <a:gd name="T44" fmla="*/ 41 w 80"/>
              <a:gd name="T45" fmla="*/ 2 h 34"/>
              <a:gd name="T46" fmla="*/ 34 w 80"/>
              <a:gd name="T47" fmla="*/ 2 h 34"/>
              <a:gd name="T48" fmla="*/ 21 w 80"/>
              <a:gd name="T49" fmla="*/ 2 h 34"/>
              <a:gd name="T50" fmla="*/ 13 w 80"/>
              <a:gd name="T51" fmla="*/ 3 h 34"/>
              <a:gd name="T52" fmla="*/ 7 w 80"/>
              <a:gd name="T53" fmla="*/ 5 h 34"/>
              <a:gd name="T54" fmla="*/ 4 w 80"/>
              <a:gd name="T55" fmla="*/ 7 h 34"/>
              <a:gd name="T56" fmla="*/ 2 w 80"/>
              <a:gd name="T57" fmla="*/ 9 h 34"/>
              <a:gd name="T58" fmla="*/ 1 w 80"/>
              <a:gd name="T59" fmla="*/ 11 h 34"/>
              <a:gd name="T60" fmla="*/ 0 w 80"/>
              <a:gd name="T61"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63" name="Freeform 42">
            <a:extLst>
              <a:ext uri="{FF2B5EF4-FFF2-40B4-BE49-F238E27FC236}">
                <a16:creationId xmlns="" xmlns:a16="http://schemas.microsoft.com/office/drawing/2014/main" id="{D9994367-AEFE-455E-8EBE-7E8DF651BAE1}"/>
              </a:ext>
            </a:extLst>
          </p:cNvPr>
          <p:cNvSpPr>
            <a:spLocks/>
          </p:cNvSpPr>
          <p:nvPr>
            <p:custDataLst>
              <p:tags r:id="rId34"/>
            </p:custDataLst>
          </p:nvPr>
        </p:nvSpPr>
        <p:spPr bwMode="auto">
          <a:xfrm>
            <a:off x="2106265" y="3880397"/>
            <a:ext cx="1934" cy="60715"/>
          </a:xfrm>
          <a:custGeom>
            <a:avLst/>
            <a:gdLst>
              <a:gd name="T0" fmla="*/ 0 w 7"/>
              <a:gd name="T1" fmla="*/ 0 h 13"/>
              <a:gd name="T2" fmla="*/ 7 w 7"/>
              <a:gd name="T3" fmla="*/ 13 h 13"/>
              <a:gd name="T4" fmla="*/ 7 w 7"/>
              <a:gd name="T5" fmla="*/ 7 h 13"/>
            </a:gdLst>
            <a:ahLst/>
            <a:cxnLst>
              <a:cxn ang="0">
                <a:pos x="T0" y="T1"/>
              </a:cxn>
              <a:cxn ang="0">
                <a:pos x="T2" y="T3"/>
              </a:cxn>
              <a:cxn ang="0">
                <a:pos x="T4" y="T5"/>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64" name="Freeform 43">
            <a:extLst>
              <a:ext uri="{FF2B5EF4-FFF2-40B4-BE49-F238E27FC236}">
                <a16:creationId xmlns="" xmlns:a16="http://schemas.microsoft.com/office/drawing/2014/main" id="{409BC999-4D8A-4EAF-B74D-87A46708DB2C}"/>
              </a:ext>
            </a:extLst>
          </p:cNvPr>
          <p:cNvSpPr>
            <a:spLocks/>
          </p:cNvSpPr>
          <p:nvPr>
            <p:custDataLst>
              <p:tags r:id="rId35"/>
            </p:custDataLst>
          </p:nvPr>
        </p:nvSpPr>
        <p:spPr bwMode="auto">
          <a:xfrm>
            <a:off x="2121736" y="3882037"/>
            <a:ext cx="7735" cy="60716"/>
          </a:xfrm>
          <a:custGeom>
            <a:avLst/>
            <a:gdLst>
              <a:gd name="T0" fmla="*/ 0 w 20"/>
              <a:gd name="T1" fmla="*/ 0 h 6"/>
              <a:gd name="T2" fmla="*/ 7 w 20"/>
              <a:gd name="T3" fmla="*/ 3 h 6"/>
              <a:gd name="T4" fmla="*/ 20 w 20"/>
              <a:gd name="T5" fmla="*/ 6 h 6"/>
              <a:gd name="T6" fmla="*/ 0 w 20"/>
              <a:gd name="T7" fmla="*/ 0 h 6"/>
            </a:gdLst>
            <a:ahLst/>
            <a:cxnLst>
              <a:cxn ang="0">
                <a:pos x="T0" y="T1"/>
              </a:cxn>
              <a:cxn ang="0">
                <a:pos x="T2" y="T3"/>
              </a:cxn>
              <a:cxn ang="0">
                <a:pos x="T4" y="T5"/>
              </a:cxn>
              <a:cxn ang="0">
                <a:pos x="T6" y="T7"/>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65" name="Freeform 44">
            <a:extLst>
              <a:ext uri="{FF2B5EF4-FFF2-40B4-BE49-F238E27FC236}">
                <a16:creationId xmlns="" xmlns:a16="http://schemas.microsoft.com/office/drawing/2014/main" id="{11B3D152-7830-43AC-9260-FF31AAE4CD34}"/>
              </a:ext>
            </a:extLst>
          </p:cNvPr>
          <p:cNvSpPr>
            <a:spLocks/>
          </p:cNvSpPr>
          <p:nvPr>
            <p:custDataLst>
              <p:tags r:id="rId36"/>
            </p:custDataLst>
          </p:nvPr>
        </p:nvSpPr>
        <p:spPr bwMode="auto">
          <a:xfrm>
            <a:off x="2139141" y="3872191"/>
            <a:ext cx="9669" cy="59076"/>
          </a:xfrm>
          <a:custGeom>
            <a:avLst/>
            <a:gdLst>
              <a:gd name="T0" fmla="*/ 0 w 14"/>
              <a:gd name="T1" fmla="*/ 12 h 12"/>
              <a:gd name="T2" fmla="*/ 14 w 14"/>
              <a:gd name="T3" fmla="*/ 0 h 12"/>
              <a:gd name="T4" fmla="*/ 0 w 14"/>
              <a:gd name="T5" fmla="*/ 12 h 12"/>
            </a:gdLst>
            <a:ahLst/>
            <a:cxnLst>
              <a:cxn ang="0">
                <a:pos x="T0" y="T1"/>
              </a:cxn>
              <a:cxn ang="0">
                <a:pos x="T2" y="T3"/>
              </a:cxn>
              <a:cxn ang="0">
                <a:pos x="T4" y="T5"/>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66" name="Freeform 45">
            <a:extLst>
              <a:ext uri="{FF2B5EF4-FFF2-40B4-BE49-F238E27FC236}">
                <a16:creationId xmlns="" xmlns:a16="http://schemas.microsoft.com/office/drawing/2014/main" id="{8A369BDF-7D2C-4485-8C73-0D7CF4BB3B42}"/>
              </a:ext>
            </a:extLst>
          </p:cNvPr>
          <p:cNvSpPr>
            <a:spLocks/>
          </p:cNvSpPr>
          <p:nvPr>
            <p:custDataLst>
              <p:tags r:id="rId37"/>
            </p:custDataLst>
          </p:nvPr>
        </p:nvSpPr>
        <p:spPr bwMode="auto">
          <a:xfrm>
            <a:off x="2114001" y="3863987"/>
            <a:ext cx="13538" cy="60715"/>
          </a:xfrm>
          <a:custGeom>
            <a:avLst/>
            <a:gdLst>
              <a:gd name="T0" fmla="*/ 0 w 27"/>
              <a:gd name="T1" fmla="*/ 0 h 7"/>
              <a:gd name="T2" fmla="*/ 0 w 27"/>
              <a:gd name="T3" fmla="*/ 4 h 7"/>
              <a:gd name="T4" fmla="*/ 2 w 27"/>
              <a:gd name="T5" fmla="*/ 6 h 7"/>
              <a:gd name="T6" fmla="*/ 7 w 27"/>
              <a:gd name="T7" fmla="*/ 7 h 7"/>
              <a:gd name="T8" fmla="*/ 10 w 27"/>
              <a:gd name="T9" fmla="*/ 7 h 7"/>
              <a:gd name="T10" fmla="*/ 15 w 27"/>
              <a:gd name="T11" fmla="*/ 6 h 7"/>
              <a:gd name="T12" fmla="*/ 19 w 27"/>
              <a:gd name="T13" fmla="*/ 4 h 7"/>
              <a:gd name="T14" fmla="*/ 23 w 27"/>
              <a:gd name="T15" fmla="*/ 2 h 7"/>
              <a:gd name="T16" fmla="*/ 27 w 27"/>
              <a:gd name="T17" fmla="*/ 0 h 7"/>
              <a:gd name="T18" fmla="*/ 0 w 2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67" name="Freeform 46">
            <a:extLst>
              <a:ext uri="{FF2B5EF4-FFF2-40B4-BE49-F238E27FC236}">
                <a16:creationId xmlns="" xmlns:a16="http://schemas.microsoft.com/office/drawing/2014/main" id="{95E51966-DDA8-4C90-8CF1-14B684406890}"/>
              </a:ext>
            </a:extLst>
          </p:cNvPr>
          <p:cNvSpPr>
            <a:spLocks/>
          </p:cNvSpPr>
          <p:nvPr>
            <p:custDataLst>
              <p:tags r:id="rId38"/>
            </p:custDataLst>
          </p:nvPr>
        </p:nvSpPr>
        <p:spPr bwMode="auto">
          <a:xfrm>
            <a:off x="2173950" y="3893525"/>
            <a:ext cx="17404" cy="62357"/>
          </a:xfrm>
          <a:custGeom>
            <a:avLst/>
            <a:gdLst>
              <a:gd name="T0" fmla="*/ 0 w 27"/>
              <a:gd name="T1" fmla="*/ 0 h 6"/>
              <a:gd name="T2" fmla="*/ 11 w 27"/>
              <a:gd name="T3" fmla="*/ 3 h 6"/>
              <a:gd name="T4" fmla="*/ 27 w 27"/>
              <a:gd name="T5" fmla="*/ 6 h 6"/>
            </a:gdLst>
            <a:ahLst/>
            <a:cxnLst>
              <a:cxn ang="0">
                <a:pos x="T0" y="T1"/>
              </a:cxn>
              <a:cxn ang="0">
                <a:pos x="T2" y="T3"/>
              </a:cxn>
              <a:cxn ang="0">
                <a:pos x="T4" y="T5"/>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68" name="Line 47">
            <a:extLst>
              <a:ext uri="{FF2B5EF4-FFF2-40B4-BE49-F238E27FC236}">
                <a16:creationId xmlns="" xmlns:a16="http://schemas.microsoft.com/office/drawing/2014/main" id="{D326DF18-B642-4827-B595-108C72D348F8}"/>
              </a:ext>
            </a:extLst>
          </p:cNvPr>
          <p:cNvSpPr>
            <a:spLocks noChangeShapeType="1"/>
          </p:cNvSpPr>
          <p:nvPr>
            <p:custDataLst>
              <p:tags r:id="rId39"/>
            </p:custDataLst>
          </p:nvPr>
        </p:nvSpPr>
        <p:spPr bwMode="auto">
          <a:xfrm flipH="1" flipV="1">
            <a:off x="2183619" y="3890243"/>
            <a:ext cx="7735" cy="9846"/>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169" name="Line 48">
            <a:extLst>
              <a:ext uri="{FF2B5EF4-FFF2-40B4-BE49-F238E27FC236}">
                <a16:creationId xmlns="" xmlns:a16="http://schemas.microsoft.com/office/drawing/2014/main" id="{8418F6D1-808A-4D63-A071-8ED16275BA52}"/>
              </a:ext>
            </a:extLst>
          </p:cNvPr>
          <p:cNvSpPr>
            <a:spLocks noChangeShapeType="1"/>
          </p:cNvSpPr>
          <p:nvPr>
            <p:custDataLst>
              <p:tags r:id="rId40"/>
            </p:custDataLst>
          </p:nvPr>
        </p:nvSpPr>
        <p:spPr bwMode="auto">
          <a:xfrm flipH="1">
            <a:off x="2183619" y="3916499"/>
            <a:ext cx="7735" cy="11487"/>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171" name="Freeform 49">
            <a:extLst>
              <a:ext uri="{FF2B5EF4-FFF2-40B4-BE49-F238E27FC236}">
                <a16:creationId xmlns="" xmlns:a16="http://schemas.microsoft.com/office/drawing/2014/main" id="{F35C4C9E-ED00-43F0-AC41-40E58E4C1980}"/>
              </a:ext>
            </a:extLst>
          </p:cNvPr>
          <p:cNvSpPr>
            <a:spLocks/>
          </p:cNvSpPr>
          <p:nvPr>
            <p:custDataLst>
              <p:tags r:id="rId41"/>
            </p:custDataLst>
          </p:nvPr>
        </p:nvSpPr>
        <p:spPr bwMode="auto">
          <a:xfrm>
            <a:off x="2183619" y="3911575"/>
            <a:ext cx="13538" cy="60716"/>
          </a:xfrm>
          <a:custGeom>
            <a:avLst/>
            <a:gdLst>
              <a:gd name="T0" fmla="*/ 0 w 20"/>
              <a:gd name="T1" fmla="*/ 24 h 24"/>
              <a:gd name="T2" fmla="*/ 2 w 20"/>
              <a:gd name="T3" fmla="*/ 24 h 24"/>
              <a:gd name="T4" fmla="*/ 6 w 20"/>
              <a:gd name="T5" fmla="*/ 22 h 24"/>
              <a:gd name="T6" fmla="*/ 9 w 20"/>
              <a:gd name="T7" fmla="*/ 20 h 24"/>
              <a:gd name="T8" fmla="*/ 12 w 20"/>
              <a:gd name="T9" fmla="*/ 16 h 24"/>
              <a:gd name="T10" fmla="*/ 15 w 20"/>
              <a:gd name="T11" fmla="*/ 13 h 24"/>
              <a:gd name="T12" fmla="*/ 18 w 20"/>
              <a:gd name="T13" fmla="*/ 9 h 24"/>
              <a:gd name="T14" fmla="*/ 19 w 20"/>
              <a:gd name="T15" fmla="*/ 4 h 24"/>
              <a:gd name="T16" fmla="*/ 20 w 20"/>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72" name="Freeform 50">
            <a:extLst>
              <a:ext uri="{FF2B5EF4-FFF2-40B4-BE49-F238E27FC236}">
                <a16:creationId xmlns="" xmlns:a16="http://schemas.microsoft.com/office/drawing/2014/main" id="{F7786F90-80E4-4F9E-B6BB-7900ECAD3B27}"/>
              </a:ext>
            </a:extLst>
          </p:cNvPr>
          <p:cNvSpPr>
            <a:spLocks/>
          </p:cNvSpPr>
          <p:nvPr>
            <p:custDataLst>
              <p:tags r:id="rId42"/>
            </p:custDataLst>
          </p:nvPr>
        </p:nvSpPr>
        <p:spPr bwMode="auto">
          <a:xfrm>
            <a:off x="2191354" y="3941113"/>
            <a:ext cx="21273" cy="57435"/>
          </a:xfrm>
          <a:custGeom>
            <a:avLst/>
            <a:gdLst>
              <a:gd name="T0" fmla="*/ 13 w 33"/>
              <a:gd name="T1" fmla="*/ 7 h 25"/>
              <a:gd name="T2" fmla="*/ 0 w 33"/>
              <a:gd name="T3" fmla="*/ 19 h 25"/>
              <a:gd name="T4" fmla="*/ 10 w 33"/>
              <a:gd name="T5" fmla="*/ 20 h 25"/>
              <a:gd name="T6" fmla="*/ 19 w 33"/>
              <a:gd name="T7" fmla="*/ 22 h 25"/>
              <a:gd name="T8" fmla="*/ 27 w 33"/>
              <a:gd name="T9" fmla="*/ 25 h 25"/>
              <a:gd name="T10" fmla="*/ 33 w 33"/>
              <a:gd name="T11" fmla="*/ 25 h 25"/>
              <a:gd name="T12" fmla="*/ 33 w 33"/>
              <a:gd name="T13" fmla="*/ 0 h 25"/>
              <a:gd name="T14" fmla="*/ 27 w 33"/>
              <a:gd name="T15" fmla="*/ 0 h 25"/>
              <a:gd name="T16" fmla="*/ 13 w 33"/>
              <a:gd name="T1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73" name="Freeform 51">
            <a:extLst>
              <a:ext uri="{FF2B5EF4-FFF2-40B4-BE49-F238E27FC236}">
                <a16:creationId xmlns="" xmlns:a16="http://schemas.microsoft.com/office/drawing/2014/main" id="{43813340-12B4-4E6D-8D78-0BDB2A5D5823}"/>
              </a:ext>
            </a:extLst>
          </p:cNvPr>
          <p:cNvSpPr>
            <a:spLocks/>
          </p:cNvSpPr>
          <p:nvPr>
            <p:custDataLst>
              <p:tags r:id="rId43"/>
            </p:custDataLst>
          </p:nvPr>
        </p:nvSpPr>
        <p:spPr bwMode="auto">
          <a:xfrm>
            <a:off x="2199090" y="3990342"/>
            <a:ext cx="19338" cy="59076"/>
          </a:xfrm>
          <a:custGeom>
            <a:avLst/>
            <a:gdLst>
              <a:gd name="T0" fmla="*/ 0 w 40"/>
              <a:gd name="T1" fmla="*/ 0 h 18"/>
              <a:gd name="T2" fmla="*/ 3 w 40"/>
              <a:gd name="T3" fmla="*/ 6 h 18"/>
              <a:gd name="T4" fmla="*/ 6 w 40"/>
              <a:gd name="T5" fmla="*/ 11 h 18"/>
              <a:gd name="T6" fmla="*/ 10 w 40"/>
              <a:gd name="T7" fmla="*/ 14 h 18"/>
              <a:gd name="T8" fmla="*/ 15 w 40"/>
              <a:gd name="T9" fmla="*/ 16 h 18"/>
              <a:gd name="T10" fmla="*/ 27 w 40"/>
              <a:gd name="T11" fmla="*/ 18 h 18"/>
              <a:gd name="T12" fmla="*/ 40 w 40"/>
              <a:gd name="T13" fmla="*/ 18 h 18"/>
              <a:gd name="T14" fmla="*/ 40 w 40"/>
              <a:gd name="T15" fmla="*/ 0 h 18"/>
              <a:gd name="T16" fmla="*/ 30 w 40"/>
              <a:gd name="T17" fmla="*/ 0 h 18"/>
              <a:gd name="T18" fmla="*/ 20 w 40"/>
              <a:gd name="T19" fmla="*/ 0 h 18"/>
              <a:gd name="T20" fmla="*/ 10 w 40"/>
              <a:gd name="T21" fmla="*/ 0 h 18"/>
              <a:gd name="T22" fmla="*/ 0 w 4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74" name="Freeform 52">
            <a:extLst>
              <a:ext uri="{FF2B5EF4-FFF2-40B4-BE49-F238E27FC236}">
                <a16:creationId xmlns="" xmlns:a16="http://schemas.microsoft.com/office/drawing/2014/main" id="{8482E0F0-DAAB-43B4-885B-297120B2293F}"/>
              </a:ext>
            </a:extLst>
          </p:cNvPr>
          <p:cNvSpPr>
            <a:spLocks/>
          </p:cNvSpPr>
          <p:nvPr>
            <p:custDataLst>
              <p:tags r:id="rId44"/>
            </p:custDataLst>
          </p:nvPr>
        </p:nvSpPr>
        <p:spPr bwMode="auto">
          <a:xfrm>
            <a:off x="2210694" y="4016597"/>
            <a:ext cx="3867" cy="59076"/>
          </a:xfrm>
          <a:custGeom>
            <a:avLst/>
            <a:gdLst>
              <a:gd name="T0" fmla="*/ 4 w 11"/>
              <a:gd name="T1" fmla="*/ 32 h 32"/>
              <a:gd name="T2" fmla="*/ 6 w 11"/>
              <a:gd name="T3" fmla="*/ 28 h 32"/>
              <a:gd name="T4" fmla="*/ 8 w 11"/>
              <a:gd name="T5" fmla="*/ 25 h 32"/>
              <a:gd name="T6" fmla="*/ 9 w 11"/>
              <a:gd name="T7" fmla="*/ 22 h 32"/>
              <a:gd name="T8" fmla="*/ 10 w 11"/>
              <a:gd name="T9" fmla="*/ 18 h 32"/>
              <a:gd name="T10" fmla="*/ 11 w 11"/>
              <a:gd name="T11" fmla="*/ 9 h 32"/>
              <a:gd name="T12" fmla="*/ 11 w 11"/>
              <a:gd name="T13" fmla="*/ 0 h 32"/>
              <a:gd name="T14" fmla="*/ 6 w 11"/>
              <a:gd name="T15" fmla="*/ 3 h 32"/>
              <a:gd name="T16" fmla="*/ 3 w 11"/>
              <a:gd name="T17" fmla="*/ 7 h 32"/>
              <a:gd name="T18" fmla="*/ 1 w 11"/>
              <a:gd name="T19" fmla="*/ 11 h 32"/>
              <a:gd name="T20" fmla="*/ 0 w 11"/>
              <a:gd name="T21" fmla="*/ 16 h 32"/>
              <a:gd name="T22" fmla="*/ 0 w 11"/>
              <a:gd name="T23" fmla="*/ 20 h 32"/>
              <a:gd name="T24" fmla="*/ 1 w 11"/>
              <a:gd name="T25" fmla="*/ 24 h 32"/>
              <a:gd name="T26" fmla="*/ 2 w 11"/>
              <a:gd name="T27" fmla="*/ 28 h 32"/>
              <a:gd name="T28" fmla="*/ 4 w 11"/>
              <a:gd name="T2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75" name="Freeform 53">
            <a:extLst>
              <a:ext uri="{FF2B5EF4-FFF2-40B4-BE49-F238E27FC236}">
                <a16:creationId xmlns="" xmlns:a16="http://schemas.microsoft.com/office/drawing/2014/main" id="{02B85EA4-65F1-43FD-9E32-67CA4B75377C}"/>
              </a:ext>
            </a:extLst>
          </p:cNvPr>
          <p:cNvSpPr>
            <a:spLocks/>
          </p:cNvSpPr>
          <p:nvPr>
            <p:custDataLst>
              <p:tags r:id="rId45"/>
            </p:custDataLst>
          </p:nvPr>
        </p:nvSpPr>
        <p:spPr bwMode="auto">
          <a:xfrm>
            <a:off x="2237767" y="4047776"/>
            <a:ext cx="1934" cy="57434"/>
          </a:xfrm>
          <a:custGeom>
            <a:avLst/>
            <a:gdLst>
              <a:gd name="T0" fmla="*/ 0 w 14"/>
              <a:gd name="T1" fmla="*/ 0 h 24"/>
              <a:gd name="T2" fmla="*/ 0 w 14"/>
              <a:gd name="T3" fmla="*/ 24 h 24"/>
              <a:gd name="T4" fmla="*/ 14 w 14"/>
              <a:gd name="T5" fmla="*/ 12 h 24"/>
              <a:gd name="T6" fmla="*/ 0 w 14"/>
              <a:gd name="T7" fmla="*/ 0 h 24"/>
            </a:gdLst>
            <a:ahLst/>
            <a:cxnLst>
              <a:cxn ang="0">
                <a:pos x="T0" y="T1"/>
              </a:cxn>
              <a:cxn ang="0">
                <a:pos x="T2" y="T3"/>
              </a:cxn>
              <a:cxn ang="0">
                <a:pos x="T4" y="T5"/>
              </a:cxn>
              <a:cxn ang="0">
                <a:pos x="T6" y="T7"/>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76" name="Freeform 54">
            <a:extLst>
              <a:ext uri="{FF2B5EF4-FFF2-40B4-BE49-F238E27FC236}">
                <a16:creationId xmlns="" xmlns:a16="http://schemas.microsoft.com/office/drawing/2014/main" id="{E30310EB-6786-4BC8-AC33-AFA6BDD23267}"/>
              </a:ext>
            </a:extLst>
          </p:cNvPr>
          <p:cNvSpPr>
            <a:spLocks/>
          </p:cNvSpPr>
          <p:nvPr>
            <p:custDataLst>
              <p:tags r:id="rId46"/>
            </p:custDataLst>
          </p:nvPr>
        </p:nvSpPr>
        <p:spPr bwMode="auto">
          <a:xfrm>
            <a:off x="2191354" y="4060905"/>
            <a:ext cx="19338" cy="60715"/>
          </a:xfrm>
          <a:custGeom>
            <a:avLst/>
            <a:gdLst>
              <a:gd name="T0" fmla="*/ 0 w 27"/>
              <a:gd name="T1" fmla="*/ 12 h 18"/>
              <a:gd name="T2" fmla="*/ 7 w 27"/>
              <a:gd name="T3" fmla="*/ 15 h 18"/>
              <a:gd name="T4" fmla="*/ 13 w 27"/>
              <a:gd name="T5" fmla="*/ 18 h 18"/>
              <a:gd name="T6" fmla="*/ 22 w 27"/>
              <a:gd name="T7" fmla="*/ 7 h 18"/>
              <a:gd name="T8" fmla="*/ 27 w 27"/>
              <a:gd name="T9" fmla="*/ 0 h 18"/>
              <a:gd name="T10" fmla="*/ 22 w 27"/>
              <a:gd name="T11" fmla="*/ 0 h 18"/>
              <a:gd name="T12" fmla="*/ 18 w 27"/>
              <a:gd name="T13" fmla="*/ 1 h 18"/>
              <a:gd name="T14" fmla="*/ 13 w 27"/>
              <a:gd name="T15" fmla="*/ 2 h 18"/>
              <a:gd name="T16" fmla="*/ 10 w 27"/>
              <a:gd name="T17" fmla="*/ 4 h 18"/>
              <a:gd name="T18" fmla="*/ 5 w 27"/>
              <a:gd name="T19" fmla="*/ 8 h 18"/>
              <a:gd name="T20" fmla="*/ 0 w 27"/>
              <a:gd name="T21"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77" name="Freeform 55">
            <a:extLst>
              <a:ext uri="{FF2B5EF4-FFF2-40B4-BE49-F238E27FC236}">
                <a16:creationId xmlns="" xmlns:a16="http://schemas.microsoft.com/office/drawing/2014/main" id="{C6B2F3F2-A6D0-4774-9A98-A5586DC97810}"/>
              </a:ext>
            </a:extLst>
          </p:cNvPr>
          <p:cNvSpPr>
            <a:spLocks/>
          </p:cNvSpPr>
          <p:nvPr>
            <p:custDataLst>
              <p:tags r:id="rId47"/>
            </p:custDataLst>
          </p:nvPr>
        </p:nvSpPr>
        <p:spPr bwMode="auto">
          <a:xfrm>
            <a:off x="2173950" y="4128184"/>
            <a:ext cx="29008" cy="59076"/>
          </a:xfrm>
          <a:custGeom>
            <a:avLst/>
            <a:gdLst>
              <a:gd name="T0" fmla="*/ 0 w 47"/>
              <a:gd name="T1" fmla="*/ 36 h 49"/>
              <a:gd name="T2" fmla="*/ 1 w 47"/>
              <a:gd name="T3" fmla="*/ 39 h 49"/>
              <a:gd name="T4" fmla="*/ 2 w 47"/>
              <a:gd name="T5" fmla="*/ 41 h 49"/>
              <a:gd name="T6" fmla="*/ 4 w 47"/>
              <a:gd name="T7" fmla="*/ 43 h 49"/>
              <a:gd name="T8" fmla="*/ 6 w 47"/>
              <a:gd name="T9" fmla="*/ 45 h 49"/>
              <a:gd name="T10" fmla="*/ 12 w 47"/>
              <a:gd name="T11" fmla="*/ 48 h 49"/>
              <a:gd name="T12" fmla="*/ 14 w 47"/>
              <a:gd name="T13" fmla="*/ 49 h 49"/>
              <a:gd name="T14" fmla="*/ 18 w 47"/>
              <a:gd name="T15" fmla="*/ 49 h 49"/>
              <a:gd name="T16" fmla="*/ 24 w 47"/>
              <a:gd name="T17" fmla="*/ 46 h 49"/>
              <a:gd name="T18" fmla="*/ 29 w 47"/>
              <a:gd name="T19" fmla="*/ 42 h 49"/>
              <a:gd name="T20" fmla="*/ 35 w 47"/>
              <a:gd name="T21" fmla="*/ 39 h 49"/>
              <a:gd name="T22" fmla="*/ 39 w 47"/>
              <a:gd name="T23" fmla="*/ 35 h 49"/>
              <a:gd name="T24" fmla="*/ 44 w 47"/>
              <a:gd name="T25" fmla="*/ 31 h 49"/>
              <a:gd name="T26" fmla="*/ 46 w 47"/>
              <a:gd name="T27" fmla="*/ 27 h 49"/>
              <a:gd name="T28" fmla="*/ 47 w 47"/>
              <a:gd name="T29" fmla="*/ 24 h 49"/>
              <a:gd name="T30" fmla="*/ 47 w 47"/>
              <a:gd name="T31" fmla="*/ 12 h 49"/>
              <a:gd name="T32" fmla="*/ 47 w 47"/>
              <a:gd name="T33" fmla="*/ 0 h 49"/>
              <a:gd name="T34" fmla="*/ 27 w 47"/>
              <a:gd name="T35" fmla="*/ 0 h 49"/>
              <a:gd name="T36" fmla="*/ 17 w 47"/>
              <a:gd name="T37" fmla="*/ 8 h 49"/>
              <a:gd name="T38" fmla="*/ 9 w 47"/>
              <a:gd name="T39" fmla="*/ 16 h 49"/>
              <a:gd name="T40" fmla="*/ 5 w 47"/>
              <a:gd name="T41" fmla="*/ 20 h 49"/>
              <a:gd name="T42" fmla="*/ 2 w 47"/>
              <a:gd name="T43" fmla="*/ 25 h 49"/>
              <a:gd name="T44" fmla="*/ 1 w 47"/>
              <a:gd name="T45" fmla="*/ 30 h 49"/>
              <a:gd name="T46" fmla="*/ 0 w 47"/>
              <a:gd name="T4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78" name="Freeform 56">
            <a:extLst>
              <a:ext uri="{FF2B5EF4-FFF2-40B4-BE49-F238E27FC236}">
                <a16:creationId xmlns="" xmlns:a16="http://schemas.microsoft.com/office/drawing/2014/main" id="{EA0E98C0-2CE9-4F1A-B5D9-85714FD15666}"/>
              </a:ext>
            </a:extLst>
          </p:cNvPr>
          <p:cNvSpPr>
            <a:spLocks/>
          </p:cNvSpPr>
          <p:nvPr>
            <p:custDataLst>
              <p:tags r:id="rId48"/>
            </p:custDataLst>
          </p:nvPr>
        </p:nvSpPr>
        <p:spPr bwMode="auto">
          <a:xfrm>
            <a:off x="2197157" y="4103569"/>
            <a:ext cx="15471" cy="59076"/>
          </a:xfrm>
          <a:custGeom>
            <a:avLst/>
            <a:gdLst>
              <a:gd name="T0" fmla="*/ 0 w 26"/>
              <a:gd name="T1" fmla="*/ 0 h 9"/>
              <a:gd name="T2" fmla="*/ 0 w 26"/>
              <a:gd name="T3" fmla="*/ 4 h 9"/>
              <a:gd name="T4" fmla="*/ 3 w 26"/>
              <a:gd name="T5" fmla="*/ 7 h 9"/>
              <a:gd name="T6" fmla="*/ 6 w 26"/>
              <a:gd name="T7" fmla="*/ 8 h 9"/>
              <a:gd name="T8" fmla="*/ 11 w 26"/>
              <a:gd name="T9" fmla="*/ 9 h 9"/>
              <a:gd name="T10" fmla="*/ 15 w 26"/>
              <a:gd name="T11" fmla="*/ 8 h 9"/>
              <a:gd name="T12" fmla="*/ 20 w 26"/>
              <a:gd name="T13" fmla="*/ 7 h 9"/>
              <a:gd name="T14" fmla="*/ 23 w 26"/>
              <a:gd name="T15" fmla="*/ 4 h 9"/>
              <a:gd name="T16" fmla="*/ 26 w 26"/>
              <a:gd name="T17" fmla="*/ 0 h 9"/>
              <a:gd name="T18" fmla="*/ 0 w 26"/>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79" name="Freeform 57">
            <a:extLst>
              <a:ext uri="{FF2B5EF4-FFF2-40B4-BE49-F238E27FC236}">
                <a16:creationId xmlns="" xmlns:a16="http://schemas.microsoft.com/office/drawing/2014/main" id="{F6A5FB65-D450-4B16-840F-502B6E73CD7E}"/>
              </a:ext>
            </a:extLst>
          </p:cNvPr>
          <p:cNvSpPr>
            <a:spLocks/>
          </p:cNvSpPr>
          <p:nvPr>
            <p:custDataLst>
              <p:tags r:id="rId49"/>
            </p:custDataLst>
          </p:nvPr>
        </p:nvSpPr>
        <p:spPr bwMode="auto">
          <a:xfrm>
            <a:off x="1566722" y="3763887"/>
            <a:ext cx="19338" cy="59076"/>
          </a:xfrm>
          <a:custGeom>
            <a:avLst/>
            <a:gdLst>
              <a:gd name="T0" fmla="*/ 0 w 39"/>
              <a:gd name="T1" fmla="*/ 0 h 18"/>
              <a:gd name="T2" fmla="*/ 0 w 39"/>
              <a:gd name="T3" fmla="*/ 18 h 18"/>
              <a:gd name="T4" fmla="*/ 6 w 39"/>
              <a:gd name="T5" fmla="*/ 18 h 18"/>
              <a:gd name="T6" fmla="*/ 13 w 39"/>
              <a:gd name="T7" fmla="*/ 18 h 18"/>
              <a:gd name="T8" fmla="*/ 23 w 39"/>
              <a:gd name="T9" fmla="*/ 17 h 18"/>
              <a:gd name="T10" fmla="*/ 30 w 39"/>
              <a:gd name="T11" fmla="*/ 14 h 18"/>
              <a:gd name="T12" fmla="*/ 34 w 39"/>
              <a:gd name="T13" fmla="*/ 12 h 18"/>
              <a:gd name="T14" fmla="*/ 37 w 39"/>
              <a:gd name="T15" fmla="*/ 10 h 18"/>
              <a:gd name="T16" fmla="*/ 38 w 39"/>
              <a:gd name="T17" fmla="*/ 8 h 18"/>
              <a:gd name="T18" fmla="*/ 39 w 39"/>
              <a:gd name="T19" fmla="*/ 6 h 18"/>
              <a:gd name="T20" fmla="*/ 29 w 39"/>
              <a:gd name="T21" fmla="*/ 5 h 18"/>
              <a:gd name="T22" fmla="*/ 19 w 39"/>
              <a:gd name="T23" fmla="*/ 3 h 18"/>
              <a:gd name="T24" fmla="*/ 10 w 39"/>
              <a:gd name="T25" fmla="*/ 0 h 18"/>
              <a:gd name="T26" fmla="*/ 0 w 39"/>
              <a:gd name="T2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grpSp>
        <p:nvGrpSpPr>
          <p:cNvPr id="180" name="Group 58">
            <a:extLst>
              <a:ext uri="{FF2B5EF4-FFF2-40B4-BE49-F238E27FC236}">
                <a16:creationId xmlns="" xmlns:a16="http://schemas.microsoft.com/office/drawing/2014/main" id="{108D8959-0193-40EF-A8D3-3E06EB237F9A}"/>
              </a:ext>
            </a:extLst>
          </p:cNvPr>
          <p:cNvGrpSpPr>
            <a:grpSpLocks/>
          </p:cNvGrpSpPr>
          <p:nvPr>
            <p:custDataLst>
              <p:tags r:id="rId50"/>
            </p:custDataLst>
          </p:nvPr>
        </p:nvGrpSpPr>
        <p:grpSpPr bwMode="auto">
          <a:xfrm>
            <a:off x="1719495" y="3591585"/>
            <a:ext cx="160511" cy="201840"/>
            <a:chOff x="1199" y="2121"/>
            <a:chExt cx="97" cy="123"/>
          </a:xfrm>
        </p:grpSpPr>
        <p:sp>
          <p:nvSpPr>
            <p:cNvPr id="665" name="Freeform 59">
              <a:extLst>
                <a:ext uri="{FF2B5EF4-FFF2-40B4-BE49-F238E27FC236}">
                  <a16:creationId xmlns="" xmlns:a16="http://schemas.microsoft.com/office/drawing/2014/main" id="{B07A64CA-052A-4C28-B5FF-695FAAB45A6A}"/>
                </a:ext>
              </a:extLst>
            </p:cNvPr>
            <p:cNvSpPr>
              <a:spLocks/>
            </p:cNvSpPr>
            <p:nvPr/>
          </p:nvSpPr>
          <p:spPr bwMode="auto">
            <a:xfrm>
              <a:off x="1274" y="2236"/>
              <a:ext cx="16" cy="8"/>
            </a:xfrm>
            <a:custGeom>
              <a:avLst/>
              <a:gdLst>
                <a:gd name="T0" fmla="*/ 0 w 52"/>
                <a:gd name="T1" fmla="*/ 25 h 25"/>
                <a:gd name="T2" fmla="*/ 7 w 52"/>
                <a:gd name="T3" fmla="*/ 25 h 25"/>
                <a:gd name="T4" fmla="*/ 15 w 52"/>
                <a:gd name="T5" fmla="*/ 24 h 25"/>
                <a:gd name="T6" fmla="*/ 23 w 52"/>
                <a:gd name="T7" fmla="*/ 22 h 25"/>
                <a:gd name="T8" fmla="*/ 30 w 52"/>
                <a:gd name="T9" fmla="*/ 19 h 25"/>
                <a:gd name="T10" fmla="*/ 38 w 52"/>
                <a:gd name="T11" fmla="*/ 15 h 25"/>
                <a:gd name="T12" fmla="*/ 43 w 52"/>
                <a:gd name="T13" fmla="*/ 11 h 25"/>
                <a:gd name="T14" fmla="*/ 49 w 52"/>
                <a:gd name="T15" fmla="*/ 6 h 25"/>
                <a:gd name="T16" fmla="*/ 52 w 52"/>
                <a:gd name="T17" fmla="*/ 0 h 25"/>
                <a:gd name="T18" fmla="*/ 40 w 52"/>
                <a:gd name="T19" fmla="*/ 0 h 25"/>
                <a:gd name="T20" fmla="*/ 31 w 52"/>
                <a:gd name="T21" fmla="*/ 0 h 25"/>
                <a:gd name="T22" fmla="*/ 23 w 52"/>
                <a:gd name="T23" fmla="*/ 1 h 25"/>
                <a:gd name="T24" fmla="*/ 16 w 52"/>
                <a:gd name="T25" fmla="*/ 3 h 25"/>
                <a:gd name="T26" fmla="*/ 11 w 52"/>
                <a:gd name="T27" fmla="*/ 6 h 25"/>
                <a:gd name="T28" fmla="*/ 5 w 52"/>
                <a:gd name="T29" fmla="*/ 10 h 25"/>
                <a:gd name="T30" fmla="*/ 2 w 52"/>
                <a:gd name="T31" fmla="*/ 16 h 25"/>
                <a:gd name="T32" fmla="*/ 0 w 5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66" name="Freeform 60">
              <a:extLst>
                <a:ext uri="{FF2B5EF4-FFF2-40B4-BE49-F238E27FC236}">
                  <a16:creationId xmlns="" xmlns:a16="http://schemas.microsoft.com/office/drawing/2014/main" id="{12746838-554F-48D6-B496-545540B51DFA}"/>
                </a:ext>
              </a:extLst>
            </p:cNvPr>
            <p:cNvSpPr>
              <a:spLocks/>
            </p:cNvSpPr>
            <p:nvPr/>
          </p:nvSpPr>
          <p:spPr bwMode="auto">
            <a:xfrm>
              <a:off x="1199" y="2131"/>
              <a:ext cx="11" cy="4"/>
            </a:xfrm>
            <a:custGeom>
              <a:avLst/>
              <a:gdLst>
                <a:gd name="T0" fmla="*/ 0 w 33"/>
                <a:gd name="T1" fmla="*/ 0 h 13"/>
                <a:gd name="T2" fmla="*/ 0 w 33"/>
                <a:gd name="T3" fmla="*/ 6 h 13"/>
                <a:gd name="T4" fmla="*/ 0 w 33"/>
                <a:gd name="T5" fmla="*/ 13 h 13"/>
                <a:gd name="T6" fmla="*/ 9 w 33"/>
                <a:gd name="T7" fmla="*/ 13 h 13"/>
                <a:gd name="T8" fmla="*/ 16 w 33"/>
                <a:gd name="T9" fmla="*/ 13 h 13"/>
                <a:gd name="T10" fmla="*/ 24 w 33"/>
                <a:gd name="T11" fmla="*/ 11 h 13"/>
                <a:gd name="T12" fmla="*/ 33 w 33"/>
                <a:gd name="T13" fmla="*/ 6 h 13"/>
                <a:gd name="T14" fmla="*/ 24 w 33"/>
                <a:gd name="T15" fmla="*/ 3 h 13"/>
                <a:gd name="T16" fmla="*/ 16 w 33"/>
                <a:gd name="T17" fmla="*/ 1 h 13"/>
                <a:gd name="T18" fmla="*/ 9 w 33"/>
                <a:gd name="T19" fmla="*/ 0 h 13"/>
                <a:gd name="T20" fmla="*/ 0 w 33"/>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67" name="Freeform 61">
              <a:extLst>
                <a:ext uri="{FF2B5EF4-FFF2-40B4-BE49-F238E27FC236}">
                  <a16:creationId xmlns="" xmlns:a16="http://schemas.microsoft.com/office/drawing/2014/main" id="{43ABB13A-D866-4374-8317-76F4051C2B18}"/>
                </a:ext>
              </a:extLst>
            </p:cNvPr>
            <p:cNvSpPr>
              <a:spLocks/>
            </p:cNvSpPr>
            <p:nvPr/>
          </p:nvSpPr>
          <p:spPr bwMode="auto">
            <a:xfrm>
              <a:off x="1210" y="2121"/>
              <a:ext cx="20" cy="28"/>
            </a:xfrm>
            <a:custGeom>
              <a:avLst/>
              <a:gdLst>
                <a:gd name="T0" fmla="*/ 26 w 67"/>
                <a:gd name="T1" fmla="*/ 18 h 86"/>
                <a:gd name="T2" fmla="*/ 0 w 67"/>
                <a:gd name="T3" fmla="*/ 0 h 86"/>
                <a:gd name="T4" fmla="*/ 26 w 67"/>
                <a:gd name="T5" fmla="*/ 0 h 86"/>
                <a:gd name="T6" fmla="*/ 29 w 67"/>
                <a:gd name="T7" fmla="*/ 4 h 86"/>
                <a:gd name="T8" fmla="*/ 33 w 67"/>
                <a:gd name="T9" fmla="*/ 8 h 86"/>
                <a:gd name="T10" fmla="*/ 36 w 67"/>
                <a:gd name="T11" fmla="*/ 11 h 86"/>
                <a:gd name="T12" fmla="*/ 39 w 67"/>
                <a:gd name="T13" fmla="*/ 14 h 86"/>
                <a:gd name="T14" fmla="*/ 47 w 67"/>
                <a:gd name="T15" fmla="*/ 17 h 86"/>
                <a:gd name="T16" fmla="*/ 54 w 67"/>
                <a:gd name="T17" fmla="*/ 18 h 86"/>
                <a:gd name="T18" fmla="*/ 58 w 67"/>
                <a:gd name="T19" fmla="*/ 30 h 86"/>
                <a:gd name="T20" fmla="*/ 62 w 67"/>
                <a:gd name="T21" fmla="*/ 40 h 86"/>
                <a:gd name="T22" fmla="*/ 63 w 67"/>
                <a:gd name="T23" fmla="*/ 45 h 86"/>
                <a:gd name="T24" fmla="*/ 66 w 67"/>
                <a:gd name="T25" fmla="*/ 50 h 86"/>
                <a:gd name="T26" fmla="*/ 66 w 67"/>
                <a:gd name="T27" fmla="*/ 55 h 86"/>
                <a:gd name="T28" fmla="*/ 67 w 67"/>
                <a:gd name="T29" fmla="*/ 61 h 86"/>
                <a:gd name="T30" fmla="*/ 63 w 67"/>
                <a:gd name="T31" fmla="*/ 74 h 86"/>
                <a:gd name="T32" fmla="*/ 60 w 67"/>
                <a:gd name="T33" fmla="*/ 86 h 86"/>
                <a:gd name="T34" fmla="*/ 55 w 67"/>
                <a:gd name="T35" fmla="*/ 69 h 86"/>
                <a:gd name="T36" fmla="*/ 51 w 67"/>
                <a:gd name="T37" fmla="*/ 54 h 86"/>
                <a:gd name="T38" fmla="*/ 50 w 67"/>
                <a:gd name="T39" fmla="*/ 47 h 86"/>
                <a:gd name="T40" fmla="*/ 50 w 67"/>
                <a:gd name="T41" fmla="*/ 41 h 86"/>
                <a:gd name="T42" fmla="*/ 51 w 67"/>
                <a:gd name="T43" fmla="*/ 35 h 86"/>
                <a:gd name="T44" fmla="*/ 54 w 67"/>
                <a:gd name="T45" fmla="*/ 30 h 86"/>
                <a:gd name="T46" fmla="*/ 44 w 67"/>
                <a:gd name="T47" fmla="*/ 30 h 86"/>
                <a:gd name="T48" fmla="*/ 35 w 67"/>
                <a:gd name="T49" fmla="*/ 29 h 86"/>
                <a:gd name="T50" fmla="*/ 32 w 67"/>
                <a:gd name="T51" fmla="*/ 27 h 86"/>
                <a:gd name="T52" fmla="*/ 28 w 67"/>
                <a:gd name="T53" fmla="*/ 25 h 86"/>
                <a:gd name="T54" fmla="*/ 27 w 67"/>
                <a:gd name="T55" fmla="*/ 22 h 86"/>
                <a:gd name="T56" fmla="*/ 26 w 67"/>
                <a:gd name="T57" fmla="*/ 1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68" name="Freeform 62">
              <a:extLst>
                <a:ext uri="{FF2B5EF4-FFF2-40B4-BE49-F238E27FC236}">
                  <a16:creationId xmlns="" xmlns:a16="http://schemas.microsoft.com/office/drawing/2014/main" id="{2D699AF6-4098-49A0-8E98-D1217DECF0A9}"/>
                </a:ext>
              </a:extLst>
            </p:cNvPr>
            <p:cNvSpPr>
              <a:spLocks/>
            </p:cNvSpPr>
            <p:nvPr/>
          </p:nvSpPr>
          <p:spPr bwMode="auto">
            <a:xfrm>
              <a:off x="1201" y="2159"/>
              <a:ext cx="16" cy="28"/>
            </a:xfrm>
            <a:custGeom>
              <a:avLst/>
              <a:gdLst>
                <a:gd name="T0" fmla="*/ 27 w 49"/>
                <a:gd name="T1" fmla="*/ 12 h 86"/>
                <a:gd name="T2" fmla="*/ 20 w 49"/>
                <a:gd name="T3" fmla="*/ 6 h 86"/>
                <a:gd name="T4" fmla="*/ 14 w 49"/>
                <a:gd name="T5" fmla="*/ 0 h 86"/>
                <a:gd name="T6" fmla="*/ 9 w 49"/>
                <a:gd name="T7" fmla="*/ 5 h 86"/>
                <a:gd name="T8" fmla="*/ 5 w 49"/>
                <a:gd name="T9" fmla="*/ 13 h 86"/>
                <a:gd name="T10" fmla="*/ 1 w 49"/>
                <a:gd name="T11" fmla="*/ 21 h 86"/>
                <a:gd name="T12" fmla="*/ 0 w 49"/>
                <a:gd name="T13" fmla="*/ 30 h 86"/>
                <a:gd name="T14" fmla="*/ 0 w 49"/>
                <a:gd name="T15" fmla="*/ 36 h 86"/>
                <a:gd name="T16" fmla="*/ 3 w 49"/>
                <a:gd name="T17" fmla="*/ 43 h 86"/>
                <a:gd name="T18" fmla="*/ 5 w 49"/>
                <a:gd name="T19" fmla="*/ 50 h 86"/>
                <a:gd name="T20" fmla="*/ 8 w 49"/>
                <a:gd name="T21" fmla="*/ 58 h 86"/>
                <a:gd name="T22" fmla="*/ 12 w 49"/>
                <a:gd name="T23" fmla="*/ 66 h 86"/>
                <a:gd name="T24" fmla="*/ 17 w 49"/>
                <a:gd name="T25" fmla="*/ 74 h 86"/>
                <a:gd name="T26" fmla="*/ 22 w 49"/>
                <a:gd name="T27" fmla="*/ 80 h 86"/>
                <a:gd name="T28" fmla="*/ 27 w 49"/>
                <a:gd name="T29" fmla="*/ 86 h 86"/>
                <a:gd name="T30" fmla="*/ 31 w 49"/>
                <a:gd name="T31" fmla="*/ 79 h 86"/>
                <a:gd name="T32" fmla="*/ 37 w 49"/>
                <a:gd name="T33" fmla="*/ 69 h 86"/>
                <a:gd name="T34" fmla="*/ 42 w 49"/>
                <a:gd name="T35" fmla="*/ 57 h 86"/>
                <a:gd name="T36" fmla="*/ 46 w 49"/>
                <a:gd name="T37" fmla="*/ 45 h 86"/>
                <a:gd name="T38" fmla="*/ 49 w 49"/>
                <a:gd name="T39" fmla="*/ 39 h 86"/>
                <a:gd name="T40" fmla="*/ 49 w 49"/>
                <a:gd name="T41" fmla="*/ 33 h 86"/>
                <a:gd name="T42" fmla="*/ 49 w 49"/>
                <a:gd name="T43" fmla="*/ 26 h 86"/>
                <a:gd name="T44" fmla="*/ 48 w 49"/>
                <a:gd name="T45" fmla="*/ 22 h 86"/>
                <a:gd name="T46" fmla="*/ 44 w 49"/>
                <a:gd name="T47" fmla="*/ 18 h 86"/>
                <a:gd name="T48" fmla="*/ 40 w 49"/>
                <a:gd name="T49" fmla="*/ 15 h 86"/>
                <a:gd name="T50" fmla="*/ 34 w 49"/>
                <a:gd name="T51" fmla="*/ 13 h 86"/>
                <a:gd name="T52" fmla="*/ 27 w 49"/>
                <a:gd name="T53"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69" name="Freeform 63">
              <a:extLst>
                <a:ext uri="{FF2B5EF4-FFF2-40B4-BE49-F238E27FC236}">
                  <a16:creationId xmlns="" xmlns:a16="http://schemas.microsoft.com/office/drawing/2014/main" id="{1A3F4603-B752-4753-8D52-78398FA282F4}"/>
                </a:ext>
              </a:extLst>
            </p:cNvPr>
            <p:cNvSpPr>
              <a:spLocks/>
            </p:cNvSpPr>
            <p:nvPr/>
          </p:nvSpPr>
          <p:spPr bwMode="auto">
            <a:xfrm>
              <a:off x="1226" y="2161"/>
              <a:ext cx="2" cy="4"/>
            </a:xfrm>
            <a:custGeom>
              <a:avLst/>
              <a:gdLst>
                <a:gd name="T0" fmla="*/ 0 w 6"/>
                <a:gd name="T1" fmla="*/ 12 h 12"/>
                <a:gd name="T2" fmla="*/ 6 w 6"/>
                <a:gd name="T3" fmla="*/ 0 h 12"/>
                <a:gd name="T4" fmla="*/ 4 w 6"/>
                <a:gd name="T5" fmla="*/ 0 h 12"/>
                <a:gd name="T6" fmla="*/ 2 w 6"/>
                <a:gd name="T7" fmla="*/ 2 h 12"/>
                <a:gd name="T8" fmla="*/ 1 w 6"/>
                <a:gd name="T9" fmla="*/ 4 h 12"/>
                <a:gd name="T10" fmla="*/ 0 w 6"/>
                <a:gd name="T11" fmla="*/ 6 h 12"/>
                <a:gd name="T12" fmla="*/ 0 w 6"/>
                <a:gd name="T13" fmla="*/ 10 h 12"/>
                <a:gd name="T14" fmla="*/ 0 w 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70" name="Freeform 64">
              <a:extLst>
                <a:ext uri="{FF2B5EF4-FFF2-40B4-BE49-F238E27FC236}">
                  <a16:creationId xmlns="" xmlns:a16="http://schemas.microsoft.com/office/drawing/2014/main" id="{64D66D3F-C1BD-445F-BF57-B5CA8AC7BAF7}"/>
                </a:ext>
              </a:extLst>
            </p:cNvPr>
            <p:cNvSpPr>
              <a:spLocks/>
            </p:cNvSpPr>
            <p:nvPr/>
          </p:nvSpPr>
          <p:spPr bwMode="auto">
            <a:xfrm>
              <a:off x="1230" y="2154"/>
              <a:ext cx="13" cy="15"/>
            </a:xfrm>
            <a:custGeom>
              <a:avLst/>
              <a:gdLst>
                <a:gd name="T0" fmla="*/ 0 w 39"/>
                <a:gd name="T1" fmla="*/ 0 h 48"/>
                <a:gd name="T2" fmla="*/ 11 w 39"/>
                <a:gd name="T3" fmla="*/ 9 h 48"/>
                <a:gd name="T4" fmla="*/ 22 w 39"/>
                <a:gd name="T5" fmla="*/ 17 h 48"/>
                <a:gd name="T6" fmla="*/ 32 w 39"/>
                <a:gd name="T7" fmla="*/ 24 h 48"/>
                <a:gd name="T8" fmla="*/ 39 w 39"/>
                <a:gd name="T9" fmla="*/ 30 h 48"/>
                <a:gd name="T10" fmla="*/ 36 w 39"/>
                <a:gd name="T11" fmla="*/ 39 h 48"/>
                <a:gd name="T12" fmla="*/ 33 w 39"/>
                <a:gd name="T13" fmla="*/ 48 h 48"/>
                <a:gd name="T14" fmla="*/ 18 w 39"/>
                <a:gd name="T15" fmla="*/ 36 h 48"/>
                <a:gd name="T16" fmla="*/ 8 w 39"/>
                <a:gd name="T17" fmla="*/ 26 h 48"/>
                <a:gd name="T18" fmla="*/ 4 w 39"/>
                <a:gd name="T19" fmla="*/ 21 h 48"/>
                <a:gd name="T20" fmla="*/ 2 w 39"/>
                <a:gd name="T21" fmla="*/ 15 h 48"/>
                <a:gd name="T22" fmla="*/ 0 w 39"/>
                <a:gd name="T23" fmla="*/ 8 h 48"/>
                <a:gd name="T24" fmla="*/ 0 w 3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71" name="Freeform 65">
              <a:extLst>
                <a:ext uri="{FF2B5EF4-FFF2-40B4-BE49-F238E27FC236}">
                  <a16:creationId xmlns="" xmlns:a16="http://schemas.microsoft.com/office/drawing/2014/main" id="{D8B794D8-AF7E-43C6-81D4-1AAC3186CE42}"/>
                </a:ext>
              </a:extLst>
            </p:cNvPr>
            <p:cNvSpPr>
              <a:spLocks/>
            </p:cNvSpPr>
            <p:nvPr/>
          </p:nvSpPr>
          <p:spPr bwMode="auto">
            <a:xfrm>
              <a:off x="1247" y="2167"/>
              <a:ext cx="6" cy="14"/>
            </a:xfrm>
            <a:custGeom>
              <a:avLst/>
              <a:gdLst>
                <a:gd name="T0" fmla="*/ 7 w 16"/>
                <a:gd name="T1" fmla="*/ 0 h 43"/>
                <a:gd name="T2" fmla="*/ 11 w 16"/>
                <a:gd name="T3" fmla="*/ 9 h 43"/>
                <a:gd name="T4" fmla="*/ 15 w 16"/>
                <a:gd name="T5" fmla="*/ 16 h 43"/>
                <a:gd name="T6" fmla="*/ 16 w 16"/>
                <a:gd name="T7" fmla="*/ 22 h 43"/>
                <a:gd name="T8" fmla="*/ 16 w 16"/>
                <a:gd name="T9" fmla="*/ 27 h 43"/>
                <a:gd name="T10" fmla="*/ 15 w 16"/>
                <a:gd name="T11" fmla="*/ 31 h 43"/>
                <a:gd name="T12" fmla="*/ 11 w 16"/>
                <a:gd name="T13" fmla="*/ 35 h 43"/>
                <a:gd name="T14" fmla="*/ 7 w 16"/>
                <a:gd name="T15" fmla="*/ 39 h 43"/>
                <a:gd name="T16" fmla="*/ 0 w 16"/>
                <a:gd name="T17" fmla="*/ 43 h 43"/>
                <a:gd name="T18" fmla="*/ 2 w 16"/>
                <a:gd name="T19" fmla="*/ 28 h 43"/>
                <a:gd name="T20" fmla="*/ 4 w 16"/>
                <a:gd name="T21" fmla="*/ 18 h 43"/>
                <a:gd name="T22" fmla="*/ 6 w 16"/>
                <a:gd name="T23" fmla="*/ 9 h 43"/>
                <a:gd name="T24" fmla="*/ 7 w 16"/>
                <a:gd name="T2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72" name="Freeform 66">
              <a:extLst>
                <a:ext uri="{FF2B5EF4-FFF2-40B4-BE49-F238E27FC236}">
                  <a16:creationId xmlns="" xmlns:a16="http://schemas.microsoft.com/office/drawing/2014/main" id="{E47464FF-C21A-45EC-B676-B3ACE6945C1F}"/>
                </a:ext>
              </a:extLst>
            </p:cNvPr>
            <p:cNvSpPr>
              <a:spLocks/>
            </p:cNvSpPr>
            <p:nvPr/>
          </p:nvSpPr>
          <p:spPr bwMode="auto">
            <a:xfrm>
              <a:off x="1248" y="2190"/>
              <a:ext cx="8" cy="12"/>
            </a:xfrm>
            <a:custGeom>
              <a:avLst/>
              <a:gdLst>
                <a:gd name="T0" fmla="*/ 24 w 24"/>
                <a:gd name="T1" fmla="*/ 36 h 37"/>
                <a:gd name="T2" fmla="*/ 19 w 24"/>
                <a:gd name="T3" fmla="*/ 27 h 37"/>
                <a:gd name="T4" fmla="*/ 15 w 24"/>
                <a:gd name="T5" fmla="*/ 18 h 37"/>
                <a:gd name="T6" fmla="*/ 12 w 24"/>
                <a:gd name="T7" fmla="*/ 9 h 37"/>
                <a:gd name="T8" fmla="*/ 11 w 24"/>
                <a:gd name="T9" fmla="*/ 0 h 37"/>
                <a:gd name="T10" fmla="*/ 6 w 24"/>
                <a:gd name="T11" fmla="*/ 10 h 37"/>
                <a:gd name="T12" fmla="*/ 3 w 24"/>
                <a:gd name="T13" fmla="*/ 19 h 37"/>
                <a:gd name="T14" fmla="*/ 1 w 24"/>
                <a:gd name="T15" fmla="*/ 26 h 37"/>
                <a:gd name="T16" fmla="*/ 0 w 24"/>
                <a:gd name="T17" fmla="*/ 31 h 37"/>
                <a:gd name="T18" fmla="*/ 1 w 24"/>
                <a:gd name="T19" fmla="*/ 33 h 37"/>
                <a:gd name="T20" fmla="*/ 2 w 24"/>
                <a:gd name="T21" fmla="*/ 35 h 37"/>
                <a:gd name="T22" fmla="*/ 4 w 24"/>
                <a:gd name="T23" fmla="*/ 36 h 37"/>
                <a:gd name="T24" fmla="*/ 6 w 24"/>
                <a:gd name="T25" fmla="*/ 37 h 37"/>
                <a:gd name="T26" fmla="*/ 14 w 24"/>
                <a:gd name="T27" fmla="*/ 37 h 37"/>
                <a:gd name="T28" fmla="*/ 24 w 24"/>
                <a:gd name="T29" fmla="*/ 3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73" name="Freeform 67">
              <a:extLst>
                <a:ext uri="{FF2B5EF4-FFF2-40B4-BE49-F238E27FC236}">
                  <a16:creationId xmlns="" xmlns:a16="http://schemas.microsoft.com/office/drawing/2014/main" id="{BEB162BA-E3C6-4269-91A1-9BDAA6626D96}"/>
                </a:ext>
              </a:extLst>
            </p:cNvPr>
            <p:cNvSpPr>
              <a:spLocks/>
            </p:cNvSpPr>
            <p:nvPr/>
          </p:nvSpPr>
          <p:spPr bwMode="auto">
            <a:xfrm>
              <a:off x="1265" y="2204"/>
              <a:ext cx="11" cy="17"/>
            </a:xfrm>
            <a:custGeom>
              <a:avLst/>
              <a:gdLst>
                <a:gd name="T0" fmla="*/ 34 w 34"/>
                <a:gd name="T1" fmla="*/ 0 h 55"/>
                <a:gd name="T2" fmla="*/ 34 w 34"/>
                <a:gd name="T3" fmla="*/ 13 h 55"/>
                <a:gd name="T4" fmla="*/ 34 w 34"/>
                <a:gd name="T5" fmla="*/ 25 h 55"/>
                <a:gd name="T6" fmla="*/ 33 w 34"/>
                <a:gd name="T7" fmla="*/ 32 h 55"/>
                <a:gd name="T8" fmla="*/ 31 w 34"/>
                <a:gd name="T9" fmla="*/ 38 h 55"/>
                <a:gd name="T10" fmla="*/ 29 w 34"/>
                <a:gd name="T11" fmla="*/ 43 h 55"/>
                <a:gd name="T12" fmla="*/ 24 w 34"/>
                <a:gd name="T13" fmla="*/ 47 h 55"/>
                <a:gd name="T14" fmla="*/ 20 w 34"/>
                <a:gd name="T15" fmla="*/ 51 h 55"/>
                <a:gd name="T16" fmla="*/ 14 w 34"/>
                <a:gd name="T17" fmla="*/ 53 h 55"/>
                <a:gd name="T18" fmla="*/ 8 w 34"/>
                <a:gd name="T19" fmla="*/ 55 h 55"/>
                <a:gd name="T20" fmla="*/ 0 w 34"/>
                <a:gd name="T21" fmla="*/ 55 h 55"/>
                <a:gd name="T22" fmla="*/ 9 w 34"/>
                <a:gd name="T23" fmla="*/ 36 h 55"/>
                <a:gd name="T24" fmla="*/ 14 w 34"/>
                <a:gd name="T25" fmla="*/ 21 h 55"/>
                <a:gd name="T26" fmla="*/ 18 w 34"/>
                <a:gd name="T27" fmla="*/ 16 h 55"/>
                <a:gd name="T28" fmla="*/ 22 w 34"/>
                <a:gd name="T29" fmla="*/ 10 h 55"/>
                <a:gd name="T30" fmla="*/ 28 w 34"/>
                <a:gd name="T31" fmla="*/ 5 h 55"/>
                <a:gd name="T32" fmla="*/ 34 w 34"/>
                <a:gd name="T3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74" name="Freeform 68">
              <a:extLst>
                <a:ext uri="{FF2B5EF4-FFF2-40B4-BE49-F238E27FC236}">
                  <a16:creationId xmlns="" xmlns:a16="http://schemas.microsoft.com/office/drawing/2014/main" id="{4EAE8197-8D3E-41EC-BE13-C79E97ADD47C}"/>
                </a:ext>
              </a:extLst>
            </p:cNvPr>
            <p:cNvSpPr>
              <a:spLocks/>
            </p:cNvSpPr>
            <p:nvPr/>
          </p:nvSpPr>
          <p:spPr bwMode="auto">
            <a:xfrm>
              <a:off x="1285" y="2215"/>
              <a:ext cx="11" cy="4"/>
            </a:xfrm>
            <a:custGeom>
              <a:avLst/>
              <a:gdLst>
                <a:gd name="T0" fmla="*/ 0 w 33"/>
                <a:gd name="T1" fmla="*/ 0 h 12"/>
                <a:gd name="T2" fmla="*/ 2 w 33"/>
                <a:gd name="T3" fmla="*/ 4 h 12"/>
                <a:gd name="T4" fmla="*/ 6 w 33"/>
                <a:gd name="T5" fmla="*/ 7 h 12"/>
                <a:gd name="T6" fmla="*/ 10 w 33"/>
                <a:gd name="T7" fmla="*/ 9 h 12"/>
                <a:gd name="T8" fmla="*/ 14 w 33"/>
                <a:gd name="T9" fmla="*/ 11 h 12"/>
                <a:gd name="T10" fmla="*/ 23 w 33"/>
                <a:gd name="T11" fmla="*/ 12 h 12"/>
                <a:gd name="T12" fmla="*/ 33 w 33"/>
                <a:gd name="T13" fmla="*/ 12 h 12"/>
                <a:gd name="T14" fmla="*/ 28 w 33"/>
                <a:gd name="T15" fmla="*/ 8 h 12"/>
                <a:gd name="T16" fmla="*/ 19 w 33"/>
                <a:gd name="T17" fmla="*/ 4 h 12"/>
                <a:gd name="T18" fmla="*/ 10 w 33"/>
                <a:gd name="T19" fmla="*/ 1 h 12"/>
                <a:gd name="T20" fmla="*/ 0 w 33"/>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grpSp>
      <p:sp>
        <p:nvSpPr>
          <p:cNvPr id="181" name="Freeform 69">
            <a:extLst>
              <a:ext uri="{FF2B5EF4-FFF2-40B4-BE49-F238E27FC236}">
                <a16:creationId xmlns="" xmlns:a16="http://schemas.microsoft.com/office/drawing/2014/main" id="{CE2B0E48-5135-49CD-A162-F172D5233F58}"/>
              </a:ext>
            </a:extLst>
          </p:cNvPr>
          <p:cNvSpPr>
            <a:spLocks/>
          </p:cNvSpPr>
          <p:nvPr>
            <p:custDataLst>
              <p:tags r:id="rId51"/>
            </p:custDataLst>
          </p:nvPr>
        </p:nvSpPr>
        <p:spPr bwMode="auto">
          <a:xfrm>
            <a:off x="8801262" y="5066822"/>
            <a:ext cx="15471" cy="59076"/>
          </a:xfrm>
          <a:custGeom>
            <a:avLst/>
            <a:gdLst>
              <a:gd name="T0" fmla="*/ 0 w 33"/>
              <a:gd name="T1" fmla="*/ 62 h 62"/>
              <a:gd name="T2" fmla="*/ 0 w 33"/>
              <a:gd name="T3" fmla="*/ 53 h 62"/>
              <a:gd name="T4" fmla="*/ 0 w 33"/>
              <a:gd name="T5" fmla="*/ 45 h 62"/>
              <a:gd name="T6" fmla="*/ 0 w 33"/>
              <a:gd name="T7" fmla="*/ 37 h 62"/>
              <a:gd name="T8" fmla="*/ 0 w 33"/>
              <a:gd name="T9" fmla="*/ 31 h 62"/>
              <a:gd name="T10" fmla="*/ 0 w 33"/>
              <a:gd name="T11" fmla="*/ 26 h 62"/>
              <a:gd name="T12" fmla="*/ 2 w 33"/>
              <a:gd name="T13" fmla="*/ 22 h 62"/>
              <a:gd name="T14" fmla="*/ 4 w 33"/>
              <a:gd name="T15" fmla="*/ 17 h 62"/>
              <a:gd name="T16" fmla="*/ 8 w 33"/>
              <a:gd name="T17" fmla="*/ 13 h 62"/>
              <a:gd name="T18" fmla="*/ 14 w 33"/>
              <a:gd name="T19" fmla="*/ 6 h 62"/>
              <a:gd name="T20" fmla="*/ 20 w 33"/>
              <a:gd name="T21" fmla="*/ 0 h 62"/>
              <a:gd name="T22" fmla="*/ 26 w 33"/>
              <a:gd name="T23" fmla="*/ 6 h 62"/>
              <a:gd name="T24" fmla="*/ 33 w 33"/>
              <a:gd name="T25"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82" name="Freeform 70">
            <a:extLst>
              <a:ext uri="{FF2B5EF4-FFF2-40B4-BE49-F238E27FC236}">
                <a16:creationId xmlns="" xmlns:a16="http://schemas.microsoft.com/office/drawing/2014/main" id="{F72D50F8-3F41-432D-8CFF-34BF94F9D727}"/>
              </a:ext>
            </a:extLst>
          </p:cNvPr>
          <p:cNvSpPr>
            <a:spLocks/>
          </p:cNvSpPr>
          <p:nvPr>
            <p:custDataLst>
              <p:tags r:id="rId52"/>
            </p:custDataLst>
          </p:nvPr>
        </p:nvSpPr>
        <p:spPr bwMode="auto">
          <a:xfrm>
            <a:off x="8812865" y="5160358"/>
            <a:ext cx="11603" cy="60715"/>
          </a:xfrm>
          <a:custGeom>
            <a:avLst/>
            <a:gdLst>
              <a:gd name="T0" fmla="*/ 0 w 26"/>
              <a:gd name="T1" fmla="*/ 18 h 18"/>
              <a:gd name="T2" fmla="*/ 0 w 26"/>
              <a:gd name="T3" fmla="*/ 0 h 18"/>
              <a:gd name="T4" fmla="*/ 26 w 26"/>
              <a:gd name="T5" fmla="*/ 0 h 18"/>
              <a:gd name="T6" fmla="*/ 6 w 26"/>
              <a:gd name="T7" fmla="*/ 12 h 18"/>
              <a:gd name="T8" fmla="*/ 6 w 26"/>
              <a:gd name="T9" fmla="*/ 6 h 18"/>
            </a:gdLst>
            <a:ahLst/>
            <a:cxnLst>
              <a:cxn ang="0">
                <a:pos x="T0" y="T1"/>
              </a:cxn>
              <a:cxn ang="0">
                <a:pos x="T2" y="T3"/>
              </a:cxn>
              <a:cxn ang="0">
                <a:pos x="T4" y="T5"/>
              </a:cxn>
              <a:cxn ang="0">
                <a:pos x="T6" y="T7"/>
              </a:cxn>
              <a:cxn ang="0">
                <a:pos x="T8" y="T9"/>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83" name="Freeform 71">
            <a:extLst>
              <a:ext uri="{FF2B5EF4-FFF2-40B4-BE49-F238E27FC236}">
                <a16:creationId xmlns="" xmlns:a16="http://schemas.microsoft.com/office/drawing/2014/main" id="{25EEDB43-71D7-4ED7-81A0-8B948D370837}"/>
              </a:ext>
            </a:extLst>
          </p:cNvPr>
          <p:cNvSpPr>
            <a:spLocks/>
          </p:cNvSpPr>
          <p:nvPr>
            <p:custDataLst>
              <p:tags r:id="rId53"/>
            </p:custDataLst>
          </p:nvPr>
        </p:nvSpPr>
        <p:spPr bwMode="auto">
          <a:xfrm>
            <a:off x="8952103" y="5066822"/>
            <a:ext cx="94760" cy="134560"/>
          </a:xfrm>
          <a:custGeom>
            <a:avLst/>
            <a:gdLst>
              <a:gd name="T0" fmla="*/ 180 w 180"/>
              <a:gd name="T1" fmla="*/ 222 h 240"/>
              <a:gd name="T2" fmla="*/ 175 w 180"/>
              <a:gd name="T3" fmla="*/ 223 h 240"/>
              <a:gd name="T4" fmla="*/ 171 w 180"/>
              <a:gd name="T5" fmla="*/ 223 h 240"/>
              <a:gd name="T6" fmla="*/ 167 w 180"/>
              <a:gd name="T7" fmla="*/ 225 h 240"/>
              <a:gd name="T8" fmla="*/ 164 w 180"/>
              <a:gd name="T9" fmla="*/ 227 h 240"/>
              <a:gd name="T10" fmla="*/ 158 w 180"/>
              <a:gd name="T11" fmla="*/ 232 h 240"/>
              <a:gd name="T12" fmla="*/ 153 w 180"/>
              <a:gd name="T13" fmla="*/ 240 h 240"/>
              <a:gd name="T14" fmla="*/ 140 w 180"/>
              <a:gd name="T15" fmla="*/ 232 h 240"/>
              <a:gd name="T16" fmla="*/ 131 w 180"/>
              <a:gd name="T17" fmla="*/ 223 h 240"/>
              <a:gd name="T18" fmla="*/ 123 w 180"/>
              <a:gd name="T19" fmla="*/ 214 h 240"/>
              <a:gd name="T20" fmla="*/ 118 w 180"/>
              <a:gd name="T21" fmla="*/ 206 h 240"/>
              <a:gd name="T22" fmla="*/ 112 w 180"/>
              <a:gd name="T23" fmla="*/ 195 h 240"/>
              <a:gd name="T24" fmla="*/ 106 w 180"/>
              <a:gd name="T25" fmla="*/ 185 h 240"/>
              <a:gd name="T26" fmla="*/ 98 w 180"/>
              <a:gd name="T27" fmla="*/ 174 h 240"/>
              <a:gd name="T28" fmla="*/ 87 w 180"/>
              <a:gd name="T29" fmla="*/ 161 h 240"/>
              <a:gd name="T30" fmla="*/ 82 w 180"/>
              <a:gd name="T31" fmla="*/ 153 h 240"/>
              <a:gd name="T32" fmla="*/ 75 w 180"/>
              <a:gd name="T33" fmla="*/ 146 h 240"/>
              <a:gd name="T34" fmla="*/ 70 w 180"/>
              <a:gd name="T35" fmla="*/ 139 h 240"/>
              <a:gd name="T36" fmla="*/ 62 w 180"/>
              <a:gd name="T37" fmla="*/ 133 h 240"/>
              <a:gd name="T38" fmla="*/ 48 w 180"/>
              <a:gd name="T39" fmla="*/ 121 h 240"/>
              <a:gd name="T40" fmla="*/ 33 w 180"/>
              <a:gd name="T41" fmla="*/ 110 h 240"/>
              <a:gd name="T42" fmla="*/ 27 w 180"/>
              <a:gd name="T43" fmla="*/ 104 h 240"/>
              <a:gd name="T44" fmla="*/ 21 w 180"/>
              <a:gd name="T45" fmla="*/ 98 h 240"/>
              <a:gd name="T46" fmla="*/ 15 w 180"/>
              <a:gd name="T47" fmla="*/ 92 h 240"/>
              <a:gd name="T48" fmla="*/ 10 w 180"/>
              <a:gd name="T49" fmla="*/ 84 h 240"/>
              <a:gd name="T50" fmla="*/ 6 w 180"/>
              <a:gd name="T51" fmla="*/ 77 h 240"/>
              <a:gd name="T52" fmla="*/ 4 w 180"/>
              <a:gd name="T53" fmla="*/ 68 h 240"/>
              <a:gd name="T54" fmla="*/ 1 w 180"/>
              <a:gd name="T55" fmla="*/ 60 h 240"/>
              <a:gd name="T56" fmla="*/ 0 w 180"/>
              <a:gd name="T57" fmla="*/ 50 h 240"/>
              <a:gd name="T58" fmla="*/ 0 w 180"/>
              <a:gd name="T59" fmla="*/ 35 h 240"/>
              <a:gd name="T60" fmla="*/ 0 w 180"/>
              <a:gd name="T61" fmla="*/ 25 h 240"/>
              <a:gd name="T62" fmla="*/ 0 w 180"/>
              <a:gd name="T63" fmla="*/ 15 h 240"/>
              <a:gd name="T64" fmla="*/ 0 w 180"/>
              <a:gd name="T65" fmla="*/ 0 h 240"/>
              <a:gd name="T66" fmla="*/ 10 w 180"/>
              <a:gd name="T67" fmla="*/ 8 h 240"/>
              <a:gd name="T68" fmla="*/ 19 w 180"/>
              <a:gd name="T69" fmla="*/ 17 h 240"/>
              <a:gd name="T70" fmla="*/ 27 w 180"/>
              <a:gd name="T71" fmla="*/ 27 h 240"/>
              <a:gd name="T72" fmla="*/ 34 w 180"/>
              <a:gd name="T73" fmla="*/ 38 h 240"/>
              <a:gd name="T74" fmla="*/ 41 w 180"/>
              <a:gd name="T75" fmla="*/ 48 h 240"/>
              <a:gd name="T76" fmla="*/ 46 w 180"/>
              <a:gd name="T77" fmla="*/ 58 h 240"/>
              <a:gd name="T78" fmla="*/ 51 w 180"/>
              <a:gd name="T79" fmla="*/ 66 h 240"/>
              <a:gd name="T80" fmla="*/ 54 w 180"/>
              <a:gd name="T81" fmla="*/ 74 h 240"/>
              <a:gd name="T82" fmla="*/ 60 w 180"/>
              <a:gd name="T83" fmla="*/ 86 h 240"/>
              <a:gd name="T84" fmla="*/ 66 w 180"/>
              <a:gd name="T85" fmla="*/ 98 h 240"/>
              <a:gd name="T86" fmla="*/ 74 w 180"/>
              <a:gd name="T87" fmla="*/ 107 h 240"/>
              <a:gd name="T88" fmla="*/ 82 w 180"/>
              <a:gd name="T89" fmla="*/ 116 h 240"/>
              <a:gd name="T90" fmla="*/ 100 w 180"/>
              <a:gd name="T91" fmla="*/ 133 h 240"/>
              <a:gd name="T92" fmla="*/ 119 w 180"/>
              <a:gd name="T93" fmla="*/ 149 h 240"/>
              <a:gd name="T94" fmla="*/ 139 w 180"/>
              <a:gd name="T95" fmla="*/ 164 h 240"/>
              <a:gd name="T96" fmla="*/ 155 w 180"/>
              <a:gd name="T97" fmla="*/ 180 h 240"/>
              <a:gd name="T98" fmla="*/ 163 w 180"/>
              <a:gd name="T99" fmla="*/ 189 h 240"/>
              <a:gd name="T100" fmla="*/ 169 w 180"/>
              <a:gd name="T101" fmla="*/ 199 h 240"/>
              <a:gd name="T102" fmla="*/ 175 w 180"/>
              <a:gd name="T103" fmla="*/ 210 h 240"/>
              <a:gd name="T104" fmla="*/ 180 w 180"/>
              <a:gd name="T105" fmla="*/ 22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84" name="Freeform 72">
            <a:extLst>
              <a:ext uri="{FF2B5EF4-FFF2-40B4-BE49-F238E27FC236}">
                <a16:creationId xmlns="" xmlns:a16="http://schemas.microsoft.com/office/drawing/2014/main" id="{8B993FAB-F460-4808-8406-DE31EEB6D23D}"/>
              </a:ext>
            </a:extLst>
          </p:cNvPr>
          <p:cNvSpPr>
            <a:spLocks/>
          </p:cNvSpPr>
          <p:nvPr>
            <p:custDataLst>
              <p:tags r:id="rId54"/>
            </p:custDataLst>
          </p:nvPr>
        </p:nvSpPr>
        <p:spPr bwMode="auto">
          <a:xfrm>
            <a:off x="8952103" y="5038925"/>
            <a:ext cx="17405" cy="59076"/>
          </a:xfrm>
          <a:custGeom>
            <a:avLst/>
            <a:gdLst>
              <a:gd name="T0" fmla="*/ 0 w 27"/>
              <a:gd name="T1" fmla="*/ 0 h 30"/>
              <a:gd name="T2" fmla="*/ 1 w 27"/>
              <a:gd name="T3" fmla="*/ 5 h 30"/>
              <a:gd name="T4" fmla="*/ 3 w 27"/>
              <a:gd name="T5" fmla="*/ 11 h 30"/>
              <a:gd name="T6" fmla="*/ 4 w 27"/>
              <a:gd name="T7" fmla="*/ 14 h 30"/>
              <a:gd name="T8" fmla="*/ 4 w 27"/>
              <a:gd name="T9" fmla="*/ 19 h 30"/>
              <a:gd name="T10" fmla="*/ 3 w 27"/>
              <a:gd name="T11" fmla="*/ 24 h 30"/>
              <a:gd name="T12" fmla="*/ 0 w 27"/>
              <a:gd name="T13" fmla="*/ 30 h 30"/>
              <a:gd name="T14" fmla="*/ 17 w 27"/>
              <a:gd name="T15" fmla="*/ 27 h 30"/>
              <a:gd name="T16" fmla="*/ 27 w 27"/>
              <a:gd name="T17" fmla="*/ 24 h 30"/>
              <a:gd name="T18" fmla="*/ 23 w 27"/>
              <a:gd name="T19" fmla="*/ 20 h 30"/>
              <a:gd name="T20" fmla="*/ 17 w 27"/>
              <a:gd name="T21" fmla="*/ 12 h 30"/>
              <a:gd name="T22" fmla="*/ 11 w 27"/>
              <a:gd name="T23" fmla="*/ 8 h 30"/>
              <a:gd name="T24" fmla="*/ 7 w 27"/>
              <a:gd name="T25" fmla="*/ 4 h 30"/>
              <a:gd name="T26" fmla="*/ 4 w 27"/>
              <a:gd name="T27" fmla="*/ 1 h 30"/>
              <a:gd name="T28" fmla="*/ 0 w 27"/>
              <a:gd name="T2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grpSp>
        <p:nvGrpSpPr>
          <p:cNvPr id="185" name="Group 73">
            <a:extLst>
              <a:ext uri="{FF2B5EF4-FFF2-40B4-BE49-F238E27FC236}">
                <a16:creationId xmlns="" xmlns:a16="http://schemas.microsoft.com/office/drawing/2014/main" id="{CCB0F609-E9B3-4755-A16C-F839686664C5}"/>
              </a:ext>
            </a:extLst>
          </p:cNvPr>
          <p:cNvGrpSpPr>
            <a:grpSpLocks/>
          </p:cNvGrpSpPr>
          <p:nvPr>
            <p:custDataLst>
              <p:tags r:id="rId55"/>
            </p:custDataLst>
          </p:nvPr>
        </p:nvGrpSpPr>
        <p:grpSpPr bwMode="auto">
          <a:xfrm>
            <a:off x="8575002" y="5577166"/>
            <a:ext cx="558883" cy="418448"/>
            <a:chOff x="5372" y="3323"/>
            <a:chExt cx="341" cy="253"/>
          </a:xfrm>
        </p:grpSpPr>
        <p:sp>
          <p:nvSpPr>
            <p:cNvPr id="662" name="Freeform 74">
              <a:extLst>
                <a:ext uri="{FF2B5EF4-FFF2-40B4-BE49-F238E27FC236}">
                  <a16:creationId xmlns="" xmlns:a16="http://schemas.microsoft.com/office/drawing/2014/main" id="{D45CC557-05A1-4701-A14F-7614BB910D92}"/>
                </a:ext>
              </a:extLst>
            </p:cNvPr>
            <p:cNvSpPr>
              <a:spLocks/>
            </p:cNvSpPr>
            <p:nvPr/>
          </p:nvSpPr>
          <p:spPr bwMode="auto">
            <a:xfrm>
              <a:off x="5372" y="3565"/>
              <a:ext cx="16" cy="11"/>
            </a:xfrm>
            <a:custGeom>
              <a:avLst/>
              <a:gdLst>
                <a:gd name="T0" fmla="*/ 0 w 53"/>
                <a:gd name="T1" fmla="*/ 31 h 33"/>
                <a:gd name="T2" fmla="*/ 4 w 53"/>
                <a:gd name="T3" fmla="*/ 26 h 33"/>
                <a:gd name="T4" fmla="*/ 8 w 53"/>
                <a:gd name="T5" fmla="*/ 21 h 33"/>
                <a:gd name="T6" fmla="*/ 15 w 53"/>
                <a:gd name="T7" fmla="*/ 16 h 33"/>
                <a:gd name="T8" fmla="*/ 21 w 53"/>
                <a:gd name="T9" fmla="*/ 11 h 33"/>
                <a:gd name="T10" fmla="*/ 29 w 53"/>
                <a:gd name="T11" fmla="*/ 7 h 33"/>
                <a:gd name="T12" fmla="*/ 38 w 53"/>
                <a:gd name="T13" fmla="*/ 3 h 33"/>
                <a:gd name="T14" fmla="*/ 45 w 53"/>
                <a:gd name="T15" fmla="*/ 1 h 33"/>
                <a:gd name="T16" fmla="*/ 53 w 53"/>
                <a:gd name="T17" fmla="*/ 0 h 33"/>
                <a:gd name="T18" fmla="*/ 53 w 53"/>
                <a:gd name="T19" fmla="*/ 18 h 33"/>
                <a:gd name="T20" fmla="*/ 38 w 53"/>
                <a:gd name="T21" fmla="*/ 24 h 33"/>
                <a:gd name="T22" fmla="*/ 27 w 53"/>
                <a:gd name="T23" fmla="*/ 30 h 33"/>
                <a:gd name="T24" fmla="*/ 21 w 53"/>
                <a:gd name="T25" fmla="*/ 32 h 33"/>
                <a:gd name="T26" fmla="*/ 16 w 53"/>
                <a:gd name="T27" fmla="*/ 33 h 33"/>
                <a:gd name="T28" fmla="*/ 9 w 53"/>
                <a:gd name="T29" fmla="*/ 33 h 33"/>
                <a:gd name="T30" fmla="*/ 0 w 53"/>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663" name="Freeform 75">
              <a:extLst>
                <a:ext uri="{FF2B5EF4-FFF2-40B4-BE49-F238E27FC236}">
                  <a16:creationId xmlns="" xmlns:a16="http://schemas.microsoft.com/office/drawing/2014/main" id="{9ECB9EF2-6BBD-4541-A1BB-0069EC55A026}"/>
                </a:ext>
              </a:extLst>
            </p:cNvPr>
            <p:cNvSpPr>
              <a:spLocks/>
            </p:cNvSpPr>
            <p:nvPr/>
          </p:nvSpPr>
          <p:spPr bwMode="auto">
            <a:xfrm>
              <a:off x="5379" y="3446"/>
              <a:ext cx="202" cy="117"/>
            </a:xfrm>
            <a:custGeom>
              <a:avLst/>
              <a:gdLst>
                <a:gd name="T0" fmla="*/ 24 w 631"/>
                <a:gd name="T1" fmla="*/ 296 h 358"/>
                <a:gd name="T2" fmla="*/ 50 w 631"/>
                <a:gd name="T3" fmla="*/ 290 h 358"/>
                <a:gd name="T4" fmla="*/ 65 w 631"/>
                <a:gd name="T5" fmla="*/ 277 h 358"/>
                <a:gd name="T6" fmla="*/ 79 w 631"/>
                <a:gd name="T7" fmla="*/ 253 h 358"/>
                <a:gd name="T8" fmla="*/ 100 w 631"/>
                <a:gd name="T9" fmla="*/ 256 h 358"/>
                <a:gd name="T10" fmla="*/ 126 w 631"/>
                <a:gd name="T11" fmla="*/ 253 h 358"/>
                <a:gd name="T12" fmla="*/ 141 w 631"/>
                <a:gd name="T13" fmla="*/ 247 h 358"/>
                <a:gd name="T14" fmla="*/ 162 w 631"/>
                <a:gd name="T15" fmla="*/ 229 h 358"/>
                <a:gd name="T16" fmla="*/ 180 w 631"/>
                <a:gd name="T17" fmla="*/ 208 h 358"/>
                <a:gd name="T18" fmla="*/ 211 w 631"/>
                <a:gd name="T19" fmla="*/ 192 h 358"/>
                <a:gd name="T20" fmla="*/ 260 w 631"/>
                <a:gd name="T21" fmla="*/ 175 h 358"/>
                <a:gd name="T22" fmla="*/ 329 w 631"/>
                <a:gd name="T23" fmla="*/ 152 h 358"/>
                <a:gd name="T24" fmla="*/ 361 w 631"/>
                <a:gd name="T25" fmla="*/ 137 h 358"/>
                <a:gd name="T26" fmla="*/ 392 w 631"/>
                <a:gd name="T27" fmla="*/ 130 h 358"/>
                <a:gd name="T28" fmla="*/ 406 w 631"/>
                <a:gd name="T29" fmla="*/ 127 h 358"/>
                <a:gd name="T30" fmla="*/ 440 w 631"/>
                <a:gd name="T31" fmla="*/ 107 h 358"/>
                <a:gd name="T32" fmla="*/ 469 w 631"/>
                <a:gd name="T33" fmla="*/ 80 h 358"/>
                <a:gd name="T34" fmla="*/ 478 w 631"/>
                <a:gd name="T35" fmla="*/ 63 h 358"/>
                <a:gd name="T36" fmla="*/ 504 w 631"/>
                <a:gd name="T37" fmla="*/ 58 h 358"/>
                <a:gd name="T38" fmla="*/ 537 w 631"/>
                <a:gd name="T39" fmla="*/ 36 h 358"/>
                <a:gd name="T40" fmla="*/ 568 w 631"/>
                <a:gd name="T41" fmla="*/ 11 h 358"/>
                <a:gd name="T42" fmla="*/ 591 w 631"/>
                <a:gd name="T43" fmla="*/ 0 h 358"/>
                <a:gd name="T44" fmla="*/ 602 w 631"/>
                <a:gd name="T45" fmla="*/ 22 h 358"/>
                <a:gd name="T46" fmla="*/ 617 w 631"/>
                <a:gd name="T47" fmla="*/ 30 h 358"/>
                <a:gd name="T48" fmla="*/ 625 w 631"/>
                <a:gd name="T49" fmla="*/ 46 h 358"/>
                <a:gd name="T50" fmla="*/ 601 w 631"/>
                <a:gd name="T51" fmla="*/ 88 h 358"/>
                <a:gd name="T52" fmla="*/ 568 w 631"/>
                <a:gd name="T53" fmla="*/ 125 h 358"/>
                <a:gd name="T54" fmla="*/ 529 w 631"/>
                <a:gd name="T55" fmla="*/ 154 h 358"/>
                <a:gd name="T56" fmla="*/ 487 w 631"/>
                <a:gd name="T57" fmla="*/ 173 h 358"/>
                <a:gd name="T58" fmla="*/ 445 w 631"/>
                <a:gd name="T59" fmla="*/ 180 h 358"/>
                <a:gd name="T60" fmla="*/ 438 w 631"/>
                <a:gd name="T61" fmla="*/ 197 h 358"/>
                <a:gd name="T62" fmla="*/ 433 w 631"/>
                <a:gd name="T63" fmla="*/ 200 h 358"/>
                <a:gd name="T64" fmla="*/ 395 w 631"/>
                <a:gd name="T65" fmla="*/ 199 h 358"/>
                <a:gd name="T66" fmla="*/ 367 w 631"/>
                <a:gd name="T67" fmla="*/ 210 h 358"/>
                <a:gd name="T68" fmla="*/ 347 w 631"/>
                <a:gd name="T69" fmla="*/ 212 h 358"/>
                <a:gd name="T70" fmla="*/ 338 w 631"/>
                <a:gd name="T71" fmla="*/ 204 h 358"/>
                <a:gd name="T72" fmla="*/ 313 w 631"/>
                <a:gd name="T73" fmla="*/ 241 h 358"/>
                <a:gd name="T74" fmla="*/ 272 w 631"/>
                <a:gd name="T75" fmla="*/ 280 h 358"/>
                <a:gd name="T76" fmla="*/ 220 w 631"/>
                <a:gd name="T77" fmla="*/ 315 h 358"/>
                <a:gd name="T78" fmla="*/ 164 w 631"/>
                <a:gd name="T79" fmla="*/ 343 h 358"/>
                <a:gd name="T80" fmla="*/ 110 w 631"/>
                <a:gd name="T81" fmla="*/ 357 h 358"/>
                <a:gd name="T82" fmla="*/ 71 w 631"/>
                <a:gd name="T83" fmla="*/ 356 h 358"/>
                <a:gd name="T84" fmla="*/ 56 w 631"/>
                <a:gd name="T85" fmla="*/ 348 h 358"/>
                <a:gd name="T86" fmla="*/ 33 w 631"/>
                <a:gd name="T87" fmla="*/ 34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chemeClr val="accent2"/>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664" name="Freeform 76">
              <a:extLst>
                <a:ext uri="{FF2B5EF4-FFF2-40B4-BE49-F238E27FC236}">
                  <a16:creationId xmlns="" xmlns:a16="http://schemas.microsoft.com/office/drawing/2014/main" id="{3ABDE95A-53F5-4597-A07A-64618655F67E}"/>
                </a:ext>
              </a:extLst>
            </p:cNvPr>
            <p:cNvSpPr>
              <a:spLocks/>
            </p:cNvSpPr>
            <p:nvPr/>
          </p:nvSpPr>
          <p:spPr bwMode="auto">
            <a:xfrm>
              <a:off x="5597" y="3323"/>
              <a:ext cx="116" cy="141"/>
            </a:xfrm>
            <a:custGeom>
              <a:avLst/>
              <a:gdLst>
                <a:gd name="T0" fmla="*/ 60 w 359"/>
                <a:gd name="T1" fmla="*/ 288 h 431"/>
                <a:gd name="T2" fmla="*/ 95 w 359"/>
                <a:gd name="T3" fmla="*/ 269 h 431"/>
                <a:gd name="T4" fmla="*/ 165 w 359"/>
                <a:gd name="T5" fmla="*/ 209 h 431"/>
                <a:gd name="T6" fmla="*/ 172 w 359"/>
                <a:gd name="T7" fmla="*/ 168 h 431"/>
                <a:gd name="T8" fmla="*/ 180 w 359"/>
                <a:gd name="T9" fmla="*/ 149 h 431"/>
                <a:gd name="T10" fmla="*/ 193 w 359"/>
                <a:gd name="T11" fmla="*/ 137 h 431"/>
                <a:gd name="T12" fmla="*/ 190 w 359"/>
                <a:gd name="T13" fmla="*/ 126 h 431"/>
                <a:gd name="T14" fmla="*/ 179 w 359"/>
                <a:gd name="T15" fmla="*/ 94 h 431"/>
                <a:gd name="T16" fmla="*/ 173 w 359"/>
                <a:gd name="T17" fmla="*/ 34 h 431"/>
                <a:gd name="T18" fmla="*/ 182 w 359"/>
                <a:gd name="T19" fmla="*/ 0 h 431"/>
                <a:gd name="T20" fmla="*/ 194 w 359"/>
                <a:gd name="T21" fmla="*/ 11 h 431"/>
                <a:gd name="T22" fmla="*/ 207 w 359"/>
                <a:gd name="T23" fmla="*/ 29 h 431"/>
                <a:gd name="T24" fmla="*/ 231 w 359"/>
                <a:gd name="T25" fmla="*/ 56 h 431"/>
                <a:gd name="T26" fmla="*/ 238 w 359"/>
                <a:gd name="T27" fmla="*/ 73 h 431"/>
                <a:gd name="T28" fmla="*/ 237 w 359"/>
                <a:gd name="T29" fmla="*/ 88 h 431"/>
                <a:gd name="T30" fmla="*/ 226 w 359"/>
                <a:gd name="T31" fmla="*/ 102 h 431"/>
                <a:gd name="T32" fmla="*/ 205 w 359"/>
                <a:gd name="T33" fmla="*/ 120 h 431"/>
                <a:gd name="T34" fmla="*/ 199 w 359"/>
                <a:gd name="T35" fmla="*/ 131 h 431"/>
                <a:gd name="T36" fmla="*/ 199 w 359"/>
                <a:gd name="T37" fmla="*/ 149 h 431"/>
                <a:gd name="T38" fmla="*/ 205 w 359"/>
                <a:gd name="T39" fmla="*/ 159 h 431"/>
                <a:gd name="T40" fmla="*/ 226 w 359"/>
                <a:gd name="T41" fmla="*/ 160 h 431"/>
                <a:gd name="T42" fmla="*/ 233 w 359"/>
                <a:gd name="T43" fmla="*/ 153 h 431"/>
                <a:gd name="T44" fmla="*/ 232 w 359"/>
                <a:gd name="T45" fmla="*/ 135 h 431"/>
                <a:gd name="T46" fmla="*/ 259 w 359"/>
                <a:gd name="T47" fmla="*/ 193 h 431"/>
                <a:gd name="T48" fmla="*/ 271 w 359"/>
                <a:gd name="T49" fmla="*/ 208 h 431"/>
                <a:gd name="T50" fmla="*/ 291 w 359"/>
                <a:gd name="T51" fmla="*/ 219 h 431"/>
                <a:gd name="T52" fmla="*/ 300 w 359"/>
                <a:gd name="T53" fmla="*/ 217 h 431"/>
                <a:gd name="T54" fmla="*/ 312 w 359"/>
                <a:gd name="T55" fmla="*/ 206 h 431"/>
                <a:gd name="T56" fmla="*/ 341 w 359"/>
                <a:gd name="T57" fmla="*/ 194 h 431"/>
                <a:gd name="T58" fmla="*/ 355 w 359"/>
                <a:gd name="T59" fmla="*/ 206 h 431"/>
                <a:gd name="T60" fmla="*/ 342 w 359"/>
                <a:gd name="T61" fmla="*/ 240 h 431"/>
                <a:gd name="T62" fmla="*/ 321 w 359"/>
                <a:gd name="T63" fmla="*/ 261 h 431"/>
                <a:gd name="T64" fmla="*/ 295 w 359"/>
                <a:gd name="T65" fmla="*/ 275 h 431"/>
                <a:gd name="T66" fmla="*/ 247 w 359"/>
                <a:gd name="T67" fmla="*/ 288 h 431"/>
                <a:gd name="T68" fmla="*/ 208 w 359"/>
                <a:gd name="T69" fmla="*/ 299 h 431"/>
                <a:gd name="T70" fmla="*/ 193 w 359"/>
                <a:gd name="T71" fmla="*/ 308 h 431"/>
                <a:gd name="T72" fmla="*/ 179 w 359"/>
                <a:gd name="T73" fmla="*/ 339 h 431"/>
                <a:gd name="T74" fmla="*/ 163 w 359"/>
                <a:gd name="T75" fmla="*/ 356 h 431"/>
                <a:gd name="T76" fmla="*/ 109 w 359"/>
                <a:gd name="T77" fmla="*/ 394 h 431"/>
                <a:gd name="T78" fmla="*/ 48 w 359"/>
                <a:gd name="T79" fmla="*/ 424 h 431"/>
                <a:gd name="T80" fmla="*/ 19 w 359"/>
                <a:gd name="T81" fmla="*/ 431 h 431"/>
                <a:gd name="T82" fmla="*/ 7 w 359"/>
                <a:gd name="T83" fmla="*/ 426 h 431"/>
                <a:gd name="T84" fmla="*/ 1 w 359"/>
                <a:gd name="T85" fmla="*/ 415 h 431"/>
                <a:gd name="T86" fmla="*/ 1 w 359"/>
                <a:gd name="T87" fmla="*/ 402 h 431"/>
                <a:gd name="T88" fmla="*/ 9 w 359"/>
                <a:gd name="T89" fmla="*/ 391 h 431"/>
                <a:gd name="T90" fmla="*/ 56 w 359"/>
                <a:gd name="T91" fmla="*/ 374 h 431"/>
                <a:gd name="T92" fmla="*/ 73 w 359"/>
                <a:gd name="T93" fmla="*/ 351 h 431"/>
                <a:gd name="T94" fmla="*/ 71 w 359"/>
                <a:gd name="T95" fmla="*/ 335 h 431"/>
                <a:gd name="T96" fmla="*/ 64 w 359"/>
                <a:gd name="T97" fmla="*/ 326 h 431"/>
                <a:gd name="T98" fmla="*/ 51 w 359"/>
                <a:gd name="T99" fmla="*/ 320 h 431"/>
                <a:gd name="T100" fmla="*/ 19 w 359"/>
                <a:gd name="T101" fmla="*/ 32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chemeClr val="accent2"/>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grpSp>
      <p:sp>
        <p:nvSpPr>
          <p:cNvPr id="186" name="Freeform 77">
            <a:extLst>
              <a:ext uri="{FF2B5EF4-FFF2-40B4-BE49-F238E27FC236}">
                <a16:creationId xmlns="" xmlns:a16="http://schemas.microsoft.com/office/drawing/2014/main" id="{C1B63E1D-CA3E-4C20-82C9-BFA6097EE9AF}"/>
              </a:ext>
            </a:extLst>
          </p:cNvPr>
          <p:cNvSpPr>
            <a:spLocks/>
          </p:cNvSpPr>
          <p:nvPr>
            <p:custDataLst>
              <p:tags r:id="rId56"/>
            </p:custDataLst>
          </p:nvPr>
        </p:nvSpPr>
        <p:spPr bwMode="auto">
          <a:xfrm>
            <a:off x="8139885" y="4188901"/>
            <a:ext cx="11603" cy="59076"/>
          </a:xfrm>
          <a:custGeom>
            <a:avLst/>
            <a:gdLst>
              <a:gd name="T0" fmla="*/ 0 w 21"/>
              <a:gd name="T1" fmla="*/ 43 h 62"/>
              <a:gd name="T2" fmla="*/ 1 w 21"/>
              <a:gd name="T3" fmla="*/ 29 h 62"/>
              <a:gd name="T4" fmla="*/ 3 w 21"/>
              <a:gd name="T5" fmla="*/ 17 h 62"/>
              <a:gd name="T6" fmla="*/ 4 w 21"/>
              <a:gd name="T7" fmla="*/ 11 h 62"/>
              <a:gd name="T8" fmla="*/ 6 w 21"/>
              <a:gd name="T9" fmla="*/ 7 h 62"/>
              <a:gd name="T10" fmla="*/ 9 w 21"/>
              <a:gd name="T11" fmla="*/ 3 h 62"/>
              <a:gd name="T12" fmla="*/ 15 w 21"/>
              <a:gd name="T13" fmla="*/ 0 h 62"/>
              <a:gd name="T14" fmla="*/ 15 w 21"/>
              <a:gd name="T15" fmla="*/ 15 h 62"/>
              <a:gd name="T16" fmla="*/ 18 w 21"/>
              <a:gd name="T17" fmla="*/ 31 h 62"/>
              <a:gd name="T18" fmla="*/ 20 w 21"/>
              <a:gd name="T19" fmla="*/ 44 h 62"/>
              <a:gd name="T20" fmla="*/ 21 w 21"/>
              <a:gd name="T21" fmla="*/ 49 h 62"/>
              <a:gd name="T22" fmla="*/ 10 w 21"/>
              <a:gd name="T23" fmla="*/ 55 h 62"/>
              <a:gd name="T24" fmla="*/ 0 w 21"/>
              <a:gd name="T25" fmla="*/ 62 h 62"/>
              <a:gd name="T26" fmla="*/ 0 w 21"/>
              <a:gd name="T2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87" name="Freeform 78">
            <a:extLst>
              <a:ext uri="{FF2B5EF4-FFF2-40B4-BE49-F238E27FC236}">
                <a16:creationId xmlns="" xmlns:a16="http://schemas.microsoft.com/office/drawing/2014/main" id="{F5DF8F52-2B6F-419B-A688-75728D8F935B}"/>
              </a:ext>
            </a:extLst>
          </p:cNvPr>
          <p:cNvSpPr>
            <a:spLocks/>
          </p:cNvSpPr>
          <p:nvPr>
            <p:custDataLst>
              <p:tags r:id="rId57"/>
            </p:custDataLst>
          </p:nvPr>
        </p:nvSpPr>
        <p:spPr bwMode="auto">
          <a:xfrm>
            <a:off x="9025590" y="5120974"/>
            <a:ext cx="17405" cy="59076"/>
          </a:xfrm>
          <a:custGeom>
            <a:avLst/>
            <a:gdLst>
              <a:gd name="T0" fmla="*/ 0 w 33"/>
              <a:gd name="T1" fmla="*/ 0 h 24"/>
              <a:gd name="T2" fmla="*/ 5 w 33"/>
              <a:gd name="T3" fmla="*/ 5 h 24"/>
              <a:gd name="T4" fmla="*/ 10 w 33"/>
              <a:gd name="T5" fmla="*/ 10 h 24"/>
              <a:gd name="T6" fmla="*/ 11 w 33"/>
              <a:gd name="T7" fmla="*/ 13 h 24"/>
              <a:gd name="T8" fmla="*/ 12 w 33"/>
              <a:gd name="T9" fmla="*/ 16 h 24"/>
              <a:gd name="T10" fmla="*/ 13 w 33"/>
              <a:gd name="T11" fmla="*/ 20 h 24"/>
              <a:gd name="T12" fmla="*/ 13 w 33"/>
              <a:gd name="T13" fmla="*/ 24 h 24"/>
              <a:gd name="T14" fmla="*/ 33 w 33"/>
              <a:gd name="T15" fmla="*/ 0 h 24"/>
              <a:gd name="T16" fmla="*/ 24 w 33"/>
              <a:gd name="T17" fmla="*/ 0 h 24"/>
              <a:gd name="T18" fmla="*/ 16 w 33"/>
              <a:gd name="T19" fmla="*/ 0 h 24"/>
              <a:gd name="T20" fmla="*/ 9 w 33"/>
              <a:gd name="T21" fmla="*/ 0 h 24"/>
              <a:gd name="T22" fmla="*/ 0 w 33"/>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88" name="Freeform 79">
            <a:extLst>
              <a:ext uri="{FF2B5EF4-FFF2-40B4-BE49-F238E27FC236}">
                <a16:creationId xmlns="" xmlns:a16="http://schemas.microsoft.com/office/drawing/2014/main" id="{642EE63D-DFE6-4133-9FE1-FAB491CD7AB1}"/>
              </a:ext>
            </a:extLst>
          </p:cNvPr>
          <p:cNvSpPr>
            <a:spLocks/>
          </p:cNvSpPr>
          <p:nvPr>
            <p:custDataLst>
              <p:tags r:id="rId58"/>
            </p:custDataLst>
          </p:nvPr>
        </p:nvSpPr>
        <p:spPr bwMode="auto">
          <a:xfrm>
            <a:off x="9052663" y="5130821"/>
            <a:ext cx="21273" cy="60715"/>
          </a:xfrm>
          <a:custGeom>
            <a:avLst/>
            <a:gdLst>
              <a:gd name="T0" fmla="*/ 26 w 33"/>
              <a:gd name="T1" fmla="*/ 25 h 25"/>
              <a:gd name="T2" fmla="*/ 29 w 33"/>
              <a:gd name="T3" fmla="*/ 22 h 25"/>
              <a:gd name="T4" fmla="*/ 33 w 33"/>
              <a:gd name="T5" fmla="*/ 18 h 25"/>
              <a:gd name="T6" fmla="*/ 33 w 33"/>
              <a:gd name="T7" fmla="*/ 0 h 25"/>
              <a:gd name="T8" fmla="*/ 25 w 33"/>
              <a:gd name="T9" fmla="*/ 0 h 25"/>
              <a:gd name="T10" fmla="*/ 16 w 33"/>
              <a:gd name="T11" fmla="*/ 0 h 25"/>
              <a:gd name="T12" fmla="*/ 6 w 33"/>
              <a:gd name="T13" fmla="*/ 0 h 25"/>
              <a:gd name="T14" fmla="*/ 0 w 33"/>
              <a:gd name="T15" fmla="*/ 0 h 25"/>
              <a:gd name="T16" fmla="*/ 26 w 33"/>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89" name="Freeform 80">
            <a:extLst>
              <a:ext uri="{FF2B5EF4-FFF2-40B4-BE49-F238E27FC236}">
                <a16:creationId xmlns="" xmlns:a16="http://schemas.microsoft.com/office/drawing/2014/main" id="{0F1F5537-40CB-4930-8732-B4721A0802C9}"/>
              </a:ext>
            </a:extLst>
          </p:cNvPr>
          <p:cNvSpPr>
            <a:spLocks/>
          </p:cNvSpPr>
          <p:nvPr>
            <p:custDataLst>
              <p:tags r:id="rId59"/>
            </p:custDataLst>
          </p:nvPr>
        </p:nvSpPr>
        <p:spPr bwMode="auto">
          <a:xfrm>
            <a:off x="8217239" y="4177413"/>
            <a:ext cx="1934" cy="57435"/>
          </a:xfrm>
          <a:custGeom>
            <a:avLst/>
            <a:gdLst>
              <a:gd name="T0" fmla="*/ 0 w 7"/>
              <a:gd name="T1" fmla="*/ 7 w 7"/>
              <a:gd name="T2" fmla="*/ 0 w 7"/>
            </a:gdLst>
            <a:ahLst/>
            <a:cxnLst>
              <a:cxn ang="0">
                <a:pos x="T0" y="0"/>
              </a:cxn>
              <a:cxn ang="0">
                <a:pos x="T1" y="0"/>
              </a:cxn>
              <a:cxn ang="0">
                <a:pos x="T2" y="0"/>
              </a:cxn>
            </a:cxnLst>
            <a:rect l="0" t="0" r="r" b="b"/>
            <a:pathLst>
              <a:path w="7">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90" name="Freeform 81">
            <a:extLst>
              <a:ext uri="{FF2B5EF4-FFF2-40B4-BE49-F238E27FC236}">
                <a16:creationId xmlns="" xmlns:a16="http://schemas.microsoft.com/office/drawing/2014/main" id="{8F5AC081-F220-44B0-8746-F81B632D2513}"/>
              </a:ext>
            </a:extLst>
          </p:cNvPr>
          <p:cNvSpPr>
            <a:spLocks/>
          </p:cNvSpPr>
          <p:nvPr>
            <p:custDataLst>
              <p:tags r:id="rId60"/>
            </p:custDataLst>
          </p:nvPr>
        </p:nvSpPr>
        <p:spPr bwMode="auto">
          <a:xfrm>
            <a:off x="8288792" y="4119979"/>
            <a:ext cx="7735" cy="59076"/>
          </a:xfrm>
          <a:custGeom>
            <a:avLst/>
            <a:gdLst>
              <a:gd name="T0" fmla="*/ 16 w 16"/>
              <a:gd name="T1" fmla="*/ 0 h 25"/>
              <a:gd name="T2" fmla="*/ 16 w 16"/>
              <a:gd name="T3" fmla="*/ 6 h 25"/>
              <a:gd name="T4" fmla="*/ 14 w 16"/>
              <a:gd name="T5" fmla="*/ 13 h 25"/>
              <a:gd name="T6" fmla="*/ 13 w 16"/>
              <a:gd name="T7" fmla="*/ 16 h 25"/>
              <a:gd name="T8" fmla="*/ 11 w 16"/>
              <a:gd name="T9" fmla="*/ 20 h 25"/>
              <a:gd name="T10" fmla="*/ 7 w 16"/>
              <a:gd name="T11" fmla="*/ 23 h 25"/>
              <a:gd name="T12" fmla="*/ 3 w 16"/>
              <a:gd name="T13" fmla="*/ 25 h 25"/>
              <a:gd name="T14" fmla="*/ 1 w 16"/>
              <a:gd name="T15" fmla="*/ 24 h 25"/>
              <a:gd name="T16" fmla="*/ 0 w 16"/>
              <a:gd name="T17" fmla="*/ 21 h 25"/>
              <a:gd name="T18" fmla="*/ 1 w 16"/>
              <a:gd name="T19" fmla="*/ 18 h 25"/>
              <a:gd name="T20" fmla="*/ 2 w 16"/>
              <a:gd name="T21" fmla="*/ 13 h 25"/>
              <a:gd name="T22" fmla="*/ 4 w 16"/>
              <a:gd name="T23" fmla="*/ 9 h 25"/>
              <a:gd name="T24" fmla="*/ 7 w 16"/>
              <a:gd name="T25" fmla="*/ 4 h 25"/>
              <a:gd name="T26" fmla="*/ 11 w 16"/>
              <a:gd name="T27" fmla="*/ 1 h 25"/>
              <a:gd name="T28" fmla="*/ 16 w 16"/>
              <a:gd name="T2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91" name="Freeform 82">
            <a:extLst>
              <a:ext uri="{FF2B5EF4-FFF2-40B4-BE49-F238E27FC236}">
                <a16:creationId xmlns="" xmlns:a16="http://schemas.microsoft.com/office/drawing/2014/main" id="{A3731A60-F1BD-49F5-AC28-37890E506799}"/>
              </a:ext>
            </a:extLst>
          </p:cNvPr>
          <p:cNvSpPr>
            <a:spLocks/>
          </p:cNvSpPr>
          <p:nvPr>
            <p:custDataLst>
              <p:tags r:id="rId61"/>
            </p:custDataLst>
          </p:nvPr>
        </p:nvSpPr>
        <p:spPr bwMode="auto">
          <a:xfrm>
            <a:off x="8426095" y="4005112"/>
            <a:ext cx="5802" cy="59076"/>
          </a:xfrm>
          <a:custGeom>
            <a:avLst/>
            <a:gdLst>
              <a:gd name="T0" fmla="*/ 0 w 14"/>
              <a:gd name="T1" fmla="*/ 0 h 18"/>
              <a:gd name="T2" fmla="*/ 3 w 14"/>
              <a:gd name="T3" fmla="*/ 1 h 18"/>
              <a:gd name="T4" fmla="*/ 5 w 14"/>
              <a:gd name="T5" fmla="*/ 2 h 18"/>
              <a:gd name="T6" fmla="*/ 7 w 14"/>
              <a:gd name="T7" fmla="*/ 4 h 18"/>
              <a:gd name="T8" fmla="*/ 9 w 14"/>
              <a:gd name="T9" fmla="*/ 7 h 18"/>
              <a:gd name="T10" fmla="*/ 13 w 14"/>
              <a:gd name="T11" fmla="*/ 13 h 18"/>
              <a:gd name="T12" fmla="*/ 14 w 14"/>
              <a:gd name="T13" fmla="*/ 18 h 18"/>
              <a:gd name="T14" fmla="*/ 0 w 14"/>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92" name="Freeform 83">
            <a:extLst>
              <a:ext uri="{FF2B5EF4-FFF2-40B4-BE49-F238E27FC236}">
                <a16:creationId xmlns="" xmlns:a16="http://schemas.microsoft.com/office/drawing/2014/main" id="{B232B648-6A71-4D2F-ABC4-4AC6CB9982C2}"/>
              </a:ext>
            </a:extLst>
          </p:cNvPr>
          <p:cNvSpPr>
            <a:spLocks/>
          </p:cNvSpPr>
          <p:nvPr>
            <p:custDataLst>
              <p:tags r:id="rId62"/>
            </p:custDataLst>
          </p:nvPr>
        </p:nvSpPr>
        <p:spPr bwMode="auto">
          <a:xfrm>
            <a:off x="8611745" y="4727140"/>
            <a:ext cx="32876" cy="60715"/>
          </a:xfrm>
          <a:custGeom>
            <a:avLst/>
            <a:gdLst>
              <a:gd name="T0" fmla="*/ 0 w 67"/>
              <a:gd name="T1" fmla="*/ 0 h 74"/>
              <a:gd name="T2" fmla="*/ 1 w 67"/>
              <a:gd name="T3" fmla="*/ 17 h 74"/>
              <a:gd name="T4" fmla="*/ 3 w 67"/>
              <a:gd name="T5" fmla="*/ 30 h 74"/>
              <a:gd name="T6" fmla="*/ 7 w 67"/>
              <a:gd name="T7" fmla="*/ 41 h 74"/>
              <a:gd name="T8" fmla="*/ 12 w 67"/>
              <a:gd name="T9" fmla="*/ 50 h 74"/>
              <a:gd name="T10" fmla="*/ 17 w 67"/>
              <a:gd name="T11" fmla="*/ 58 h 74"/>
              <a:gd name="T12" fmla="*/ 23 w 67"/>
              <a:gd name="T13" fmla="*/ 64 h 74"/>
              <a:gd name="T14" fmla="*/ 28 w 67"/>
              <a:gd name="T15" fmla="*/ 69 h 74"/>
              <a:gd name="T16" fmla="*/ 33 w 67"/>
              <a:gd name="T17" fmla="*/ 74 h 74"/>
              <a:gd name="T18" fmla="*/ 44 w 67"/>
              <a:gd name="T19" fmla="*/ 65 h 74"/>
              <a:gd name="T20" fmla="*/ 55 w 67"/>
              <a:gd name="T21" fmla="*/ 55 h 74"/>
              <a:gd name="T22" fmla="*/ 59 w 67"/>
              <a:gd name="T23" fmla="*/ 49 h 74"/>
              <a:gd name="T24" fmla="*/ 63 w 67"/>
              <a:gd name="T25" fmla="*/ 43 h 74"/>
              <a:gd name="T26" fmla="*/ 66 w 67"/>
              <a:gd name="T27" fmla="*/ 37 h 74"/>
              <a:gd name="T28" fmla="*/ 67 w 67"/>
              <a:gd name="T29" fmla="*/ 30 h 74"/>
              <a:gd name="T30" fmla="*/ 67 w 67"/>
              <a:gd name="T31" fmla="*/ 25 h 74"/>
              <a:gd name="T32" fmla="*/ 67 w 67"/>
              <a:gd name="T33" fmla="*/ 18 h 74"/>
              <a:gd name="T34" fmla="*/ 67 w 67"/>
              <a:gd name="T35" fmla="*/ 9 h 74"/>
              <a:gd name="T36" fmla="*/ 67 w 67"/>
              <a:gd name="T37" fmla="*/ 0 h 74"/>
              <a:gd name="T38" fmla="*/ 48 w 67"/>
              <a:gd name="T39" fmla="*/ 0 h 74"/>
              <a:gd name="T40" fmla="*/ 33 w 67"/>
              <a:gd name="T41" fmla="*/ 0 h 74"/>
              <a:gd name="T42" fmla="*/ 17 w 67"/>
              <a:gd name="T43" fmla="*/ 0 h 74"/>
              <a:gd name="T44" fmla="*/ 0 w 67"/>
              <a:gd name="T4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93" name="Freeform 84">
            <a:extLst>
              <a:ext uri="{FF2B5EF4-FFF2-40B4-BE49-F238E27FC236}">
                <a16:creationId xmlns="" xmlns:a16="http://schemas.microsoft.com/office/drawing/2014/main" id="{5FD9F55C-CB8C-4692-87F2-523FCA63BA48}"/>
              </a:ext>
            </a:extLst>
          </p:cNvPr>
          <p:cNvSpPr>
            <a:spLocks/>
          </p:cNvSpPr>
          <p:nvPr>
            <p:custDataLst>
              <p:tags r:id="rId63"/>
            </p:custDataLst>
          </p:nvPr>
        </p:nvSpPr>
        <p:spPr bwMode="auto">
          <a:xfrm>
            <a:off x="8689099" y="4741909"/>
            <a:ext cx="15471" cy="59076"/>
          </a:xfrm>
          <a:custGeom>
            <a:avLst/>
            <a:gdLst>
              <a:gd name="T0" fmla="*/ 0 w 34"/>
              <a:gd name="T1" fmla="*/ 0 h 38"/>
              <a:gd name="T2" fmla="*/ 2 w 34"/>
              <a:gd name="T3" fmla="*/ 3 h 38"/>
              <a:gd name="T4" fmla="*/ 4 w 34"/>
              <a:gd name="T5" fmla="*/ 7 h 38"/>
              <a:gd name="T6" fmla="*/ 5 w 34"/>
              <a:gd name="T7" fmla="*/ 11 h 38"/>
              <a:gd name="T8" fmla="*/ 6 w 34"/>
              <a:gd name="T9" fmla="*/ 16 h 38"/>
              <a:gd name="T10" fmla="*/ 10 w 34"/>
              <a:gd name="T11" fmla="*/ 28 h 38"/>
              <a:gd name="T12" fmla="*/ 13 w 34"/>
              <a:gd name="T13" fmla="*/ 38 h 38"/>
              <a:gd name="T14" fmla="*/ 16 w 34"/>
              <a:gd name="T15" fmla="*/ 37 h 38"/>
              <a:gd name="T16" fmla="*/ 20 w 34"/>
              <a:gd name="T17" fmla="*/ 36 h 38"/>
              <a:gd name="T18" fmla="*/ 23 w 34"/>
              <a:gd name="T19" fmla="*/ 34 h 38"/>
              <a:gd name="T20" fmla="*/ 26 w 34"/>
              <a:gd name="T21" fmla="*/ 31 h 38"/>
              <a:gd name="T22" fmla="*/ 28 w 34"/>
              <a:gd name="T23" fmla="*/ 28 h 38"/>
              <a:gd name="T24" fmla="*/ 32 w 34"/>
              <a:gd name="T25" fmla="*/ 24 h 38"/>
              <a:gd name="T26" fmla="*/ 33 w 34"/>
              <a:gd name="T27" fmla="*/ 21 h 38"/>
              <a:gd name="T28" fmla="*/ 34 w 34"/>
              <a:gd name="T29" fmla="*/ 19 h 38"/>
              <a:gd name="T30" fmla="*/ 31 w 34"/>
              <a:gd name="T31" fmla="*/ 18 h 38"/>
              <a:gd name="T32" fmla="*/ 28 w 34"/>
              <a:gd name="T33" fmla="*/ 17 h 38"/>
              <a:gd name="T34" fmla="*/ 26 w 34"/>
              <a:gd name="T35" fmla="*/ 14 h 38"/>
              <a:gd name="T36" fmla="*/ 24 w 34"/>
              <a:gd name="T37" fmla="*/ 12 h 38"/>
              <a:gd name="T38" fmla="*/ 19 w 34"/>
              <a:gd name="T39" fmla="*/ 6 h 38"/>
              <a:gd name="T40" fmla="*/ 13 w 34"/>
              <a:gd name="T41" fmla="*/ 0 h 38"/>
              <a:gd name="T42" fmla="*/ 6 w 34"/>
              <a:gd name="T43" fmla="*/ 0 h 38"/>
              <a:gd name="T44" fmla="*/ 0 w 34"/>
              <a:gd name="T4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94" name="Freeform 85">
            <a:extLst>
              <a:ext uri="{FF2B5EF4-FFF2-40B4-BE49-F238E27FC236}">
                <a16:creationId xmlns="" xmlns:a16="http://schemas.microsoft.com/office/drawing/2014/main" id="{64E13D3E-E2EE-4051-AD8B-2084C3C45BAD}"/>
              </a:ext>
            </a:extLst>
          </p:cNvPr>
          <p:cNvSpPr>
            <a:spLocks/>
          </p:cNvSpPr>
          <p:nvPr>
            <p:custDataLst>
              <p:tags r:id="rId64"/>
            </p:custDataLst>
          </p:nvPr>
        </p:nvSpPr>
        <p:spPr bwMode="auto">
          <a:xfrm>
            <a:off x="8515053" y="4510531"/>
            <a:ext cx="30942" cy="57434"/>
          </a:xfrm>
          <a:custGeom>
            <a:avLst/>
            <a:gdLst>
              <a:gd name="T0" fmla="*/ 53 w 53"/>
              <a:gd name="T1" fmla="*/ 23 h 23"/>
              <a:gd name="T2" fmla="*/ 53 w 53"/>
              <a:gd name="T3" fmla="*/ 4 h 23"/>
              <a:gd name="T4" fmla="*/ 49 w 53"/>
              <a:gd name="T5" fmla="*/ 2 h 23"/>
              <a:gd name="T6" fmla="*/ 45 w 53"/>
              <a:gd name="T7" fmla="*/ 1 h 23"/>
              <a:gd name="T8" fmla="*/ 42 w 53"/>
              <a:gd name="T9" fmla="*/ 0 h 23"/>
              <a:gd name="T10" fmla="*/ 38 w 53"/>
              <a:gd name="T11" fmla="*/ 0 h 23"/>
              <a:gd name="T12" fmla="*/ 31 w 53"/>
              <a:gd name="T13" fmla="*/ 1 h 23"/>
              <a:gd name="T14" fmla="*/ 24 w 53"/>
              <a:gd name="T15" fmla="*/ 4 h 23"/>
              <a:gd name="T16" fmla="*/ 11 w 53"/>
              <a:gd name="T17" fmla="*/ 13 h 23"/>
              <a:gd name="T18" fmla="*/ 0 w 53"/>
              <a:gd name="T19" fmla="*/ 23 h 23"/>
              <a:gd name="T20" fmla="*/ 53 w 53"/>
              <a:gd name="T2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95" name="Freeform 86">
            <a:extLst>
              <a:ext uri="{FF2B5EF4-FFF2-40B4-BE49-F238E27FC236}">
                <a16:creationId xmlns="" xmlns:a16="http://schemas.microsoft.com/office/drawing/2014/main" id="{D8CE3DDC-5B75-470A-9EC6-1FD2B69A3797}"/>
              </a:ext>
            </a:extLst>
          </p:cNvPr>
          <p:cNvSpPr>
            <a:spLocks/>
          </p:cNvSpPr>
          <p:nvPr>
            <p:custDataLst>
              <p:tags r:id="rId65"/>
            </p:custDataLst>
          </p:nvPr>
        </p:nvSpPr>
        <p:spPr bwMode="auto">
          <a:xfrm>
            <a:off x="8445433" y="4484276"/>
            <a:ext cx="13538" cy="59076"/>
          </a:xfrm>
          <a:custGeom>
            <a:avLst/>
            <a:gdLst>
              <a:gd name="T0" fmla="*/ 0 w 26"/>
              <a:gd name="T1" fmla="*/ 0 h 12"/>
              <a:gd name="T2" fmla="*/ 4 w 26"/>
              <a:gd name="T3" fmla="*/ 4 h 12"/>
              <a:gd name="T4" fmla="*/ 11 w 26"/>
              <a:gd name="T5" fmla="*/ 8 h 12"/>
              <a:gd name="T6" fmla="*/ 14 w 26"/>
              <a:gd name="T7" fmla="*/ 9 h 12"/>
              <a:gd name="T8" fmla="*/ 18 w 26"/>
              <a:gd name="T9" fmla="*/ 11 h 12"/>
              <a:gd name="T10" fmla="*/ 22 w 26"/>
              <a:gd name="T11" fmla="*/ 11 h 12"/>
              <a:gd name="T12" fmla="*/ 26 w 26"/>
              <a:gd name="T13" fmla="*/ 12 h 12"/>
              <a:gd name="T14" fmla="*/ 21 w 26"/>
              <a:gd name="T15" fmla="*/ 7 h 12"/>
              <a:gd name="T16" fmla="*/ 13 w 26"/>
              <a:gd name="T17" fmla="*/ 3 h 12"/>
              <a:gd name="T18" fmla="*/ 5 w 26"/>
              <a:gd name="T19" fmla="*/ 1 h 12"/>
              <a:gd name="T20" fmla="*/ 0 w 26"/>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96" name="Freeform 87">
            <a:extLst>
              <a:ext uri="{FF2B5EF4-FFF2-40B4-BE49-F238E27FC236}">
                <a16:creationId xmlns="" xmlns:a16="http://schemas.microsoft.com/office/drawing/2014/main" id="{FC1E938C-65F5-4A79-B786-0654CF10F90F}"/>
              </a:ext>
            </a:extLst>
          </p:cNvPr>
          <p:cNvSpPr>
            <a:spLocks/>
          </p:cNvSpPr>
          <p:nvPr>
            <p:custDataLst>
              <p:tags r:id="rId66"/>
            </p:custDataLst>
          </p:nvPr>
        </p:nvSpPr>
        <p:spPr bwMode="auto">
          <a:xfrm>
            <a:off x="8689099" y="4827240"/>
            <a:ext cx="38677" cy="59076"/>
          </a:xfrm>
          <a:custGeom>
            <a:avLst/>
            <a:gdLst>
              <a:gd name="T0" fmla="*/ 0 w 73"/>
              <a:gd name="T1" fmla="*/ 20 w 73"/>
              <a:gd name="T2" fmla="*/ 37 w 73"/>
              <a:gd name="T3" fmla="*/ 55 w 73"/>
              <a:gd name="T4" fmla="*/ 73 w 73"/>
            </a:gdLst>
            <a:ahLst/>
            <a:cxnLst>
              <a:cxn ang="0">
                <a:pos x="T0" y="0"/>
              </a:cxn>
              <a:cxn ang="0">
                <a:pos x="T1" y="0"/>
              </a:cxn>
              <a:cxn ang="0">
                <a:pos x="T2" y="0"/>
              </a:cxn>
              <a:cxn ang="0">
                <a:pos x="T3" y="0"/>
              </a:cxn>
              <a:cxn ang="0">
                <a:pos x="T4" y="0"/>
              </a:cxn>
            </a:cxnLst>
            <a:rect l="0" t="0" r="r" b="b"/>
            <a:pathLst>
              <a:path w="73">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97" name="Freeform 88">
            <a:extLst>
              <a:ext uri="{FF2B5EF4-FFF2-40B4-BE49-F238E27FC236}">
                <a16:creationId xmlns="" xmlns:a16="http://schemas.microsoft.com/office/drawing/2014/main" id="{CB3B3A84-9ABC-46E7-B8F1-7FF4981905A2}"/>
              </a:ext>
            </a:extLst>
          </p:cNvPr>
          <p:cNvSpPr>
            <a:spLocks/>
          </p:cNvSpPr>
          <p:nvPr>
            <p:custDataLst>
              <p:tags r:id="rId67"/>
            </p:custDataLst>
          </p:nvPr>
        </p:nvSpPr>
        <p:spPr bwMode="auto">
          <a:xfrm>
            <a:off x="8634952" y="4815753"/>
            <a:ext cx="27074" cy="59076"/>
          </a:xfrm>
          <a:custGeom>
            <a:avLst/>
            <a:gdLst>
              <a:gd name="T0" fmla="*/ 0 w 53"/>
              <a:gd name="T1" fmla="*/ 0 h 3"/>
              <a:gd name="T2" fmla="*/ 14 w 53"/>
              <a:gd name="T3" fmla="*/ 0 h 3"/>
              <a:gd name="T4" fmla="*/ 27 w 53"/>
              <a:gd name="T5" fmla="*/ 3 h 3"/>
              <a:gd name="T6" fmla="*/ 32 w 53"/>
              <a:gd name="T7" fmla="*/ 3 h 3"/>
              <a:gd name="T8" fmla="*/ 39 w 53"/>
              <a:gd name="T9" fmla="*/ 3 h 3"/>
              <a:gd name="T10" fmla="*/ 45 w 53"/>
              <a:gd name="T11" fmla="*/ 1 h 3"/>
              <a:gd name="T12" fmla="*/ 53 w 5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98" name="Line 89">
            <a:extLst>
              <a:ext uri="{FF2B5EF4-FFF2-40B4-BE49-F238E27FC236}">
                <a16:creationId xmlns="" xmlns:a16="http://schemas.microsoft.com/office/drawing/2014/main" id="{66EB169E-00BC-4CE5-9341-B884F74ECFE9}"/>
              </a:ext>
            </a:extLst>
          </p:cNvPr>
          <p:cNvSpPr>
            <a:spLocks noChangeShapeType="1"/>
          </p:cNvSpPr>
          <p:nvPr>
            <p:custDataLst>
              <p:tags r:id="rId68"/>
            </p:custDataLst>
          </p:nvPr>
        </p:nvSpPr>
        <p:spPr bwMode="auto">
          <a:xfrm>
            <a:off x="8675563" y="4800984"/>
            <a:ext cx="25139" cy="6564"/>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199" name="Freeform 90">
            <a:extLst>
              <a:ext uri="{FF2B5EF4-FFF2-40B4-BE49-F238E27FC236}">
                <a16:creationId xmlns="" xmlns:a16="http://schemas.microsoft.com/office/drawing/2014/main" id="{0FACD821-A49A-44AC-B454-405B5C382B50}"/>
              </a:ext>
            </a:extLst>
          </p:cNvPr>
          <p:cNvSpPr>
            <a:spLocks/>
          </p:cNvSpPr>
          <p:nvPr>
            <p:custDataLst>
              <p:tags r:id="rId69"/>
            </p:custDataLst>
          </p:nvPr>
        </p:nvSpPr>
        <p:spPr bwMode="auto">
          <a:xfrm>
            <a:off x="8700702" y="4807547"/>
            <a:ext cx="1934" cy="59076"/>
          </a:xfrm>
          <a:custGeom>
            <a:avLst/>
            <a:gdLst>
              <a:gd name="T0" fmla="*/ 0 h 13"/>
              <a:gd name="T1" fmla="*/ 6 h 13"/>
              <a:gd name="T2" fmla="*/ 13 h 13"/>
            </a:gdLst>
            <a:ahLst/>
            <a:cxnLst>
              <a:cxn ang="0">
                <a:pos x="0" y="T0"/>
              </a:cxn>
              <a:cxn ang="0">
                <a:pos x="0" y="T1"/>
              </a:cxn>
              <a:cxn ang="0">
                <a:pos x="0" y="T2"/>
              </a:cxn>
            </a:cxnLst>
            <a:rect l="0" t="0" r="r" b="b"/>
            <a:pathLst>
              <a:path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00" name="Freeform 91">
            <a:extLst>
              <a:ext uri="{FF2B5EF4-FFF2-40B4-BE49-F238E27FC236}">
                <a16:creationId xmlns="" xmlns:a16="http://schemas.microsoft.com/office/drawing/2014/main" id="{D7B83CB1-19CA-407C-A5AE-05E5F0D89F4E}"/>
              </a:ext>
            </a:extLst>
          </p:cNvPr>
          <p:cNvSpPr>
            <a:spLocks/>
          </p:cNvSpPr>
          <p:nvPr>
            <p:custDataLst>
              <p:tags r:id="rId70"/>
            </p:custDataLst>
          </p:nvPr>
        </p:nvSpPr>
        <p:spPr bwMode="auto">
          <a:xfrm>
            <a:off x="8644621" y="4800984"/>
            <a:ext cx="17404" cy="60716"/>
          </a:xfrm>
          <a:custGeom>
            <a:avLst/>
            <a:gdLst>
              <a:gd name="T0" fmla="*/ 0 w 26"/>
              <a:gd name="T1" fmla="*/ 15 w 26"/>
              <a:gd name="T2" fmla="*/ 26 w 26"/>
            </a:gdLst>
            <a:ahLst/>
            <a:cxnLst>
              <a:cxn ang="0">
                <a:pos x="T0" y="0"/>
              </a:cxn>
              <a:cxn ang="0">
                <a:pos x="T1" y="0"/>
              </a:cxn>
              <a:cxn ang="0">
                <a:pos x="T2" y="0"/>
              </a:cxn>
            </a:cxnLst>
            <a:rect l="0" t="0" r="r" b="b"/>
            <a:pathLst>
              <a:path w="26">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01" name="Freeform 92">
            <a:extLst>
              <a:ext uri="{FF2B5EF4-FFF2-40B4-BE49-F238E27FC236}">
                <a16:creationId xmlns="" xmlns:a16="http://schemas.microsoft.com/office/drawing/2014/main" id="{AD8A0FE0-78C1-461E-A4EE-712511DB592E}"/>
              </a:ext>
            </a:extLst>
          </p:cNvPr>
          <p:cNvSpPr>
            <a:spLocks/>
          </p:cNvSpPr>
          <p:nvPr>
            <p:custDataLst>
              <p:tags r:id="rId71"/>
            </p:custDataLst>
          </p:nvPr>
        </p:nvSpPr>
        <p:spPr bwMode="auto">
          <a:xfrm>
            <a:off x="8636886" y="4781293"/>
            <a:ext cx="7735" cy="62357"/>
          </a:xfrm>
          <a:custGeom>
            <a:avLst/>
            <a:gdLst>
              <a:gd name="T0" fmla="*/ 20 w 20"/>
              <a:gd name="T1" fmla="*/ 0 h 25"/>
              <a:gd name="T2" fmla="*/ 0 w 20"/>
              <a:gd name="T3" fmla="*/ 13 h 25"/>
              <a:gd name="T4" fmla="*/ 4 w 20"/>
              <a:gd name="T5" fmla="*/ 18 h 25"/>
              <a:gd name="T6" fmla="*/ 10 w 20"/>
              <a:gd name="T7" fmla="*/ 21 h 25"/>
              <a:gd name="T8" fmla="*/ 14 w 20"/>
              <a:gd name="T9" fmla="*/ 24 h 25"/>
              <a:gd name="T10" fmla="*/ 20 w 20"/>
              <a:gd name="T11" fmla="*/ 25 h 25"/>
              <a:gd name="T12" fmla="*/ 20 w 20"/>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02" name="Freeform 93">
            <a:extLst>
              <a:ext uri="{FF2B5EF4-FFF2-40B4-BE49-F238E27FC236}">
                <a16:creationId xmlns="" xmlns:a16="http://schemas.microsoft.com/office/drawing/2014/main" id="{4A1003E8-84F4-4D69-8E4A-72EE123F60B6}"/>
              </a:ext>
            </a:extLst>
          </p:cNvPr>
          <p:cNvSpPr>
            <a:spLocks/>
          </p:cNvSpPr>
          <p:nvPr>
            <p:custDataLst>
              <p:tags r:id="rId72"/>
            </p:custDataLst>
          </p:nvPr>
        </p:nvSpPr>
        <p:spPr bwMode="auto">
          <a:xfrm>
            <a:off x="8735512" y="4499044"/>
            <a:ext cx="1934" cy="59076"/>
          </a:xfrm>
          <a:custGeom>
            <a:avLst/>
            <a:gdLst>
              <a:gd name="T0" fmla="*/ 0 w 6"/>
              <a:gd name="T1" fmla="*/ 24 h 24"/>
              <a:gd name="T2" fmla="*/ 0 w 6"/>
              <a:gd name="T3" fmla="*/ 0 h 24"/>
              <a:gd name="T4" fmla="*/ 6 w 6"/>
              <a:gd name="T5" fmla="*/ 12 h 24"/>
              <a:gd name="T6" fmla="*/ 0 w 6"/>
              <a:gd name="T7" fmla="*/ 24 h 24"/>
            </a:gdLst>
            <a:ahLst/>
            <a:cxnLst>
              <a:cxn ang="0">
                <a:pos x="T0" y="T1"/>
              </a:cxn>
              <a:cxn ang="0">
                <a:pos x="T2" y="T3"/>
              </a:cxn>
              <a:cxn ang="0">
                <a:pos x="T4" y="T5"/>
              </a:cxn>
              <a:cxn ang="0">
                <a:pos x="T6" y="T7"/>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endParaRPr lang="en-GB" dirty="0"/>
          </a:p>
        </p:txBody>
      </p:sp>
      <p:grpSp>
        <p:nvGrpSpPr>
          <p:cNvPr id="203" name="Group 94">
            <a:extLst>
              <a:ext uri="{FF2B5EF4-FFF2-40B4-BE49-F238E27FC236}">
                <a16:creationId xmlns="" xmlns:a16="http://schemas.microsoft.com/office/drawing/2014/main" id="{8A74EE35-A3D6-403C-BB54-C2F1B231B2AD}"/>
              </a:ext>
            </a:extLst>
          </p:cNvPr>
          <p:cNvGrpSpPr>
            <a:grpSpLocks/>
          </p:cNvGrpSpPr>
          <p:nvPr>
            <p:custDataLst>
              <p:tags r:id="rId73"/>
            </p:custDataLst>
          </p:nvPr>
        </p:nvGrpSpPr>
        <p:grpSpPr bwMode="auto">
          <a:xfrm>
            <a:off x="8582738" y="4159363"/>
            <a:ext cx="199186" cy="118150"/>
            <a:chOff x="5379" y="2466"/>
            <a:chExt cx="122" cy="71"/>
          </a:xfrm>
        </p:grpSpPr>
        <p:sp>
          <p:nvSpPr>
            <p:cNvPr id="653" name="Freeform 95">
              <a:extLst>
                <a:ext uri="{FF2B5EF4-FFF2-40B4-BE49-F238E27FC236}">
                  <a16:creationId xmlns="" xmlns:a16="http://schemas.microsoft.com/office/drawing/2014/main" id="{A99D359A-A09E-4B74-B89B-BB3618A147DE}"/>
                </a:ext>
              </a:extLst>
            </p:cNvPr>
            <p:cNvSpPr>
              <a:spLocks/>
            </p:cNvSpPr>
            <p:nvPr/>
          </p:nvSpPr>
          <p:spPr bwMode="auto">
            <a:xfrm>
              <a:off x="5428" y="2492"/>
              <a:ext cx="6" cy="9"/>
            </a:xfrm>
            <a:custGeom>
              <a:avLst/>
              <a:gdLst>
                <a:gd name="T0" fmla="*/ 19 w 19"/>
                <a:gd name="T1" fmla="*/ 25 h 25"/>
                <a:gd name="T2" fmla="*/ 18 w 19"/>
                <a:gd name="T3" fmla="*/ 20 h 25"/>
                <a:gd name="T4" fmla="*/ 17 w 19"/>
                <a:gd name="T5" fmla="*/ 12 h 25"/>
                <a:gd name="T6" fmla="*/ 16 w 19"/>
                <a:gd name="T7" fmla="*/ 9 h 25"/>
                <a:gd name="T8" fmla="*/ 17 w 19"/>
                <a:gd name="T9" fmla="*/ 6 h 25"/>
                <a:gd name="T10" fmla="*/ 17 w 19"/>
                <a:gd name="T11" fmla="*/ 3 h 25"/>
                <a:gd name="T12" fmla="*/ 19 w 19"/>
                <a:gd name="T13" fmla="*/ 0 h 25"/>
                <a:gd name="T14" fmla="*/ 0 w 19"/>
                <a:gd name="T15" fmla="*/ 0 h 25"/>
                <a:gd name="T16" fmla="*/ 1 w 19"/>
                <a:gd name="T17" fmla="*/ 7 h 25"/>
                <a:gd name="T18" fmla="*/ 5 w 19"/>
                <a:gd name="T19" fmla="*/ 15 h 25"/>
                <a:gd name="T20" fmla="*/ 7 w 19"/>
                <a:gd name="T21" fmla="*/ 19 h 25"/>
                <a:gd name="T22" fmla="*/ 11 w 19"/>
                <a:gd name="T23" fmla="*/ 23 h 25"/>
                <a:gd name="T24" fmla="*/ 15 w 19"/>
                <a:gd name="T25" fmla="*/ 25 h 25"/>
                <a:gd name="T26" fmla="*/ 19 w 19"/>
                <a:gd name="T2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54" name="Freeform 96">
              <a:extLst>
                <a:ext uri="{FF2B5EF4-FFF2-40B4-BE49-F238E27FC236}">
                  <a16:creationId xmlns="" xmlns:a16="http://schemas.microsoft.com/office/drawing/2014/main" id="{2DA8EE22-91CE-42D8-B33E-530971AC9829}"/>
                </a:ext>
              </a:extLst>
            </p:cNvPr>
            <p:cNvSpPr>
              <a:spLocks/>
            </p:cNvSpPr>
            <p:nvPr/>
          </p:nvSpPr>
          <p:spPr bwMode="auto">
            <a:xfrm>
              <a:off x="5379" y="2505"/>
              <a:ext cx="7" cy="6"/>
            </a:xfrm>
            <a:custGeom>
              <a:avLst/>
              <a:gdLst>
                <a:gd name="T0" fmla="*/ 26 w 26"/>
                <a:gd name="T1" fmla="*/ 18 h 18"/>
                <a:gd name="T2" fmla="*/ 7 w 26"/>
                <a:gd name="T3" fmla="*/ 18 h 18"/>
                <a:gd name="T4" fmla="*/ 3 w 26"/>
                <a:gd name="T5" fmla="*/ 9 h 18"/>
                <a:gd name="T6" fmla="*/ 0 w 26"/>
                <a:gd name="T7" fmla="*/ 0 h 18"/>
                <a:gd name="T8" fmla="*/ 6 w 26"/>
                <a:gd name="T9" fmla="*/ 2 h 18"/>
                <a:gd name="T10" fmla="*/ 13 w 26"/>
                <a:gd name="T11" fmla="*/ 6 h 18"/>
                <a:gd name="T12" fmla="*/ 20 w 26"/>
                <a:gd name="T13" fmla="*/ 12 h 18"/>
                <a:gd name="T14" fmla="*/ 26 w 2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55" name="Freeform 97">
              <a:extLst>
                <a:ext uri="{FF2B5EF4-FFF2-40B4-BE49-F238E27FC236}">
                  <a16:creationId xmlns="" xmlns:a16="http://schemas.microsoft.com/office/drawing/2014/main" id="{C6D0EBED-55F4-4F27-83E3-37705F30F36F}"/>
                </a:ext>
              </a:extLst>
            </p:cNvPr>
            <p:cNvSpPr>
              <a:spLocks/>
            </p:cNvSpPr>
            <p:nvPr/>
          </p:nvSpPr>
          <p:spPr bwMode="auto">
            <a:xfrm>
              <a:off x="5392" y="2466"/>
              <a:ext cx="5" cy="6"/>
            </a:xfrm>
            <a:custGeom>
              <a:avLst/>
              <a:gdLst>
                <a:gd name="T0" fmla="*/ 0 w 13"/>
                <a:gd name="T1" fmla="*/ 18 h 18"/>
                <a:gd name="T2" fmla="*/ 13 w 13"/>
                <a:gd name="T3" fmla="*/ 0 h 18"/>
                <a:gd name="T4" fmla="*/ 0 w 13"/>
                <a:gd name="T5" fmla="*/ 18 h 18"/>
              </a:gdLst>
              <a:ahLst/>
              <a:cxnLst>
                <a:cxn ang="0">
                  <a:pos x="T0" y="T1"/>
                </a:cxn>
                <a:cxn ang="0">
                  <a:pos x="T2" y="T3"/>
                </a:cxn>
                <a:cxn ang="0">
                  <a:pos x="T4" y="T5"/>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56" name="Freeform 98">
              <a:extLst>
                <a:ext uri="{FF2B5EF4-FFF2-40B4-BE49-F238E27FC236}">
                  <a16:creationId xmlns="" xmlns:a16="http://schemas.microsoft.com/office/drawing/2014/main" id="{0321D3DF-7D98-4071-87D2-274C0CDA100C}"/>
                </a:ext>
              </a:extLst>
            </p:cNvPr>
            <p:cNvSpPr>
              <a:spLocks/>
            </p:cNvSpPr>
            <p:nvPr/>
          </p:nvSpPr>
          <p:spPr bwMode="auto">
            <a:xfrm>
              <a:off x="5426" y="2468"/>
              <a:ext cx="8" cy="8"/>
            </a:xfrm>
            <a:custGeom>
              <a:avLst/>
              <a:gdLst>
                <a:gd name="T0" fmla="*/ 0 w 26"/>
                <a:gd name="T1" fmla="*/ 24 h 24"/>
                <a:gd name="T2" fmla="*/ 3 w 26"/>
                <a:gd name="T3" fmla="*/ 23 h 24"/>
                <a:gd name="T4" fmla="*/ 7 w 26"/>
                <a:gd name="T5" fmla="*/ 22 h 24"/>
                <a:gd name="T6" fmla="*/ 11 w 26"/>
                <a:gd name="T7" fmla="*/ 19 h 24"/>
                <a:gd name="T8" fmla="*/ 16 w 26"/>
                <a:gd name="T9" fmla="*/ 16 h 24"/>
                <a:gd name="T10" fmla="*/ 20 w 26"/>
                <a:gd name="T11" fmla="*/ 13 h 24"/>
                <a:gd name="T12" fmla="*/ 23 w 26"/>
                <a:gd name="T13" fmla="*/ 9 h 24"/>
                <a:gd name="T14" fmla="*/ 25 w 26"/>
                <a:gd name="T15" fmla="*/ 4 h 24"/>
                <a:gd name="T16" fmla="*/ 26 w 26"/>
                <a:gd name="T17" fmla="*/ 0 h 24"/>
                <a:gd name="T18" fmla="*/ 0 w 2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57" name="Freeform 99">
              <a:extLst>
                <a:ext uri="{FF2B5EF4-FFF2-40B4-BE49-F238E27FC236}">
                  <a16:creationId xmlns="" xmlns:a16="http://schemas.microsoft.com/office/drawing/2014/main" id="{84A35708-594F-4B50-B322-E3FBA926EEBF}"/>
                </a:ext>
              </a:extLst>
            </p:cNvPr>
            <p:cNvSpPr>
              <a:spLocks/>
            </p:cNvSpPr>
            <p:nvPr/>
          </p:nvSpPr>
          <p:spPr bwMode="auto">
            <a:xfrm>
              <a:off x="5490" y="2490"/>
              <a:ext cx="11" cy="2"/>
            </a:xfrm>
            <a:custGeom>
              <a:avLst/>
              <a:gdLst>
                <a:gd name="T0" fmla="*/ 0 w 34"/>
                <a:gd name="T1" fmla="*/ 6 h 6"/>
                <a:gd name="T2" fmla="*/ 10 w 34"/>
                <a:gd name="T3" fmla="*/ 6 h 6"/>
                <a:gd name="T4" fmla="*/ 17 w 34"/>
                <a:gd name="T5" fmla="*/ 5 h 6"/>
                <a:gd name="T6" fmla="*/ 25 w 34"/>
                <a:gd name="T7" fmla="*/ 4 h 6"/>
                <a:gd name="T8" fmla="*/ 34 w 34"/>
                <a:gd name="T9" fmla="*/ 0 h 6"/>
              </a:gdLst>
              <a:ahLst/>
              <a:cxnLst>
                <a:cxn ang="0">
                  <a:pos x="T0" y="T1"/>
                </a:cxn>
                <a:cxn ang="0">
                  <a:pos x="T2" y="T3"/>
                </a:cxn>
                <a:cxn ang="0">
                  <a:pos x="T4" y="T5"/>
                </a:cxn>
                <a:cxn ang="0">
                  <a:pos x="T6" y="T7"/>
                </a:cxn>
                <a:cxn ang="0">
                  <a:pos x="T8" y="T9"/>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58" name="Line 100">
              <a:extLst>
                <a:ext uri="{FF2B5EF4-FFF2-40B4-BE49-F238E27FC236}">
                  <a16:creationId xmlns="" xmlns:a16="http://schemas.microsoft.com/office/drawing/2014/main" id="{D22B917D-CA09-4215-AA06-EBFFDE4C0CC0}"/>
                </a:ext>
              </a:extLst>
            </p:cNvPr>
            <p:cNvSpPr>
              <a:spLocks noChangeShapeType="1"/>
            </p:cNvSpPr>
            <p:nvPr/>
          </p:nvSpPr>
          <p:spPr bwMode="auto">
            <a:xfrm flipH="1">
              <a:off x="5495" y="2490"/>
              <a:ext cx="6" cy="1"/>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659" name="Freeform 101">
              <a:extLst>
                <a:ext uri="{FF2B5EF4-FFF2-40B4-BE49-F238E27FC236}">
                  <a16:creationId xmlns="" xmlns:a16="http://schemas.microsoft.com/office/drawing/2014/main" id="{4B1DB444-BAA9-4CA0-AB9A-BB15C5B53184}"/>
                </a:ext>
              </a:extLst>
            </p:cNvPr>
            <p:cNvSpPr>
              <a:spLocks/>
            </p:cNvSpPr>
            <p:nvPr/>
          </p:nvSpPr>
          <p:spPr bwMode="auto">
            <a:xfrm>
              <a:off x="5464" y="2530"/>
              <a:ext cx="1" cy="7"/>
            </a:xfrm>
            <a:custGeom>
              <a:avLst/>
              <a:gdLst>
                <a:gd name="T0" fmla="*/ 19 h 19"/>
                <a:gd name="T1" fmla="*/ 9 h 19"/>
                <a:gd name="T2" fmla="*/ 0 h 19"/>
              </a:gdLst>
              <a:ahLst/>
              <a:cxnLst>
                <a:cxn ang="0">
                  <a:pos x="0" y="T0"/>
                </a:cxn>
                <a:cxn ang="0">
                  <a:pos x="0" y="T1"/>
                </a:cxn>
                <a:cxn ang="0">
                  <a:pos x="0" y="T2"/>
                </a:cxn>
              </a:cxnLst>
              <a:rect l="0" t="0" r="r" b="b"/>
              <a:pathLst>
                <a:path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60" name="Line 102">
              <a:extLst>
                <a:ext uri="{FF2B5EF4-FFF2-40B4-BE49-F238E27FC236}">
                  <a16:creationId xmlns="" xmlns:a16="http://schemas.microsoft.com/office/drawing/2014/main" id="{DD412585-B176-4DB6-9419-0422AB57719C}"/>
                </a:ext>
              </a:extLst>
            </p:cNvPr>
            <p:cNvSpPr>
              <a:spLocks noChangeShapeType="1"/>
            </p:cNvSpPr>
            <p:nvPr/>
          </p:nvSpPr>
          <p:spPr bwMode="auto">
            <a:xfrm>
              <a:off x="5464" y="2530"/>
              <a:ext cx="6" cy="1"/>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661" name="Freeform 103">
              <a:extLst>
                <a:ext uri="{FF2B5EF4-FFF2-40B4-BE49-F238E27FC236}">
                  <a16:creationId xmlns="" xmlns:a16="http://schemas.microsoft.com/office/drawing/2014/main" id="{DB599F3A-5182-4484-AB86-99D63D731E33}"/>
                </a:ext>
              </a:extLst>
            </p:cNvPr>
            <p:cNvSpPr>
              <a:spLocks/>
            </p:cNvSpPr>
            <p:nvPr/>
          </p:nvSpPr>
          <p:spPr bwMode="auto">
            <a:xfrm>
              <a:off x="5466" y="2530"/>
              <a:ext cx="4" cy="2"/>
            </a:xfrm>
            <a:custGeom>
              <a:avLst/>
              <a:gdLst>
                <a:gd name="T0" fmla="*/ 14 w 14"/>
                <a:gd name="T1" fmla="*/ 0 h 6"/>
                <a:gd name="T2" fmla="*/ 7 w 14"/>
                <a:gd name="T3" fmla="*/ 3 h 6"/>
                <a:gd name="T4" fmla="*/ 0 w 14"/>
                <a:gd name="T5" fmla="*/ 6 h 6"/>
              </a:gdLst>
              <a:ahLst/>
              <a:cxnLst>
                <a:cxn ang="0">
                  <a:pos x="T0" y="T1"/>
                </a:cxn>
                <a:cxn ang="0">
                  <a:pos x="T2" y="T3"/>
                </a:cxn>
                <a:cxn ang="0">
                  <a:pos x="T4" y="T5"/>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en-GB" dirty="0"/>
            </a:p>
          </p:txBody>
        </p:sp>
      </p:grpSp>
      <p:sp>
        <p:nvSpPr>
          <p:cNvPr id="204" name="Freeform 104">
            <a:extLst>
              <a:ext uri="{FF2B5EF4-FFF2-40B4-BE49-F238E27FC236}">
                <a16:creationId xmlns="" xmlns:a16="http://schemas.microsoft.com/office/drawing/2014/main" id="{CFCCAEB1-E00B-4467-B808-C751C406272B}"/>
              </a:ext>
            </a:extLst>
          </p:cNvPr>
          <p:cNvSpPr>
            <a:spLocks/>
          </p:cNvSpPr>
          <p:nvPr>
            <p:custDataLst>
              <p:tags r:id="rId74"/>
            </p:custDataLst>
          </p:nvPr>
        </p:nvSpPr>
        <p:spPr bwMode="auto">
          <a:xfrm>
            <a:off x="6857742" y="4016597"/>
            <a:ext cx="7735" cy="59076"/>
          </a:xfrm>
          <a:custGeom>
            <a:avLst/>
            <a:gdLst>
              <a:gd name="T0" fmla="*/ 13 w 26"/>
              <a:gd name="T1" fmla="*/ 111 h 111"/>
              <a:gd name="T2" fmla="*/ 9 w 26"/>
              <a:gd name="T3" fmla="*/ 103 h 111"/>
              <a:gd name="T4" fmla="*/ 4 w 26"/>
              <a:gd name="T5" fmla="*/ 95 h 111"/>
              <a:gd name="T6" fmla="*/ 2 w 26"/>
              <a:gd name="T7" fmla="*/ 91 h 111"/>
              <a:gd name="T8" fmla="*/ 1 w 26"/>
              <a:gd name="T9" fmla="*/ 87 h 111"/>
              <a:gd name="T10" fmla="*/ 0 w 26"/>
              <a:gd name="T11" fmla="*/ 80 h 111"/>
              <a:gd name="T12" fmla="*/ 0 w 26"/>
              <a:gd name="T13" fmla="*/ 74 h 111"/>
              <a:gd name="T14" fmla="*/ 0 w 26"/>
              <a:gd name="T15" fmla="*/ 61 h 111"/>
              <a:gd name="T16" fmla="*/ 1 w 26"/>
              <a:gd name="T17" fmla="*/ 51 h 111"/>
              <a:gd name="T18" fmla="*/ 3 w 26"/>
              <a:gd name="T19" fmla="*/ 41 h 111"/>
              <a:gd name="T20" fmla="*/ 5 w 26"/>
              <a:gd name="T21" fmla="*/ 33 h 111"/>
              <a:gd name="T22" fmla="*/ 9 w 26"/>
              <a:gd name="T23" fmla="*/ 24 h 111"/>
              <a:gd name="T24" fmla="*/ 14 w 26"/>
              <a:gd name="T25" fmla="*/ 17 h 111"/>
              <a:gd name="T26" fmla="*/ 20 w 26"/>
              <a:gd name="T27" fmla="*/ 9 h 111"/>
              <a:gd name="T28" fmla="*/ 26 w 26"/>
              <a:gd name="T29" fmla="*/ 0 h 111"/>
              <a:gd name="T30" fmla="*/ 26 w 26"/>
              <a:gd name="T31" fmla="*/ 6 h 111"/>
              <a:gd name="T32" fmla="*/ 26 w 26"/>
              <a:gd name="T33" fmla="*/ 13 h 111"/>
              <a:gd name="T34" fmla="*/ 26 w 26"/>
              <a:gd name="T35" fmla="*/ 22 h 111"/>
              <a:gd name="T36" fmla="*/ 26 w 26"/>
              <a:gd name="T37" fmla="*/ 32 h 111"/>
              <a:gd name="T38" fmla="*/ 25 w 26"/>
              <a:gd name="T39" fmla="*/ 44 h 111"/>
              <a:gd name="T40" fmla="*/ 22 w 26"/>
              <a:gd name="T41" fmla="*/ 56 h 111"/>
              <a:gd name="T42" fmla="*/ 18 w 26"/>
              <a:gd name="T43" fmla="*/ 67 h 111"/>
              <a:gd name="T44" fmla="*/ 13 w 26"/>
              <a:gd name="T45" fmla="*/ 80 h 111"/>
              <a:gd name="T46" fmla="*/ 13 w 26"/>
              <a:gd name="T4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05" name="Freeform 105">
            <a:extLst>
              <a:ext uri="{FF2B5EF4-FFF2-40B4-BE49-F238E27FC236}">
                <a16:creationId xmlns="" xmlns:a16="http://schemas.microsoft.com/office/drawing/2014/main" id="{93390E4B-799A-4238-A0EC-4C8F371EB0AF}"/>
              </a:ext>
            </a:extLst>
          </p:cNvPr>
          <p:cNvSpPr>
            <a:spLocks/>
          </p:cNvSpPr>
          <p:nvPr>
            <p:custDataLst>
              <p:tags r:id="rId75"/>
            </p:custDataLst>
          </p:nvPr>
        </p:nvSpPr>
        <p:spPr bwMode="auto">
          <a:xfrm>
            <a:off x="3080927" y="6228632"/>
            <a:ext cx="65751" cy="60716"/>
          </a:xfrm>
          <a:custGeom>
            <a:avLst/>
            <a:gdLst>
              <a:gd name="T0" fmla="*/ 0 w 126"/>
              <a:gd name="T1" fmla="*/ 19 h 62"/>
              <a:gd name="T2" fmla="*/ 11 w 126"/>
              <a:gd name="T3" fmla="*/ 20 h 62"/>
              <a:gd name="T4" fmla="*/ 21 w 126"/>
              <a:gd name="T5" fmla="*/ 21 h 62"/>
              <a:gd name="T6" fmla="*/ 29 w 126"/>
              <a:gd name="T7" fmla="*/ 23 h 62"/>
              <a:gd name="T8" fmla="*/ 36 w 126"/>
              <a:gd name="T9" fmla="*/ 26 h 62"/>
              <a:gd name="T10" fmla="*/ 50 w 126"/>
              <a:gd name="T11" fmla="*/ 33 h 62"/>
              <a:gd name="T12" fmla="*/ 61 w 126"/>
              <a:gd name="T13" fmla="*/ 40 h 62"/>
              <a:gd name="T14" fmla="*/ 70 w 126"/>
              <a:gd name="T15" fmla="*/ 48 h 62"/>
              <a:gd name="T16" fmla="*/ 79 w 126"/>
              <a:gd name="T17" fmla="*/ 55 h 62"/>
              <a:gd name="T18" fmla="*/ 84 w 126"/>
              <a:gd name="T19" fmla="*/ 58 h 62"/>
              <a:gd name="T20" fmla="*/ 89 w 126"/>
              <a:gd name="T21" fmla="*/ 60 h 62"/>
              <a:gd name="T22" fmla="*/ 95 w 126"/>
              <a:gd name="T23" fmla="*/ 61 h 62"/>
              <a:gd name="T24" fmla="*/ 100 w 126"/>
              <a:gd name="T25" fmla="*/ 62 h 62"/>
              <a:gd name="T26" fmla="*/ 105 w 126"/>
              <a:gd name="T27" fmla="*/ 61 h 62"/>
              <a:gd name="T28" fmla="*/ 109 w 126"/>
              <a:gd name="T29" fmla="*/ 60 h 62"/>
              <a:gd name="T30" fmla="*/ 113 w 126"/>
              <a:gd name="T31" fmla="*/ 58 h 62"/>
              <a:gd name="T32" fmla="*/ 117 w 126"/>
              <a:gd name="T33" fmla="*/ 56 h 62"/>
              <a:gd name="T34" fmla="*/ 122 w 126"/>
              <a:gd name="T35" fmla="*/ 51 h 62"/>
              <a:gd name="T36" fmla="*/ 126 w 126"/>
              <a:gd name="T37" fmla="*/ 49 h 62"/>
              <a:gd name="T38" fmla="*/ 110 w 126"/>
              <a:gd name="T39" fmla="*/ 33 h 62"/>
              <a:gd name="T40" fmla="*/ 96 w 126"/>
              <a:gd name="T41" fmla="*/ 21 h 62"/>
              <a:gd name="T42" fmla="*/ 89 w 126"/>
              <a:gd name="T43" fmla="*/ 15 h 62"/>
              <a:gd name="T44" fmla="*/ 81 w 126"/>
              <a:gd name="T45" fmla="*/ 9 h 62"/>
              <a:gd name="T46" fmla="*/ 72 w 126"/>
              <a:gd name="T47" fmla="*/ 5 h 62"/>
              <a:gd name="T48" fmla="*/ 61 w 126"/>
              <a:gd name="T49" fmla="*/ 0 h 62"/>
              <a:gd name="T50" fmla="*/ 0 w 126"/>
              <a:gd name="T51" fmla="*/ 0 h 62"/>
              <a:gd name="T52" fmla="*/ 0 w 126"/>
              <a:gd name="T53" fmla="*/ 9 h 62"/>
              <a:gd name="T54" fmla="*/ 0 w 126"/>
              <a:gd name="T55" fmla="*/ 1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06" name="Freeform 106">
            <a:extLst>
              <a:ext uri="{FF2B5EF4-FFF2-40B4-BE49-F238E27FC236}">
                <a16:creationId xmlns="" xmlns:a16="http://schemas.microsoft.com/office/drawing/2014/main" id="{DFAAF6E7-5EEA-4CB1-B667-F5CA03CD77D1}"/>
              </a:ext>
            </a:extLst>
          </p:cNvPr>
          <p:cNvSpPr>
            <a:spLocks/>
          </p:cNvSpPr>
          <p:nvPr>
            <p:custDataLst>
              <p:tags r:id="rId76"/>
            </p:custDataLst>
          </p:nvPr>
        </p:nvSpPr>
        <p:spPr bwMode="auto">
          <a:xfrm>
            <a:off x="5885013" y="6061252"/>
            <a:ext cx="36744" cy="57435"/>
          </a:xfrm>
          <a:custGeom>
            <a:avLst/>
            <a:gdLst>
              <a:gd name="T0" fmla="*/ 0 w 66"/>
              <a:gd name="T1" fmla="*/ 0 h 44"/>
              <a:gd name="T2" fmla="*/ 13 w 66"/>
              <a:gd name="T3" fmla="*/ 1 h 44"/>
              <a:gd name="T4" fmla="*/ 23 w 66"/>
              <a:gd name="T5" fmla="*/ 2 h 44"/>
              <a:gd name="T6" fmla="*/ 32 w 66"/>
              <a:gd name="T7" fmla="*/ 4 h 44"/>
              <a:gd name="T8" fmla="*/ 38 w 66"/>
              <a:gd name="T9" fmla="*/ 7 h 44"/>
              <a:gd name="T10" fmla="*/ 44 w 66"/>
              <a:gd name="T11" fmla="*/ 9 h 44"/>
              <a:gd name="T12" fmla="*/ 50 w 66"/>
              <a:gd name="T13" fmla="*/ 11 h 44"/>
              <a:gd name="T14" fmla="*/ 57 w 66"/>
              <a:gd name="T15" fmla="*/ 12 h 44"/>
              <a:gd name="T16" fmla="*/ 66 w 66"/>
              <a:gd name="T17" fmla="*/ 13 h 44"/>
              <a:gd name="T18" fmla="*/ 65 w 66"/>
              <a:gd name="T19" fmla="*/ 17 h 44"/>
              <a:gd name="T20" fmla="*/ 62 w 66"/>
              <a:gd name="T21" fmla="*/ 21 h 44"/>
              <a:gd name="T22" fmla="*/ 60 w 66"/>
              <a:gd name="T23" fmla="*/ 25 h 44"/>
              <a:gd name="T24" fmla="*/ 57 w 66"/>
              <a:gd name="T25" fmla="*/ 28 h 44"/>
              <a:gd name="T26" fmla="*/ 49 w 66"/>
              <a:gd name="T27" fmla="*/ 34 h 44"/>
              <a:gd name="T28" fmla="*/ 40 w 66"/>
              <a:gd name="T29" fmla="*/ 39 h 44"/>
              <a:gd name="T30" fmla="*/ 31 w 66"/>
              <a:gd name="T31" fmla="*/ 42 h 44"/>
              <a:gd name="T32" fmla="*/ 21 w 66"/>
              <a:gd name="T33" fmla="*/ 44 h 44"/>
              <a:gd name="T34" fmla="*/ 10 w 66"/>
              <a:gd name="T35" fmla="*/ 44 h 44"/>
              <a:gd name="T36" fmla="*/ 0 w 66"/>
              <a:gd name="T37" fmla="*/ 43 h 44"/>
              <a:gd name="T38" fmla="*/ 0 w 66"/>
              <a:gd name="T39" fmla="*/ 31 h 44"/>
              <a:gd name="T40" fmla="*/ 0 w 66"/>
              <a:gd name="T41" fmla="*/ 22 h 44"/>
              <a:gd name="T42" fmla="*/ 0 w 66"/>
              <a:gd name="T43" fmla="*/ 12 h 44"/>
              <a:gd name="T44" fmla="*/ 0 w 66"/>
              <a:gd name="T4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07" name="Freeform 107">
            <a:extLst>
              <a:ext uri="{FF2B5EF4-FFF2-40B4-BE49-F238E27FC236}">
                <a16:creationId xmlns="" xmlns:a16="http://schemas.microsoft.com/office/drawing/2014/main" id="{31CC54D1-8A08-425C-B6A1-AAD6974594F6}"/>
              </a:ext>
            </a:extLst>
          </p:cNvPr>
          <p:cNvSpPr>
            <a:spLocks/>
          </p:cNvSpPr>
          <p:nvPr>
            <p:custDataLst>
              <p:tags r:id="rId77"/>
            </p:custDataLst>
          </p:nvPr>
        </p:nvSpPr>
        <p:spPr bwMode="auto">
          <a:xfrm>
            <a:off x="8509251" y="2723509"/>
            <a:ext cx="25139" cy="59076"/>
          </a:xfrm>
          <a:custGeom>
            <a:avLst/>
            <a:gdLst>
              <a:gd name="T0" fmla="*/ 46 w 46"/>
              <a:gd name="T1" fmla="*/ 0 h 16"/>
              <a:gd name="T2" fmla="*/ 40 w 46"/>
              <a:gd name="T3" fmla="*/ 7 h 16"/>
              <a:gd name="T4" fmla="*/ 35 w 46"/>
              <a:gd name="T5" fmla="*/ 13 h 16"/>
              <a:gd name="T6" fmla="*/ 31 w 46"/>
              <a:gd name="T7" fmla="*/ 14 h 16"/>
              <a:gd name="T8" fmla="*/ 29 w 46"/>
              <a:gd name="T9" fmla="*/ 15 h 16"/>
              <a:gd name="T10" fmla="*/ 26 w 46"/>
              <a:gd name="T11" fmla="*/ 16 h 16"/>
              <a:gd name="T12" fmla="*/ 23 w 46"/>
              <a:gd name="T13" fmla="*/ 16 h 16"/>
              <a:gd name="T14" fmla="*/ 16 w 46"/>
              <a:gd name="T15" fmla="*/ 14 h 16"/>
              <a:gd name="T16" fmla="*/ 11 w 46"/>
              <a:gd name="T17" fmla="*/ 11 h 16"/>
              <a:gd name="T18" fmla="*/ 5 w 46"/>
              <a:gd name="T19" fmla="*/ 6 h 16"/>
              <a:gd name="T20" fmla="*/ 0 w 46"/>
              <a:gd name="T21" fmla="*/ 0 h 16"/>
              <a:gd name="T22" fmla="*/ 46 w 4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08" name="Freeform 108">
            <a:extLst>
              <a:ext uri="{FF2B5EF4-FFF2-40B4-BE49-F238E27FC236}">
                <a16:creationId xmlns="" xmlns:a16="http://schemas.microsoft.com/office/drawing/2014/main" id="{32108362-9B5F-48B2-B9D3-6F947F8778BB}"/>
              </a:ext>
            </a:extLst>
          </p:cNvPr>
          <p:cNvSpPr>
            <a:spLocks/>
          </p:cNvSpPr>
          <p:nvPr>
            <p:custDataLst>
              <p:tags r:id="rId78"/>
            </p:custDataLst>
          </p:nvPr>
        </p:nvSpPr>
        <p:spPr bwMode="auto">
          <a:xfrm>
            <a:off x="8723908" y="2757970"/>
            <a:ext cx="19338" cy="59076"/>
          </a:xfrm>
          <a:custGeom>
            <a:avLst/>
            <a:gdLst>
              <a:gd name="T0" fmla="*/ 39 w 39"/>
              <a:gd name="T1" fmla="*/ 25 h 26"/>
              <a:gd name="T2" fmla="*/ 36 w 39"/>
              <a:gd name="T3" fmla="*/ 26 h 26"/>
              <a:gd name="T4" fmla="*/ 32 w 39"/>
              <a:gd name="T5" fmla="*/ 26 h 26"/>
              <a:gd name="T6" fmla="*/ 28 w 39"/>
              <a:gd name="T7" fmla="*/ 26 h 26"/>
              <a:gd name="T8" fmla="*/ 25 w 39"/>
              <a:gd name="T9" fmla="*/ 25 h 26"/>
              <a:gd name="T10" fmla="*/ 18 w 39"/>
              <a:gd name="T11" fmla="*/ 22 h 26"/>
              <a:gd name="T12" fmla="*/ 12 w 39"/>
              <a:gd name="T13" fmla="*/ 18 h 26"/>
              <a:gd name="T14" fmla="*/ 7 w 39"/>
              <a:gd name="T15" fmla="*/ 13 h 26"/>
              <a:gd name="T16" fmla="*/ 3 w 39"/>
              <a:gd name="T17" fmla="*/ 7 h 26"/>
              <a:gd name="T18" fmla="*/ 1 w 39"/>
              <a:gd name="T19" fmla="*/ 3 h 26"/>
              <a:gd name="T20" fmla="*/ 0 w 39"/>
              <a:gd name="T21" fmla="*/ 0 h 26"/>
              <a:gd name="T22" fmla="*/ 11 w 39"/>
              <a:gd name="T23" fmla="*/ 6 h 26"/>
              <a:gd name="T24" fmla="*/ 22 w 39"/>
              <a:gd name="T25" fmla="*/ 13 h 26"/>
              <a:gd name="T26" fmla="*/ 33 w 39"/>
              <a:gd name="T27" fmla="*/ 20 h 26"/>
              <a:gd name="T28" fmla="*/ 39 w 39"/>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09" name="Freeform 109">
            <a:extLst>
              <a:ext uri="{FF2B5EF4-FFF2-40B4-BE49-F238E27FC236}">
                <a16:creationId xmlns="" xmlns:a16="http://schemas.microsoft.com/office/drawing/2014/main" id="{466D4630-7C60-449F-A2DF-A3C0004E40E1}"/>
              </a:ext>
            </a:extLst>
          </p:cNvPr>
          <p:cNvSpPr>
            <a:spLocks/>
          </p:cNvSpPr>
          <p:nvPr>
            <p:custDataLst>
              <p:tags r:id="rId79"/>
            </p:custDataLst>
          </p:nvPr>
        </p:nvSpPr>
        <p:spPr bwMode="auto">
          <a:xfrm>
            <a:off x="8052862" y="2995911"/>
            <a:ext cx="5801" cy="60716"/>
          </a:xfrm>
          <a:custGeom>
            <a:avLst/>
            <a:gdLst>
              <a:gd name="T0" fmla="*/ 11 w 11"/>
              <a:gd name="T1" fmla="*/ 0 h 25"/>
              <a:gd name="T2" fmla="*/ 11 w 11"/>
              <a:gd name="T3" fmla="*/ 5 h 25"/>
              <a:gd name="T4" fmla="*/ 10 w 11"/>
              <a:gd name="T5" fmla="*/ 12 h 25"/>
              <a:gd name="T6" fmla="*/ 9 w 11"/>
              <a:gd name="T7" fmla="*/ 20 h 25"/>
              <a:gd name="T8" fmla="*/ 4 w 11"/>
              <a:gd name="T9" fmla="*/ 25 h 25"/>
              <a:gd name="T10" fmla="*/ 2 w 11"/>
              <a:gd name="T11" fmla="*/ 23 h 25"/>
              <a:gd name="T12" fmla="*/ 1 w 11"/>
              <a:gd name="T13" fmla="*/ 20 h 25"/>
              <a:gd name="T14" fmla="*/ 0 w 11"/>
              <a:gd name="T15" fmla="*/ 15 h 25"/>
              <a:gd name="T16" fmla="*/ 0 w 11"/>
              <a:gd name="T17" fmla="*/ 12 h 25"/>
              <a:gd name="T18" fmla="*/ 1 w 11"/>
              <a:gd name="T19" fmla="*/ 9 h 25"/>
              <a:gd name="T20" fmla="*/ 3 w 11"/>
              <a:gd name="T21" fmla="*/ 5 h 25"/>
              <a:gd name="T22" fmla="*/ 6 w 11"/>
              <a:gd name="T23" fmla="*/ 2 h 25"/>
              <a:gd name="T24" fmla="*/ 11 w 11"/>
              <a:gd name="T2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10" name="Freeform 110">
            <a:extLst>
              <a:ext uri="{FF2B5EF4-FFF2-40B4-BE49-F238E27FC236}">
                <a16:creationId xmlns="" xmlns:a16="http://schemas.microsoft.com/office/drawing/2014/main" id="{2B61D0E6-5F5A-4BED-A77B-FB4672802F1E}"/>
              </a:ext>
            </a:extLst>
          </p:cNvPr>
          <p:cNvSpPr>
            <a:spLocks/>
          </p:cNvSpPr>
          <p:nvPr>
            <p:custDataLst>
              <p:tags r:id="rId80"/>
            </p:custDataLst>
          </p:nvPr>
        </p:nvSpPr>
        <p:spPr bwMode="auto">
          <a:xfrm>
            <a:off x="7826601" y="3576816"/>
            <a:ext cx="17405" cy="60716"/>
          </a:xfrm>
          <a:custGeom>
            <a:avLst/>
            <a:gdLst>
              <a:gd name="T0" fmla="*/ 20 w 20"/>
              <a:gd name="T1" fmla="*/ 0 h 31"/>
              <a:gd name="T2" fmla="*/ 16 w 20"/>
              <a:gd name="T3" fmla="*/ 12 h 31"/>
              <a:gd name="T4" fmla="*/ 10 w 20"/>
              <a:gd name="T5" fmla="*/ 20 h 31"/>
              <a:gd name="T6" fmla="*/ 5 w 20"/>
              <a:gd name="T7" fmla="*/ 26 h 31"/>
              <a:gd name="T8" fmla="*/ 0 w 20"/>
              <a:gd name="T9" fmla="*/ 31 h 31"/>
              <a:gd name="T10" fmla="*/ 0 w 20"/>
              <a:gd name="T11" fmla="*/ 25 h 31"/>
              <a:gd name="T12" fmla="*/ 1 w 20"/>
              <a:gd name="T13" fmla="*/ 19 h 31"/>
              <a:gd name="T14" fmla="*/ 2 w 20"/>
              <a:gd name="T15" fmla="*/ 13 h 31"/>
              <a:gd name="T16" fmla="*/ 5 w 20"/>
              <a:gd name="T17" fmla="*/ 9 h 31"/>
              <a:gd name="T18" fmla="*/ 8 w 20"/>
              <a:gd name="T19" fmla="*/ 6 h 31"/>
              <a:gd name="T20" fmla="*/ 11 w 20"/>
              <a:gd name="T21" fmla="*/ 3 h 31"/>
              <a:gd name="T22" fmla="*/ 16 w 20"/>
              <a:gd name="T23" fmla="*/ 0 h 31"/>
              <a:gd name="T24" fmla="*/ 20 w 20"/>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11" name="Freeform 111">
            <a:extLst>
              <a:ext uri="{FF2B5EF4-FFF2-40B4-BE49-F238E27FC236}">
                <a16:creationId xmlns="" xmlns:a16="http://schemas.microsoft.com/office/drawing/2014/main" id="{BB180B00-6329-4DCA-83A5-EB1F3B1A2D10}"/>
              </a:ext>
            </a:extLst>
          </p:cNvPr>
          <p:cNvSpPr>
            <a:spLocks/>
          </p:cNvSpPr>
          <p:nvPr>
            <p:custDataLst>
              <p:tags r:id="rId81"/>
            </p:custDataLst>
          </p:nvPr>
        </p:nvSpPr>
        <p:spPr bwMode="auto">
          <a:xfrm>
            <a:off x="7847874" y="3509537"/>
            <a:ext cx="19338" cy="59076"/>
          </a:xfrm>
          <a:custGeom>
            <a:avLst/>
            <a:gdLst>
              <a:gd name="T0" fmla="*/ 13 w 26"/>
              <a:gd name="T1" fmla="*/ 37 h 37"/>
              <a:gd name="T2" fmla="*/ 0 w 26"/>
              <a:gd name="T3" fmla="*/ 12 h 37"/>
              <a:gd name="T4" fmla="*/ 6 w 26"/>
              <a:gd name="T5" fmla="*/ 7 h 37"/>
              <a:gd name="T6" fmla="*/ 13 w 26"/>
              <a:gd name="T7" fmla="*/ 4 h 37"/>
              <a:gd name="T8" fmla="*/ 21 w 26"/>
              <a:gd name="T9" fmla="*/ 1 h 37"/>
              <a:gd name="T10" fmla="*/ 26 w 26"/>
              <a:gd name="T11" fmla="*/ 0 h 37"/>
              <a:gd name="T12" fmla="*/ 26 w 26"/>
              <a:gd name="T13" fmla="*/ 6 h 37"/>
              <a:gd name="T14" fmla="*/ 25 w 26"/>
              <a:gd name="T15" fmla="*/ 11 h 37"/>
              <a:gd name="T16" fmla="*/ 24 w 26"/>
              <a:gd name="T17" fmla="*/ 17 h 37"/>
              <a:gd name="T18" fmla="*/ 23 w 26"/>
              <a:gd name="T19" fmla="*/ 21 h 37"/>
              <a:gd name="T20" fmla="*/ 18 w 26"/>
              <a:gd name="T21" fmla="*/ 29 h 37"/>
              <a:gd name="T22" fmla="*/ 13 w 26"/>
              <a:gd name="T23"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12" name="Freeform 112">
            <a:extLst>
              <a:ext uri="{FF2B5EF4-FFF2-40B4-BE49-F238E27FC236}">
                <a16:creationId xmlns="" xmlns:a16="http://schemas.microsoft.com/office/drawing/2014/main" id="{7B6AB2A3-4EDD-499E-A55C-C4FD52FF8E1E}"/>
              </a:ext>
            </a:extLst>
          </p:cNvPr>
          <p:cNvSpPr>
            <a:spLocks/>
          </p:cNvSpPr>
          <p:nvPr>
            <p:custDataLst>
              <p:tags r:id="rId82"/>
            </p:custDataLst>
          </p:nvPr>
        </p:nvSpPr>
        <p:spPr bwMode="auto">
          <a:xfrm>
            <a:off x="7712504" y="3353643"/>
            <a:ext cx="1933" cy="62357"/>
          </a:xfrm>
          <a:custGeom>
            <a:avLst/>
            <a:gdLst>
              <a:gd name="T0" fmla="*/ 0 w 7"/>
              <a:gd name="T1" fmla="*/ 18 h 18"/>
              <a:gd name="T2" fmla="*/ 0 w 7"/>
              <a:gd name="T3" fmla="*/ 0 h 18"/>
              <a:gd name="T4" fmla="*/ 7 w 7"/>
              <a:gd name="T5" fmla="*/ 12 h 18"/>
              <a:gd name="T6" fmla="*/ 0 w 7"/>
              <a:gd name="T7" fmla="*/ 18 h 18"/>
            </a:gdLst>
            <a:ahLst/>
            <a:cxnLst>
              <a:cxn ang="0">
                <a:pos x="T0" y="T1"/>
              </a:cxn>
              <a:cxn ang="0">
                <a:pos x="T2" y="T3"/>
              </a:cxn>
              <a:cxn ang="0">
                <a:pos x="T4" y="T5"/>
              </a:cxn>
              <a:cxn ang="0">
                <a:pos x="T6" y="T7"/>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13" name="Freeform 113">
            <a:extLst>
              <a:ext uri="{FF2B5EF4-FFF2-40B4-BE49-F238E27FC236}">
                <a16:creationId xmlns="" xmlns:a16="http://schemas.microsoft.com/office/drawing/2014/main" id="{FF97E370-C3C7-4015-A2D6-D8079542D5ED}"/>
              </a:ext>
            </a:extLst>
          </p:cNvPr>
          <p:cNvSpPr>
            <a:spLocks/>
          </p:cNvSpPr>
          <p:nvPr>
            <p:custDataLst>
              <p:tags r:id="rId83"/>
            </p:custDataLst>
          </p:nvPr>
        </p:nvSpPr>
        <p:spPr bwMode="auto">
          <a:xfrm>
            <a:off x="3877674" y="2451107"/>
            <a:ext cx="11603" cy="59076"/>
          </a:xfrm>
          <a:custGeom>
            <a:avLst/>
            <a:gdLst>
              <a:gd name="T0" fmla="*/ 0 w 33"/>
              <a:gd name="T1" fmla="*/ 12 h 31"/>
              <a:gd name="T2" fmla="*/ 19 w 33"/>
              <a:gd name="T3" fmla="*/ 0 h 31"/>
              <a:gd name="T4" fmla="*/ 24 w 33"/>
              <a:gd name="T5" fmla="*/ 5 h 31"/>
              <a:gd name="T6" fmla="*/ 28 w 33"/>
              <a:gd name="T7" fmla="*/ 12 h 31"/>
              <a:gd name="T8" fmla="*/ 32 w 33"/>
              <a:gd name="T9" fmla="*/ 22 h 31"/>
              <a:gd name="T10" fmla="*/ 33 w 33"/>
              <a:gd name="T11" fmla="*/ 31 h 31"/>
              <a:gd name="T12" fmla="*/ 27 w 33"/>
              <a:gd name="T13" fmla="*/ 30 h 31"/>
              <a:gd name="T14" fmla="*/ 22 w 33"/>
              <a:gd name="T15" fmla="*/ 28 h 31"/>
              <a:gd name="T16" fmla="*/ 16 w 33"/>
              <a:gd name="T17" fmla="*/ 25 h 31"/>
              <a:gd name="T18" fmla="*/ 11 w 33"/>
              <a:gd name="T19" fmla="*/ 22 h 31"/>
              <a:gd name="T20" fmla="*/ 3 w 33"/>
              <a:gd name="T21" fmla="*/ 15 h 31"/>
              <a:gd name="T22" fmla="*/ 0 w 33"/>
              <a:gd name="T23" fmla="*/ 1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14" name="Freeform 114">
            <a:extLst>
              <a:ext uri="{FF2B5EF4-FFF2-40B4-BE49-F238E27FC236}">
                <a16:creationId xmlns="" xmlns:a16="http://schemas.microsoft.com/office/drawing/2014/main" id="{3CD3A430-E4C2-43DF-BB0A-35EAB240E871}"/>
              </a:ext>
            </a:extLst>
          </p:cNvPr>
          <p:cNvSpPr>
            <a:spLocks/>
          </p:cNvSpPr>
          <p:nvPr>
            <p:custDataLst>
              <p:tags r:id="rId84"/>
            </p:custDataLst>
          </p:nvPr>
        </p:nvSpPr>
        <p:spPr bwMode="auto">
          <a:xfrm>
            <a:off x="3860270" y="2211525"/>
            <a:ext cx="3867" cy="59076"/>
          </a:xfrm>
          <a:custGeom>
            <a:avLst/>
            <a:gdLst>
              <a:gd name="T0" fmla="*/ 14 w 14"/>
              <a:gd name="T1" fmla="*/ 0 h 6"/>
              <a:gd name="T2" fmla="*/ 0 w 14"/>
              <a:gd name="T3" fmla="*/ 6 h 6"/>
              <a:gd name="T4" fmla="*/ 14 w 14"/>
              <a:gd name="T5" fmla="*/ 0 h 6"/>
            </a:gdLst>
            <a:ahLst/>
            <a:cxnLst>
              <a:cxn ang="0">
                <a:pos x="T0" y="T1"/>
              </a:cxn>
              <a:cxn ang="0">
                <a:pos x="T2" y="T3"/>
              </a:cxn>
              <a:cxn ang="0">
                <a:pos x="T4" y="T5"/>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15" name="Freeform 115">
            <a:extLst>
              <a:ext uri="{FF2B5EF4-FFF2-40B4-BE49-F238E27FC236}">
                <a16:creationId xmlns="" xmlns:a16="http://schemas.microsoft.com/office/drawing/2014/main" id="{366D78DC-8C2C-4267-A536-1CCFB2F5D58C}"/>
              </a:ext>
            </a:extLst>
          </p:cNvPr>
          <p:cNvSpPr>
            <a:spLocks/>
          </p:cNvSpPr>
          <p:nvPr>
            <p:custDataLst>
              <p:tags r:id="rId85"/>
            </p:custDataLst>
          </p:nvPr>
        </p:nvSpPr>
        <p:spPr bwMode="auto">
          <a:xfrm>
            <a:off x="5664553" y="4049417"/>
            <a:ext cx="30942" cy="57435"/>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16" name="Freeform 116">
            <a:extLst>
              <a:ext uri="{FF2B5EF4-FFF2-40B4-BE49-F238E27FC236}">
                <a16:creationId xmlns="" xmlns:a16="http://schemas.microsoft.com/office/drawing/2014/main" id="{4E430D23-7E92-499B-BBEF-F6533A89442D}"/>
              </a:ext>
            </a:extLst>
          </p:cNvPr>
          <p:cNvSpPr>
            <a:spLocks/>
          </p:cNvSpPr>
          <p:nvPr>
            <p:custDataLst>
              <p:tags r:id="rId86"/>
            </p:custDataLst>
          </p:nvPr>
        </p:nvSpPr>
        <p:spPr bwMode="auto">
          <a:xfrm>
            <a:off x="5302924" y="3906653"/>
            <a:ext cx="23206" cy="60715"/>
          </a:xfrm>
          <a:custGeom>
            <a:avLst/>
            <a:gdLst>
              <a:gd name="T0" fmla="*/ 14 w 47"/>
              <a:gd name="T1" fmla="*/ 0 h 68"/>
              <a:gd name="T2" fmla="*/ 8 w 47"/>
              <a:gd name="T3" fmla="*/ 10 h 68"/>
              <a:gd name="T4" fmla="*/ 4 w 47"/>
              <a:gd name="T5" fmla="*/ 19 h 68"/>
              <a:gd name="T6" fmla="*/ 2 w 47"/>
              <a:gd name="T7" fmla="*/ 28 h 68"/>
              <a:gd name="T8" fmla="*/ 0 w 47"/>
              <a:gd name="T9" fmla="*/ 37 h 68"/>
              <a:gd name="T10" fmla="*/ 0 w 47"/>
              <a:gd name="T11" fmla="*/ 42 h 68"/>
              <a:gd name="T12" fmla="*/ 2 w 47"/>
              <a:gd name="T13" fmla="*/ 47 h 68"/>
              <a:gd name="T14" fmla="*/ 3 w 47"/>
              <a:gd name="T15" fmla="*/ 51 h 68"/>
              <a:gd name="T16" fmla="*/ 5 w 47"/>
              <a:gd name="T17" fmla="*/ 55 h 68"/>
              <a:gd name="T18" fmla="*/ 7 w 47"/>
              <a:gd name="T19" fmla="*/ 58 h 68"/>
              <a:gd name="T20" fmla="*/ 9 w 47"/>
              <a:gd name="T21" fmla="*/ 60 h 68"/>
              <a:gd name="T22" fmla="*/ 13 w 47"/>
              <a:gd name="T23" fmla="*/ 62 h 68"/>
              <a:gd name="T24" fmla="*/ 16 w 47"/>
              <a:gd name="T25" fmla="*/ 64 h 68"/>
              <a:gd name="T26" fmla="*/ 22 w 47"/>
              <a:gd name="T27" fmla="*/ 67 h 68"/>
              <a:gd name="T28" fmla="*/ 31 w 47"/>
              <a:gd name="T29" fmla="*/ 68 h 68"/>
              <a:gd name="T30" fmla="*/ 39 w 47"/>
              <a:gd name="T31" fmla="*/ 68 h 68"/>
              <a:gd name="T32" fmla="*/ 47 w 47"/>
              <a:gd name="T33" fmla="*/ 68 h 68"/>
              <a:gd name="T34" fmla="*/ 41 w 47"/>
              <a:gd name="T35" fmla="*/ 58 h 68"/>
              <a:gd name="T36" fmla="*/ 38 w 47"/>
              <a:gd name="T37" fmla="*/ 48 h 68"/>
              <a:gd name="T38" fmla="*/ 36 w 47"/>
              <a:gd name="T39" fmla="*/ 43 h 68"/>
              <a:gd name="T40" fmla="*/ 35 w 47"/>
              <a:gd name="T41" fmla="*/ 38 h 68"/>
              <a:gd name="T42" fmla="*/ 33 w 47"/>
              <a:gd name="T43" fmla="*/ 31 h 68"/>
              <a:gd name="T44" fmla="*/ 33 w 47"/>
              <a:gd name="T45" fmla="*/ 25 h 68"/>
              <a:gd name="T46" fmla="*/ 24 w 47"/>
              <a:gd name="T47" fmla="*/ 13 h 68"/>
              <a:gd name="T48" fmla="*/ 14 w 47"/>
              <a:gd name="T4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endParaRPr lang="en-GB" dirty="0"/>
          </a:p>
        </p:txBody>
      </p:sp>
      <p:grpSp>
        <p:nvGrpSpPr>
          <p:cNvPr id="217" name="Group 117">
            <a:extLst>
              <a:ext uri="{FF2B5EF4-FFF2-40B4-BE49-F238E27FC236}">
                <a16:creationId xmlns="" xmlns:a16="http://schemas.microsoft.com/office/drawing/2014/main" id="{6BF9998C-900C-4098-B7F3-6DE12F008304}"/>
              </a:ext>
            </a:extLst>
          </p:cNvPr>
          <p:cNvGrpSpPr>
            <a:grpSpLocks/>
          </p:cNvGrpSpPr>
          <p:nvPr>
            <p:custDataLst>
              <p:tags r:id="rId87"/>
            </p:custDataLst>
          </p:nvPr>
        </p:nvGrpSpPr>
        <p:grpSpPr bwMode="auto">
          <a:xfrm>
            <a:off x="6242777" y="4100288"/>
            <a:ext cx="56081" cy="387271"/>
            <a:chOff x="3950" y="2430"/>
            <a:chExt cx="36" cy="234"/>
          </a:xfrm>
        </p:grpSpPr>
        <p:sp>
          <p:nvSpPr>
            <p:cNvPr id="622" name="Freeform 118">
              <a:extLst>
                <a:ext uri="{FF2B5EF4-FFF2-40B4-BE49-F238E27FC236}">
                  <a16:creationId xmlns="" xmlns:a16="http://schemas.microsoft.com/office/drawing/2014/main" id="{F0C648CB-9D33-48E6-B5E6-C1A3195D2595}"/>
                </a:ext>
              </a:extLst>
            </p:cNvPr>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23" name="Freeform 119">
              <a:extLst>
                <a:ext uri="{FF2B5EF4-FFF2-40B4-BE49-F238E27FC236}">
                  <a16:creationId xmlns="" xmlns:a16="http://schemas.microsoft.com/office/drawing/2014/main" id="{9F03B23F-FE43-4CFA-9DAA-995D5C844BC6}"/>
                </a:ext>
              </a:extLst>
            </p:cNvPr>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24" name="Freeform 120">
              <a:extLst>
                <a:ext uri="{FF2B5EF4-FFF2-40B4-BE49-F238E27FC236}">
                  <a16:creationId xmlns="" xmlns:a16="http://schemas.microsoft.com/office/drawing/2014/main" id="{C919F58B-2162-46E4-8EFF-4FA2DEC766BB}"/>
                </a:ext>
              </a:extLst>
            </p:cNvPr>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25" name="Rectangle 121">
              <a:extLst>
                <a:ext uri="{FF2B5EF4-FFF2-40B4-BE49-F238E27FC236}">
                  <a16:creationId xmlns="" xmlns:a16="http://schemas.microsoft.com/office/drawing/2014/main" id="{8D1122B4-0343-4839-BC86-BF56D66ACF5F}"/>
                </a:ext>
              </a:extLst>
            </p:cNvPr>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GB" dirty="0"/>
            </a:p>
          </p:txBody>
        </p:sp>
        <p:sp>
          <p:nvSpPr>
            <p:cNvPr id="626" name="Line 122">
              <a:extLst>
                <a:ext uri="{FF2B5EF4-FFF2-40B4-BE49-F238E27FC236}">
                  <a16:creationId xmlns="" xmlns:a16="http://schemas.microsoft.com/office/drawing/2014/main" id="{0028154B-A9AC-4341-AD79-0A69AEAB21FD}"/>
                </a:ext>
              </a:extLst>
            </p:cNvPr>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627" name="Freeform 123">
              <a:extLst>
                <a:ext uri="{FF2B5EF4-FFF2-40B4-BE49-F238E27FC236}">
                  <a16:creationId xmlns="" xmlns:a16="http://schemas.microsoft.com/office/drawing/2014/main" id="{CD47B9CD-094C-497D-BFBA-96A063D05405}"/>
                </a:ext>
              </a:extLst>
            </p:cNvPr>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28" name="Freeform 124">
              <a:extLst>
                <a:ext uri="{FF2B5EF4-FFF2-40B4-BE49-F238E27FC236}">
                  <a16:creationId xmlns="" xmlns:a16="http://schemas.microsoft.com/office/drawing/2014/main" id="{FA4D5DB6-5BE1-4FD2-9DEC-38A52D53ADDB}"/>
                </a:ext>
              </a:extLst>
            </p:cNvPr>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29" name="Line 125">
              <a:extLst>
                <a:ext uri="{FF2B5EF4-FFF2-40B4-BE49-F238E27FC236}">
                  <a16:creationId xmlns="" xmlns:a16="http://schemas.microsoft.com/office/drawing/2014/main" id="{1A56BF05-9F5E-479B-92C7-7BFE03A27479}"/>
                </a:ext>
              </a:extLst>
            </p:cNvPr>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630" name="Freeform 126">
              <a:extLst>
                <a:ext uri="{FF2B5EF4-FFF2-40B4-BE49-F238E27FC236}">
                  <a16:creationId xmlns="" xmlns:a16="http://schemas.microsoft.com/office/drawing/2014/main" id="{D8436296-12E6-4F6B-9A56-87E9C03C587B}"/>
                </a:ext>
              </a:extLst>
            </p:cNvPr>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31" name="Freeform 127">
              <a:extLst>
                <a:ext uri="{FF2B5EF4-FFF2-40B4-BE49-F238E27FC236}">
                  <a16:creationId xmlns="" xmlns:a16="http://schemas.microsoft.com/office/drawing/2014/main" id="{39AA09A7-85FB-4D49-B583-8A1453780423}"/>
                </a:ext>
              </a:extLst>
            </p:cNvPr>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32" name="Line 128">
              <a:extLst>
                <a:ext uri="{FF2B5EF4-FFF2-40B4-BE49-F238E27FC236}">
                  <a16:creationId xmlns="" xmlns:a16="http://schemas.microsoft.com/office/drawing/2014/main" id="{C6BDCFBA-19B0-4DB1-925B-E764824C4A3C}"/>
                </a:ext>
              </a:extLst>
            </p:cNvPr>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633" name="Freeform 129">
              <a:extLst>
                <a:ext uri="{FF2B5EF4-FFF2-40B4-BE49-F238E27FC236}">
                  <a16:creationId xmlns="" xmlns:a16="http://schemas.microsoft.com/office/drawing/2014/main" id="{FF9E07DC-E181-4B8D-9B8A-D5631CF00E77}"/>
                </a:ext>
              </a:extLst>
            </p:cNvPr>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34" name="Freeform 130">
              <a:extLst>
                <a:ext uri="{FF2B5EF4-FFF2-40B4-BE49-F238E27FC236}">
                  <a16:creationId xmlns="" xmlns:a16="http://schemas.microsoft.com/office/drawing/2014/main" id="{EE84A48C-9B32-4467-B07E-BC6390A1AA24}"/>
                </a:ext>
              </a:extLst>
            </p:cNvPr>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35" name="Freeform 131">
              <a:extLst>
                <a:ext uri="{FF2B5EF4-FFF2-40B4-BE49-F238E27FC236}">
                  <a16:creationId xmlns="" xmlns:a16="http://schemas.microsoft.com/office/drawing/2014/main" id="{ADF8A528-147B-4285-908F-1496966E8A39}"/>
                </a:ext>
              </a:extLst>
            </p:cNvPr>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36" name="Freeform 132">
              <a:extLst>
                <a:ext uri="{FF2B5EF4-FFF2-40B4-BE49-F238E27FC236}">
                  <a16:creationId xmlns="" xmlns:a16="http://schemas.microsoft.com/office/drawing/2014/main" id="{BA54E313-871A-4CB8-9449-C61FE6E03535}"/>
                </a:ext>
              </a:extLst>
            </p:cNvPr>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37" name="Freeform 133">
              <a:extLst>
                <a:ext uri="{FF2B5EF4-FFF2-40B4-BE49-F238E27FC236}">
                  <a16:creationId xmlns="" xmlns:a16="http://schemas.microsoft.com/office/drawing/2014/main" id="{D2E878AC-01EC-443A-B3E3-8DF0857AFE46}"/>
                </a:ext>
              </a:extLst>
            </p:cNvPr>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38" name="Freeform 134">
              <a:extLst>
                <a:ext uri="{FF2B5EF4-FFF2-40B4-BE49-F238E27FC236}">
                  <a16:creationId xmlns="" xmlns:a16="http://schemas.microsoft.com/office/drawing/2014/main" id="{4F24DEE1-C7D1-494E-8FAE-23ED1AFF9951}"/>
                </a:ext>
              </a:extLst>
            </p:cNvPr>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39" name="Freeform 135">
              <a:extLst>
                <a:ext uri="{FF2B5EF4-FFF2-40B4-BE49-F238E27FC236}">
                  <a16:creationId xmlns="" xmlns:a16="http://schemas.microsoft.com/office/drawing/2014/main" id="{374403DF-E924-4067-8BB9-2B21156184B0}"/>
                </a:ext>
              </a:extLst>
            </p:cNvPr>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40" name="Rectangle 136">
              <a:extLst>
                <a:ext uri="{FF2B5EF4-FFF2-40B4-BE49-F238E27FC236}">
                  <a16:creationId xmlns="" xmlns:a16="http://schemas.microsoft.com/office/drawing/2014/main" id="{96489629-69E2-4A64-8D81-AE1064650A59}"/>
                </a:ext>
              </a:extLst>
            </p:cNvPr>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GB" dirty="0"/>
            </a:p>
          </p:txBody>
        </p:sp>
        <p:sp>
          <p:nvSpPr>
            <p:cNvPr id="641" name="Line 137">
              <a:extLst>
                <a:ext uri="{FF2B5EF4-FFF2-40B4-BE49-F238E27FC236}">
                  <a16:creationId xmlns="" xmlns:a16="http://schemas.microsoft.com/office/drawing/2014/main" id="{74B7B08F-06A8-428F-8681-195AC31760BB}"/>
                </a:ext>
              </a:extLst>
            </p:cNvPr>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642" name="Freeform 138">
              <a:extLst>
                <a:ext uri="{FF2B5EF4-FFF2-40B4-BE49-F238E27FC236}">
                  <a16:creationId xmlns="" xmlns:a16="http://schemas.microsoft.com/office/drawing/2014/main" id="{FC883287-DC55-4B3F-B517-4694B8B2F1E7}"/>
                </a:ext>
              </a:extLst>
            </p:cNvPr>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43" name="Freeform 139">
              <a:extLst>
                <a:ext uri="{FF2B5EF4-FFF2-40B4-BE49-F238E27FC236}">
                  <a16:creationId xmlns="" xmlns:a16="http://schemas.microsoft.com/office/drawing/2014/main" id="{32E4E045-BF05-4BF6-892B-2D17433B4A35}"/>
                </a:ext>
              </a:extLst>
            </p:cNvPr>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44" name="Line 140">
              <a:extLst>
                <a:ext uri="{FF2B5EF4-FFF2-40B4-BE49-F238E27FC236}">
                  <a16:creationId xmlns="" xmlns:a16="http://schemas.microsoft.com/office/drawing/2014/main" id="{0DE0F62F-C45E-48E1-8E83-FBF9E4D7540C}"/>
                </a:ext>
              </a:extLst>
            </p:cNvPr>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645" name="Freeform 141">
              <a:extLst>
                <a:ext uri="{FF2B5EF4-FFF2-40B4-BE49-F238E27FC236}">
                  <a16:creationId xmlns="" xmlns:a16="http://schemas.microsoft.com/office/drawing/2014/main" id="{3D33B646-319E-4B90-A3E5-D95917098C12}"/>
                </a:ext>
              </a:extLst>
            </p:cNvPr>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46" name="Freeform 142">
              <a:extLst>
                <a:ext uri="{FF2B5EF4-FFF2-40B4-BE49-F238E27FC236}">
                  <a16:creationId xmlns="" xmlns:a16="http://schemas.microsoft.com/office/drawing/2014/main" id="{F7280F0D-D9F2-47C1-8F99-A6AFB6291A63}"/>
                </a:ext>
              </a:extLst>
            </p:cNvPr>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47" name="Line 143">
              <a:extLst>
                <a:ext uri="{FF2B5EF4-FFF2-40B4-BE49-F238E27FC236}">
                  <a16:creationId xmlns="" xmlns:a16="http://schemas.microsoft.com/office/drawing/2014/main" id="{A67629FA-3983-40A8-9BFE-0FDCEF87375E}"/>
                </a:ext>
              </a:extLst>
            </p:cNvPr>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648" name="Freeform 144">
              <a:extLst>
                <a:ext uri="{FF2B5EF4-FFF2-40B4-BE49-F238E27FC236}">
                  <a16:creationId xmlns="" xmlns:a16="http://schemas.microsoft.com/office/drawing/2014/main" id="{76E47AD6-9784-4F64-B6F9-94409D5E5E0B}"/>
                </a:ext>
              </a:extLst>
            </p:cNvPr>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49" name="Freeform 145">
              <a:extLst>
                <a:ext uri="{FF2B5EF4-FFF2-40B4-BE49-F238E27FC236}">
                  <a16:creationId xmlns="" xmlns:a16="http://schemas.microsoft.com/office/drawing/2014/main" id="{DF21260C-20E8-44C3-AFCE-F62FD7820EE2}"/>
                </a:ext>
              </a:extLst>
            </p:cNvPr>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50" name="Freeform 146">
              <a:extLst>
                <a:ext uri="{FF2B5EF4-FFF2-40B4-BE49-F238E27FC236}">
                  <a16:creationId xmlns="" xmlns:a16="http://schemas.microsoft.com/office/drawing/2014/main" id="{52BE397C-568C-4E04-BEBD-AD2FF49FB81E}"/>
                </a:ext>
              </a:extLst>
            </p:cNvPr>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51" name="Freeform 147">
              <a:extLst>
                <a:ext uri="{FF2B5EF4-FFF2-40B4-BE49-F238E27FC236}">
                  <a16:creationId xmlns="" xmlns:a16="http://schemas.microsoft.com/office/drawing/2014/main" id="{239BF2D5-D624-4816-80A0-CAAA25A44C74}"/>
                </a:ext>
              </a:extLst>
            </p:cNvPr>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52" name="Freeform 148">
              <a:extLst>
                <a:ext uri="{FF2B5EF4-FFF2-40B4-BE49-F238E27FC236}">
                  <a16:creationId xmlns="" xmlns:a16="http://schemas.microsoft.com/office/drawing/2014/main" id="{A5664B88-761F-416B-A00C-85BD91D2D36C}"/>
                </a:ext>
              </a:extLst>
            </p:cNvPr>
            <p:cNvSpPr>
              <a:spLocks/>
            </p:cNvSpPr>
            <p:nvPr/>
          </p:nvSpPr>
          <p:spPr bwMode="auto">
            <a:xfrm>
              <a:off x="3950" y="2430"/>
              <a:ext cx="7" cy="6"/>
            </a:xfrm>
            <a:custGeom>
              <a:avLst/>
              <a:gdLst>
                <a:gd name="T0" fmla="*/ 13 w 20"/>
                <a:gd name="T1" fmla="*/ 18 h 18"/>
                <a:gd name="T2" fmla="*/ 20 w 20"/>
                <a:gd name="T3" fmla="*/ 0 h 18"/>
                <a:gd name="T4" fmla="*/ 0 w 20"/>
                <a:gd name="T5" fmla="*/ 0 h 18"/>
                <a:gd name="T6" fmla="*/ 13 w 20"/>
                <a:gd name="T7" fmla="*/ 18 h 18"/>
              </a:gdLst>
              <a:ahLst/>
              <a:cxnLst>
                <a:cxn ang="0">
                  <a:pos x="T0" y="T1"/>
                </a:cxn>
                <a:cxn ang="0">
                  <a:pos x="T2" y="T3"/>
                </a:cxn>
                <a:cxn ang="0">
                  <a:pos x="T4" y="T5"/>
                </a:cxn>
                <a:cxn ang="0">
                  <a:pos x="T6" y="T7"/>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endParaRPr lang="en-GB" dirty="0"/>
            </a:p>
          </p:txBody>
        </p:sp>
      </p:grpSp>
      <p:grpSp>
        <p:nvGrpSpPr>
          <p:cNvPr id="218" name="Group 149">
            <a:extLst>
              <a:ext uri="{FF2B5EF4-FFF2-40B4-BE49-F238E27FC236}">
                <a16:creationId xmlns="" xmlns:a16="http://schemas.microsoft.com/office/drawing/2014/main" id="{48449734-5225-4520-B717-995535FE7372}"/>
              </a:ext>
            </a:extLst>
          </p:cNvPr>
          <p:cNvGrpSpPr>
            <a:grpSpLocks/>
          </p:cNvGrpSpPr>
          <p:nvPr>
            <p:custDataLst>
              <p:tags r:id="rId88"/>
            </p:custDataLst>
          </p:nvPr>
        </p:nvGrpSpPr>
        <p:grpSpPr bwMode="auto">
          <a:xfrm>
            <a:off x="8758718" y="4617194"/>
            <a:ext cx="226261" cy="221532"/>
            <a:chOff x="5486" y="2743"/>
            <a:chExt cx="137" cy="132"/>
          </a:xfrm>
        </p:grpSpPr>
        <p:sp>
          <p:nvSpPr>
            <p:cNvPr id="613" name="Freeform 150">
              <a:extLst>
                <a:ext uri="{FF2B5EF4-FFF2-40B4-BE49-F238E27FC236}">
                  <a16:creationId xmlns="" xmlns:a16="http://schemas.microsoft.com/office/drawing/2014/main" id="{C4EFFEEE-DDD1-427C-ACC5-5C05B90B01B8}"/>
                </a:ext>
              </a:extLst>
            </p:cNvPr>
            <p:cNvSpPr>
              <a:spLocks/>
            </p:cNvSpPr>
            <p:nvPr/>
          </p:nvSpPr>
          <p:spPr bwMode="auto">
            <a:xfrm>
              <a:off x="5595" y="2806"/>
              <a:ext cx="13" cy="28"/>
            </a:xfrm>
            <a:custGeom>
              <a:avLst/>
              <a:gdLst>
                <a:gd name="T0" fmla="*/ 0 w 40"/>
                <a:gd name="T1" fmla="*/ 31 h 87"/>
                <a:gd name="T2" fmla="*/ 0 w 40"/>
                <a:gd name="T3" fmla="*/ 42 h 87"/>
                <a:gd name="T4" fmla="*/ 2 w 40"/>
                <a:gd name="T5" fmla="*/ 51 h 87"/>
                <a:gd name="T6" fmla="*/ 5 w 40"/>
                <a:gd name="T7" fmla="*/ 59 h 87"/>
                <a:gd name="T8" fmla="*/ 10 w 40"/>
                <a:gd name="T9" fmla="*/ 66 h 87"/>
                <a:gd name="T10" fmla="*/ 15 w 40"/>
                <a:gd name="T11" fmla="*/ 72 h 87"/>
                <a:gd name="T12" fmla="*/ 22 w 40"/>
                <a:gd name="T13" fmla="*/ 77 h 87"/>
                <a:gd name="T14" fmla="*/ 31 w 40"/>
                <a:gd name="T15" fmla="*/ 82 h 87"/>
                <a:gd name="T16" fmla="*/ 40 w 40"/>
                <a:gd name="T17" fmla="*/ 87 h 87"/>
                <a:gd name="T18" fmla="*/ 35 w 40"/>
                <a:gd name="T19" fmla="*/ 82 h 87"/>
                <a:gd name="T20" fmla="*/ 32 w 40"/>
                <a:gd name="T21" fmla="*/ 77 h 87"/>
                <a:gd name="T22" fmla="*/ 29 w 40"/>
                <a:gd name="T23" fmla="*/ 71 h 87"/>
                <a:gd name="T24" fmla="*/ 26 w 40"/>
                <a:gd name="T25" fmla="*/ 65 h 87"/>
                <a:gd name="T26" fmla="*/ 22 w 40"/>
                <a:gd name="T27" fmla="*/ 52 h 87"/>
                <a:gd name="T28" fmla="*/ 20 w 40"/>
                <a:gd name="T29" fmla="*/ 39 h 87"/>
                <a:gd name="T30" fmla="*/ 18 w 40"/>
                <a:gd name="T31" fmla="*/ 27 h 87"/>
                <a:gd name="T32" fmla="*/ 13 w 40"/>
                <a:gd name="T33" fmla="*/ 16 h 87"/>
                <a:gd name="T34" fmla="*/ 11 w 40"/>
                <a:gd name="T35" fmla="*/ 11 h 87"/>
                <a:gd name="T36" fmla="*/ 8 w 40"/>
                <a:gd name="T37" fmla="*/ 6 h 87"/>
                <a:gd name="T38" fmla="*/ 4 w 40"/>
                <a:gd name="T39" fmla="*/ 3 h 87"/>
                <a:gd name="T40" fmla="*/ 0 w 40"/>
                <a:gd name="T41" fmla="*/ 0 h 87"/>
                <a:gd name="T42" fmla="*/ 0 w 40"/>
                <a:gd name="T43" fmla="*/ 9 h 87"/>
                <a:gd name="T44" fmla="*/ 0 w 40"/>
                <a:gd name="T45" fmla="*/ 16 h 87"/>
                <a:gd name="T46" fmla="*/ 0 w 40"/>
                <a:gd name="T47" fmla="*/ 23 h 87"/>
                <a:gd name="T48" fmla="*/ 0 w 40"/>
                <a:gd name="T4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14" name="Freeform 151">
              <a:extLst>
                <a:ext uri="{FF2B5EF4-FFF2-40B4-BE49-F238E27FC236}">
                  <a16:creationId xmlns="" xmlns:a16="http://schemas.microsoft.com/office/drawing/2014/main" id="{3DC55B2D-802B-44C3-B501-AB3FDC5A4BA6}"/>
                </a:ext>
              </a:extLst>
            </p:cNvPr>
            <p:cNvSpPr>
              <a:spLocks/>
            </p:cNvSpPr>
            <p:nvPr/>
          </p:nvSpPr>
          <p:spPr bwMode="auto">
            <a:xfrm>
              <a:off x="5603" y="2842"/>
              <a:ext cx="20" cy="12"/>
            </a:xfrm>
            <a:custGeom>
              <a:avLst/>
              <a:gdLst>
                <a:gd name="T0" fmla="*/ 0 w 61"/>
                <a:gd name="T1" fmla="*/ 31 h 37"/>
                <a:gd name="T2" fmla="*/ 19 w 61"/>
                <a:gd name="T3" fmla="*/ 32 h 37"/>
                <a:gd name="T4" fmla="*/ 35 w 61"/>
                <a:gd name="T5" fmla="*/ 34 h 37"/>
                <a:gd name="T6" fmla="*/ 49 w 61"/>
                <a:gd name="T7" fmla="*/ 36 h 37"/>
                <a:gd name="T8" fmla="*/ 61 w 61"/>
                <a:gd name="T9" fmla="*/ 37 h 37"/>
                <a:gd name="T10" fmla="*/ 55 w 61"/>
                <a:gd name="T11" fmla="*/ 29 h 37"/>
                <a:gd name="T12" fmla="*/ 49 w 61"/>
                <a:gd name="T13" fmla="*/ 22 h 37"/>
                <a:gd name="T14" fmla="*/ 42 w 61"/>
                <a:gd name="T15" fmla="*/ 17 h 37"/>
                <a:gd name="T16" fmla="*/ 35 w 61"/>
                <a:gd name="T17" fmla="*/ 12 h 37"/>
                <a:gd name="T18" fmla="*/ 28 w 61"/>
                <a:gd name="T19" fmla="*/ 9 h 37"/>
                <a:gd name="T20" fmla="*/ 19 w 61"/>
                <a:gd name="T21" fmla="*/ 5 h 37"/>
                <a:gd name="T22" fmla="*/ 10 w 61"/>
                <a:gd name="T23" fmla="*/ 2 h 37"/>
                <a:gd name="T24" fmla="*/ 0 w 61"/>
                <a:gd name="T25" fmla="*/ 0 h 37"/>
                <a:gd name="T26" fmla="*/ 0 w 61"/>
                <a:gd name="T27"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15" name="Freeform 152">
              <a:extLst>
                <a:ext uri="{FF2B5EF4-FFF2-40B4-BE49-F238E27FC236}">
                  <a16:creationId xmlns="" xmlns:a16="http://schemas.microsoft.com/office/drawing/2014/main" id="{C36231FB-8E46-4204-A70F-BC8235F8CE91}"/>
                </a:ext>
              </a:extLst>
            </p:cNvPr>
            <p:cNvSpPr>
              <a:spLocks/>
            </p:cNvSpPr>
            <p:nvPr/>
          </p:nvSpPr>
          <p:spPr bwMode="auto">
            <a:xfrm>
              <a:off x="5568" y="2865"/>
              <a:ext cx="13" cy="10"/>
            </a:xfrm>
            <a:custGeom>
              <a:avLst/>
              <a:gdLst>
                <a:gd name="T0" fmla="*/ 40 w 40"/>
                <a:gd name="T1" fmla="*/ 30 h 30"/>
                <a:gd name="T2" fmla="*/ 33 w 40"/>
                <a:gd name="T3" fmla="*/ 28 h 30"/>
                <a:gd name="T4" fmla="*/ 26 w 40"/>
                <a:gd name="T5" fmla="*/ 25 h 30"/>
                <a:gd name="T6" fmla="*/ 21 w 40"/>
                <a:gd name="T7" fmla="*/ 22 h 30"/>
                <a:gd name="T8" fmla="*/ 15 w 40"/>
                <a:gd name="T9" fmla="*/ 19 h 30"/>
                <a:gd name="T10" fmla="*/ 11 w 40"/>
                <a:gd name="T11" fmla="*/ 16 h 30"/>
                <a:gd name="T12" fmla="*/ 6 w 40"/>
                <a:gd name="T13" fmla="*/ 11 h 30"/>
                <a:gd name="T14" fmla="*/ 3 w 40"/>
                <a:gd name="T15" fmla="*/ 6 h 30"/>
                <a:gd name="T16" fmla="*/ 0 w 40"/>
                <a:gd name="T17" fmla="*/ 0 h 30"/>
                <a:gd name="T18" fmla="*/ 8 w 40"/>
                <a:gd name="T19" fmla="*/ 2 h 30"/>
                <a:gd name="T20" fmla="*/ 15 w 40"/>
                <a:gd name="T21" fmla="*/ 6 h 30"/>
                <a:gd name="T22" fmla="*/ 22 w 40"/>
                <a:gd name="T23" fmla="*/ 10 h 30"/>
                <a:gd name="T24" fmla="*/ 27 w 40"/>
                <a:gd name="T25" fmla="*/ 15 h 30"/>
                <a:gd name="T26" fmla="*/ 33 w 40"/>
                <a:gd name="T27" fmla="*/ 19 h 30"/>
                <a:gd name="T28" fmla="*/ 36 w 40"/>
                <a:gd name="T29" fmla="*/ 23 h 30"/>
                <a:gd name="T30" fmla="*/ 39 w 40"/>
                <a:gd name="T31" fmla="*/ 27 h 30"/>
                <a:gd name="T32" fmla="*/ 40 w 40"/>
                <a:gd name="T3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16" name="Freeform 153">
              <a:extLst>
                <a:ext uri="{FF2B5EF4-FFF2-40B4-BE49-F238E27FC236}">
                  <a16:creationId xmlns="" xmlns:a16="http://schemas.microsoft.com/office/drawing/2014/main" id="{C7E4C675-5493-4D03-AAC1-C8CDCB833A32}"/>
                </a:ext>
              </a:extLst>
            </p:cNvPr>
            <p:cNvSpPr>
              <a:spLocks/>
            </p:cNvSpPr>
            <p:nvPr/>
          </p:nvSpPr>
          <p:spPr bwMode="auto">
            <a:xfrm>
              <a:off x="5515" y="2789"/>
              <a:ext cx="24" cy="26"/>
            </a:xfrm>
            <a:custGeom>
              <a:avLst/>
              <a:gdLst>
                <a:gd name="T0" fmla="*/ 74 w 74"/>
                <a:gd name="T1" fmla="*/ 80 h 80"/>
                <a:gd name="T2" fmla="*/ 72 w 74"/>
                <a:gd name="T3" fmla="*/ 73 h 80"/>
                <a:gd name="T4" fmla="*/ 71 w 74"/>
                <a:gd name="T5" fmla="*/ 66 h 80"/>
                <a:gd name="T6" fmla="*/ 69 w 74"/>
                <a:gd name="T7" fmla="*/ 60 h 80"/>
                <a:gd name="T8" fmla="*/ 66 w 74"/>
                <a:gd name="T9" fmla="*/ 53 h 80"/>
                <a:gd name="T10" fmla="*/ 58 w 74"/>
                <a:gd name="T11" fmla="*/ 42 h 80"/>
                <a:gd name="T12" fmla="*/ 48 w 74"/>
                <a:gd name="T13" fmla="*/ 33 h 80"/>
                <a:gd name="T14" fmla="*/ 38 w 74"/>
                <a:gd name="T15" fmla="*/ 25 h 80"/>
                <a:gd name="T16" fmla="*/ 29 w 74"/>
                <a:gd name="T17" fmla="*/ 17 h 80"/>
                <a:gd name="T18" fmla="*/ 20 w 74"/>
                <a:gd name="T19" fmla="*/ 9 h 80"/>
                <a:gd name="T20" fmla="*/ 13 w 74"/>
                <a:gd name="T21" fmla="*/ 0 h 80"/>
                <a:gd name="T22" fmla="*/ 9 w 74"/>
                <a:gd name="T23" fmla="*/ 5 h 80"/>
                <a:gd name="T24" fmla="*/ 4 w 74"/>
                <a:gd name="T25" fmla="*/ 10 h 80"/>
                <a:gd name="T26" fmla="*/ 1 w 74"/>
                <a:gd name="T27" fmla="*/ 14 h 80"/>
                <a:gd name="T28" fmla="*/ 0 w 74"/>
                <a:gd name="T29" fmla="*/ 19 h 80"/>
                <a:gd name="T30" fmla="*/ 0 w 74"/>
                <a:gd name="T31" fmla="*/ 25 h 80"/>
                <a:gd name="T32" fmla="*/ 2 w 74"/>
                <a:gd name="T33" fmla="*/ 30 h 80"/>
                <a:gd name="T34" fmla="*/ 4 w 74"/>
                <a:gd name="T35" fmla="*/ 36 h 80"/>
                <a:gd name="T36" fmla="*/ 7 w 74"/>
                <a:gd name="T37" fmla="*/ 41 h 80"/>
                <a:gd name="T38" fmla="*/ 10 w 74"/>
                <a:gd name="T39" fmla="*/ 46 h 80"/>
                <a:gd name="T40" fmla="*/ 14 w 74"/>
                <a:gd name="T41" fmla="*/ 51 h 80"/>
                <a:gd name="T42" fmla="*/ 19 w 74"/>
                <a:gd name="T43" fmla="*/ 56 h 80"/>
                <a:gd name="T44" fmla="*/ 24 w 74"/>
                <a:gd name="T45" fmla="*/ 61 h 80"/>
                <a:gd name="T46" fmla="*/ 30 w 74"/>
                <a:gd name="T47" fmla="*/ 66 h 80"/>
                <a:gd name="T48" fmla="*/ 35 w 74"/>
                <a:gd name="T49" fmla="*/ 69 h 80"/>
                <a:gd name="T50" fmla="*/ 42 w 74"/>
                <a:gd name="T51" fmla="*/ 72 h 80"/>
                <a:gd name="T52" fmla="*/ 47 w 74"/>
                <a:gd name="T53" fmla="*/ 75 h 80"/>
                <a:gd name="T54" fmla="*/ 54 w 74"/>
                <a:gd name="T55" fmla="*/ 77 h 80"/>
                <a:gd name="T56" fmla="*/ 60 w 74"/>
                <a:gd name="T57" fmla="*/ 79 h 80"/>
                <a:gd name="T58" fmla="*/ 67 w 74"/>
                <a:gd name="T59" fmla="*/ 80 h 80"/>
                <a:gd name="T60" fmla="*/ 74 w 74"/>
                <a:gd name="T6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17" name="Freeform 154">
              <a:extLst>
                <a:ext uri="{FF2B5EF4-FFF2-40B4-BE49-F238E27FC236}">
                  <a16:creationId xmlns="" xmlns:a16="http://schemas.microsoft.com/office/drawing/2014/main" id="{B79A87C4-3D30-49B6-AC44-E629E7C2EC5D}"/>
                </a:ext>
              </a:extLst>
            </p:cNvPr>
            <p:cNvSpPr>
              <a:spLocks/>
            </p:cNvSpPr>
            <p:nvPr/>
          </p:nvSpPr>
          <p:spPr bwMode="auto">
            <a:xfrm>
              <a:off x="5555" y="2785"/>
              <a:ext cx="26" cy="27"/>
            </a:xfrm>
            <a:custGeom>
              <a:avLst/>
              <a:gdLst>
                <a:gd name="T0" fmla="*/ 52 w 86"/>
                <a:gd name="T1" fmla="*/ 80 h 80"/>
                <a:gd name="T2" fmla="*/ 86 w 86"/>
                <a:gd name="T3" fmla="*/ 80 h 80"/>
                <a:gd name="T4" fmla="*/ 86 w 86"/>
                <a:gd name="T5" fmla="*/ 61 h 80"/>
                <a:gd name="T6" fmla="*/ 79 w 86"/>
                <a:gd name="T7" fmla="*/ 59 h 80"/>
                <a:gd name="T8" fmla="*/ 72 w 86"/>
                <a:gd name="T9" fmla="*/ 56 h 80"/>
                <a:gd name="T10" fmla="*/ 67 w 86"/>
                <a:gd name="T11" fmla="*/ 53 h 80"/>
                <a:gd name="T12" fmla="*/ 61 w 86"/>
                <a:gd name="T13" fmla="*/ 49 h 80"/>
                <a:gd name="T14" fmla="*/ 51 w 86"/>
                <a:gd name="T15" fmla="*/ 41 h 80"/>
                <a:gd name="T16" fmla="*/ 43 w 86"/>
                <a:gd name="T17" fmla="*/ 33 h 80"/>
                <a:gd name="T18" fmla="*/ 34 w 86"/>
                <a:gd name="T19" fmla="*/ 25 h 80"/>
                <a:gd name="T20" fmla="*/ 24 w 86"/>
                <a:gd name="T21" fmla="*/ 16 h 80"/>
                <a:gd name="T22" fmla="*/ 13 w 86"/>
                <a:gd name="T23" fmla="*/ 7 h 80"/>
                <a:gd name="T24" fmla="*/ 0 w 86"/>
                <a:gd name="T25" fmla="*/ 0 h 80"/>
                <a:gd name="T26" fmla="*/ 1 w 86"/>
                <a:gd name="T27" fmla="*/ 8 h 80"/>
                <a:gd name="T28" fmla="*/ 5 w 86"/>
                <a:gd name="T29" fmla="*/ 20 h 80"/>
                <a:gd name="T30" fmla="*/ 11 w 86"/>
                <a:gd name="T31" fmla="*/ 32 h 80"/>
                <a:gd name="T32" fmla="*/ 18 w 86"/>
                <a:gd name="T33" fmla="*/ 44 h 80"/>
                <a:gd name="T34" fmla="*/ 27 w 86"/>
                <a:gd name="T35" fmla="*/ 57 h 80"/>
                <a:gd name="T36" fmla="*/ 36 w 86"/>
                <a:gd name="T37" fmla="*/ 67 h 80"/>
                <a:gd name="T38" fmla="*/ 40 w 86"/>
                <a:gd name="T39" fmla="*/ 72 h 80"/>
                <a:gd name="T40" fmla="*/ 45 w 86"/>
                <a:gd name="T41" fmla="*/ 76 h 80"/>
                <a:gd name="T42" fmla="*/ 49 w 86"/>
                <a:gd name="T43" fmla="*/ 79 h 80"/>
                <a:gd name="T44" fmla="*/ 52 w 86"/>
                <a:gd name="T4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18" name="Freeform 155">
              <a:extLst>
                <a:ext uri="{FF2B5EF4-FFF2-40B4-BE49-F238E27FC236}">
                  <a16:creationId xmlns="" xmlns:a16="http://schemas.microsoft.com/office/drawing/2014/main" id="{4C9FCBB6-5AF1-4822-8D96-D77F0B28400A}"/>
                </a:ext>
              </a:extLst>
            </p:cNvPr>
            <p:cNvSpPr>
              <a:spLocks/>
            </p:cNvSpPr>
            <p:nvPr/>
          </p:nvSpPr>
          <p:spPr bwMode="auto">
            <a:xfrm>
              <a:off x="5570" y="2825"/>
              <a:ext cx="25" cy="11"/>
            </a:xfrm>
            <a:custGeom>
              <a:avLst/>
              <a:gdLst>
                <a:gd name="T0" fmla="*/ 0 w 74"/>
                <a:gd name="T1" fmla="*/ 7 h 31"/>
                <a:gd name="T2" fmla="*/ 3 w 74"/>
                <a:gd name="T3" fmla="*/ 11 h 31"/>
                <a:gd name="T4" fmla="*/ 5 w 74"/>
                <a:gd name="T5" fmla="*/ 15 h 31"/>
                <a:gd name="T6" fmla="*/ 9 w 74"/>
                <a:gd name="T7" fmla="*/ 18 h 31"/>
                <a:gd name="T8" fmla="*/ 14 w 74"/>
                <a:gd name="T9" fmla="*/ 21 h 31"/>
                <a:gd name="T10" fmla="*/ 18 w 74"/>
                <a:gd name="T11" fmla="*/ 24 h 31"/>
                <a:gd name="T12" fmla="*/ 23 w 74"/>
                <a:gd name="T13" fmla="*/ 26 h 31"/>
                <a:gd name="T14" fmla="*/ 29 w 74"/>
                <a:gd name="T15" fmla="*/ 28 h 31"/>
                <a:gd name="T16" fmla="*/ 34 w 74"/>
                <a:gd name="T17" fmla="*/ 29 h 31"/>
                <a:gd name="T18" fmla="*/ 47 w 74"/>
                <a:gd name="T19" fmla="*/ 31 h 31"/>
                <a:gd name="T20" fmla="*/ 58 w 74"/>
                <a:gd name="T21" fmla="*/ 31 h 31"/>
                <a:gd name="T22" fmla="*/ 63 w 74"/>
                <a:gd name="T23" fmla="*/ 30 h 31"/>
                <a:gd name="T24" fmla="*/ 67 w 74"/>
                <a:gd name="T25" fmla="*/ 29 h 31"/>
                <a:gd name="T26" fmla="*/ 71 w 74"/>
                <a:gd name="T27" fmla="*/ 27 h 31"/>
                <a:gd name="T28" fmla="*/ 74 w 74"/>
                <a:gd name="T29" fmla="*/ 25 h 31"/>
                <a:gd name="T30" fmla="*/ 64 w 74"/>
                <a:gd name="T31" fmla="*/ 18 h 31"/>
                <a:gd name="T32" fmla="*/ 55 w 74"/>
                <a:gd name="T33" fmla="*/ 13 h 31"/>
                <a:gd name="T34" fmla="*/ 51 w 74"/>
                <a:gd name="T35" fmla="*/ 10 h 31"/>
                <a:gd name="T36" fmla="*/ 47 w 74"/>
                <a:gd name="T37" fmla="*/ 8 h 31"/>
                <a:gd name="T38" fmla="*/ 43 w 74"/>
                <a:gd name="T39" fmla="*/ 5 h 31"/>
                <a:gd name="T40" fmla="*/ 41 w 74"/>
                <a:gd name="T41" fmla="*/ 0 h 31"/>
                <a:gd name="T42" fmla="*/ 33 w 74"/>
                <a:gd name="T43" fmla="*/ 1 h 31"/>
                <a:gd name="T44" fmla="*/ 28 w 74"/>
                <a:gd name="T45" fmla="*/ 1 h 31"/>
                <a:gd name="T46" fmla="*/ 22 w 74"/>
                <a:gd name="T47" fmla="*/ 1 h 31"/>
                <a:gd name="T48" fmla="*/ 18 w 74"/>
                <a:gd name="T49" fmla="*/ 0 h 31"/>
                <a:gd name="T50" fmla="*/ 14 w 74"/>
                <a:gd name="T51" fmla="*/ 0 h 31"/>
                <a:gd name="T52" fmla="*/ 10 w 74"/>
                <a:gd name="T53" fmla="*/ 0 h 31"/>
                <a:gd name="T54" fmla="*/ 6 w 74"/>
                <a:gd name="T55" fmla="*/ 3 h 31"/>
                <a:gd name="T56" fmla="*/ 0 w 74"/>
                <a:gd name="T57"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19" name="Freeform 156">
              <a:extLst>
                <a:ext uri="{FF2B5EF4-FFF2-40B4-BE49-F238E27FC236}">
                  <a16:creationId xmlns="" xmlns:a16="http://schemas.microsoft.com/office/drawing/2014/main" id="{44D3C405-C6CE-4D21-B507-30E3E92C1C6E}"/>
                </a:ext>
              </a:extLst>
            </p:cNvPr>
            <p:cNvSpPr>
              <a:spLocks/>
            </p:cNvSpPr>
            <p:nvPr/>
          </p:nvSpPr>
          <p:spPr bwMode="auto">
            <a:xfrm>
              <a:off x="5562" y="2819"/>
              <a:ext cx="6" cy="1"/>
            </a:xfrm>
            <a:custGeom>
              <a:avLst/>
              <a:gdLst>
                <a:gd name="T0" fmla="*/ 20 w 20"/>
                <a:gd name="T1" fmla="*/ 0 w 20"/>
                <a:gd name="T2" fmla="*/ 10 w 20"/>
                <a:gd name="T3" fmla="*/ 20 w 20"/>
              </a:gdLst>
              <a:ahLst/>
              <a:cxnLst>
                <a:cxn ang="0">
                  <a:pos x="T0" y="0"/>
                </a:cxn>
                <a:cxn ang="0">
                  <a:pos x="T1" y="0"/>
                </a:cxn>
                <a:cxn ang="0">
                  <a:pos x="T2" y="0"/>
                </a:cxn>
                <a:cxn ang="0">
                  <a:pos x="T3" y="0"/>
                </a:cxn>
              </a:cxnLst>
              <a:rect l="0" t="0" r="r" b="b"/>
              <a:pathLst>
                <a:path w="20">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20" name="Freeform 157">
              <a:extLst>
                <a:ext uri="{FF2B5EF4-FFF2-40B4-BE49-F238E27FC236}">
                  <a16:creationId xmlns="" xmlns:a16="http://schemas.microsoft.com/office/drawing/2014/main" id="{F570C54E-6625-4D7C-A205-5BF8ABA6F88B}"/>
                </a:ext>
              </a:extLst>
            </p:cNvPr>
            <p:cNvSpPr>
              <a:spLocks/>
            </p:cNvSpPr>
            <p:nvPr/>
          </p:nvSpPr>
          <p:spPr bwMode="auto">
            <a:xfrm>
              <a:off x="5509" y="2769"/>
              <a:ext cx="32" cy="21"/>
            </a:xfrm>
            <a:custGeom>
              <a:avLst/>
              <a:gdLst>
                <a:gd name="T0" fmla="*/ 7 w 100"/>
                <a:gd name="T1" fmla="*/ 25 h 65"/>
                <a:gd name="T2" fmla="*/ 35 w 100"/>
                <a:gd name="T3" fmla="*/ 40 h 65"/>
                <a:gd name="T4" fmla="*/ 61 w 100"/>
                <a:gd name="T5" fmla="*/ 55 h 65"/>
                <a:gd name="T6" fmla="*/ 72 w 100"/>
                <a:gd name="T7" fmla="*/ 60 h 65"/>
                <a:gd name="T8" fmla="*/ 83 w 100"/>
                <a:gd name="T9" fmla="*/ 65 h 65"/>
                <a:gd name="T10" fmla="*/ 87 w 100"/>
                <a:gd name="T11" fmla="*/ 65 h 65"/>
                <a:gd name="T12" fmla="*/ 91 w 100"/>
                <a:gd name="T13" fmla="*/ 65 h 65"/>
                <a:gd name="T14" fmla="*/ 96 w 100"/>
                <a:gd name="T15" fmla="*/ 65 h 65"/>
                <a:gd name="T16" fmla="*/ 100 w 100"/>
                <a:gd name="T17" fmla="*/ 62 h 65"/>
                <a:gd name="T18" fmla="*/ 94 w 100"/>
                <a:gd name="T19" fmla="*/ 60 h 65"/>
                <a:gd name="T20" fmla="*/ 88 w 100"/>
                <a:gd name="T21" fmla="*/ 56 h 65"/>
                <a:gd name="T22" fmla="*/ 83 w 100"/>
                <a:gd name="T23" fmla="*/ 52 h 65"/>
                <a:gd name="T24" fmla="*/ 78 w 100"/>
                <a:gd name="T25" fmla="*/ 46 h 65"/>
                <a:gd name="T26" fmla="*/ 67 w 100"/>
                <a:gd name="T27" fmla="*/ 34 h 65"/>
                <a:gd name="T28" fmla="*/ 57 w 100"/>
                <a:gd name="T29" fmla="*/ 21 h 65"/>
                <a:gd name="T30" fmla="*/ 52 w 100"/>
                <a:gd name="T31" fmla="*/ 15 h 65"/>
                <a:gd name="T32" fmla="*/ 46 w 100"/>
                <a:gd name="T33" fmla="*/ 10 h 65"/>
                <a:gd name="T34" fmla="*/ 40 w 100"/>
                <a:gd name="T35" fmla="*/ 4 h 65"/>
                <a:gd name="T36" fmla="*/ 33 w 100"/>
                <a:gd name="T37" fmla="*/ 1 h 65"/>
                <a:gd name="T38" fmla="*/ 27 w 100"/>
                <a:gd name="T39" fmla="*/ 0 h 65"/>
                <a:gd name="T40" fmla="*/ 18 w 100"/>
                <a:gd name="T41" fmla="*/ 0 h 65"/>
                <a:gd name="T42" fmla="*/ 10 w 100"/>
                <a:gd name="T43" fmla="*/ 2 h 65"/>
                <a:gd name="T44" fmla="*/ 0 w 100"/>
                <a:gd name="T45" fmla="*/ 6 h 65"/>
                <a:gd name="T46" fmla="*/ 7 w 100"/>
                <a:gd name="T47" fmla="*/ 2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21" name="Freeform 158">
              <a:extLst>
                <a:ext uri="{FF2B5EF4-FFF2-40B4-BE49-F238E27FC236}">
                  <a16:creationId xmlns="" xmlns:a16="http://schemas.microsoft.com/office/drawing/2014/main" id="{7D73B472-9F8D-421C-8E8E-3367FCF16FC3}"/>
                </a:ext>
              </a:extLst>
            </p:cNvPr>
            <p:cNvSpPr>
              <a:spLocks/>
            </p:cNvSpPr>
            <p:nvPr/>
          </p:nvSpPr>
          <p:spPr bwMode="auto">
            <a:xfrm>
              <a:off x="5486" y="2743"/>
              <a:ext cx="24" cy="34"/>
            </a:xfrm>
            <a:custGeom>
              <a:avLst/>
              <a:gdLst>
                <a:gd name="T0" fmla="*/ 72 w 79"/>
                <a:gd name="T1" fmla="*/ 85 h 104"/>
                <a:gd name="T2" fmla="*/ 56 w 79"/>
                <a:gd name="T3" fmla="*/ 61 h 104"/>
                <a:gd name="T4" fmla="*/ 43 w 79"/>
                <a:gd name="T5" fmla="*/ 41 h 104"/>
                <a:gd name="T6" fmla="*/ 29 w 79"/>
                <a:gd name="T7" fmla="*/ 20 h 104"/>
                <a:gd name="T8" fmla="*/ 12 w 79"/>
                <a:gd name="T9" fmla="*/ 0 h 104"/>
                <a:gd name="T10" fmla="*/ 6 w 79"/>
                <a:gd name="T11" fmla="*/ 16 h 104"/>
                <a:gd name="T12" fmla="*/ 2 w 79"/>
                <a:gd name="T13" fmla="*/ 33 h 104"/>
                <a:gd name="T14" fmla="*/ 0 w 79"/>
                <a:gd name="T15" fmla="*/ 40 h 104"/>
                <a:gd name="T16" fmla="*/ 0 w 79"/>
                <a:gd name="T17" fmla="*/ 48 h 104"/>
                <a:gd name="T18" fmla="*/ 0 w 79"/>
                <a:gd name="T19" fmla="*/ 55 h 104"/>
                <a:gd name="T20" fmla="*/ 0 w 79"/>
                <a:gd name="T21" fmla="*/ 62 h 104"/>
                <a:gd name="T22" fmla="*/ 1 w 79"/>
                <a:gd name="T23" fmla="*/ 68 h 104"/>
                <a:gd name="T24" fmla="*/ 3 w 79"/>
                <a:gd name="T25" fmla="*/ 74 h 104"/>
                <a:gd name="T26" fmla="*/ 6 w 79"/>
                <a:gd name="T27" fmla="*/ 79 h 104"/>
                <a:gd name="T28" fmla="*/ 10 w 79"/>
                <a:gd name="T29" fmla="*/ 83 h 104"/>
                <a:gd name="T30" fmla="*/ 14 w 79"/>
                <a:gd name="T31" fmla="*/ 88 h 104"/>
                <a:gd name="T32" fmla="*/ 20 w 79"/>
                <a:gd name="T33" fmla="*/ 90 h 104"/>
                <a:gd name="T34" fmla="*/ 25 w 79"/>
                <a:gd name="T35" fmla="*/ 92 h 104"/>
                <a:gd name="T36" fmla="*/ 33 w 79"/>
                <a:gd name="T37" fmla="*/ 92 h 104"/>
                <a:gd name="T38" fmla="*/ 43 w 79"/>
                <a:gd name="T39" fmla="*/ 93 h 104"/>
                <a:gd name="T40" fmla="*/ 54 w 79"/>
                <a:gd name="T41" fmla="*/ 96 h 104"/>
                <a:gd name="T42" fmla="*/ 65 w 79"/>
                <a:gd name="T43" fmla="*/ 100 h 104"/>
                <a:gd name="T44" fmla="*/ 79 w 79"/>
                <a:gd name="T45" fmla="*/ 104 h 104"/>
                <a:gd name="T46" fmla="*/ 72 w 79"/>
                <a:gd name="T47" fmla="*/ 8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endParaRPr lang="en-GB" dirty="0"/>
            </a:p>
          </p:txBody>
        </p:sp>
      </p:grpSp>
      <p:sp>
        <p:nvSpPr>
          <p:cNvPr id="219" name="Freeform 159">
            <a:extLst>
              <a:ext uri="{FF2B5EF4-FFF2-40B4-BE49-F238E27FC236}">
                <a16:creationId xmlns="" xmlns:a16="http://schemas.microsoft.com/office/drawing/2014/main" id="{8872E26B-0726-4247-A776-D8B836A5C84D}"/>
              </a:ext>
            </a:extLst>
          </p:cNvPr>
          <p:cNvSpPr>
            <a:spLocks/>
          </p:cNvSpPr>
          <p:nvPr>
            <p:custDataLst>
              <p:tags r:id="rId89"/>
            </p:custDataLst>
          </p:nvPr>
        </p:nvSpPr>
        <p:spPr bwMode="auto">
          <a:xfrm>
            <a:off x="4306989" y="4346434"/>
            <a:ext cx="13538" cy="57434"/>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20" name="Freeform 160">
            <a:extLst>
              <a:ext uri="{FF2B5EF4-FFF2-40B4-BE49-F238E27FC236}">
                <a16:creationId xmlns="" xmlns:a16="http://schemas.microsoft.com/office/drawing/2014/main" id="{DC5735CF-6DF1-4387-A2BC-5F3921567DC1}"/>
              </a:ext>
            </a:extLst>
          </p:cNvPr>
          <p:cNvSpPr>
            <a:spLocks/>
          </p:cNvSpPr>
          <p:nvPr>
            <p:custDataLst>
              <p:tags r:id="rId90"/>
            </p:custDataLst>
          </p:nvPr>
        </p:nvSpPr>
        <p:spPr bwMode="auto">
          <a:xfrm>
            <a:off x="4214165" y="4490840"/>
            <a:ext cx="17405" cy="59076"/>
          </a:xfrm>
          <a:custGeom>
            <a:avLst/>
            <a:gdLst>
              <a:gd name="T0" fmla="*/ 0 w 39"/>
              <a:gd name="T1" fmla="*/ 0 h 35"/>
              <a:gd name="T2" fmla="*/ 39 w 39"/>
              <a:gd name="T3" fmla="*/ 0 h 35"/>
              <a:gd name="T4" fmla="*/ 36 w 39"/>
              <a:gd name="T5" fmla="*/ 9 h 35"/>
              <a:gd name="T6" fmla="*/ 33 w 39"/>
              <a:gd name="T7" fmla="*/ 19 h 35"/>
              <a:gd name="T8" fmla="*/ 27 w 39"/>
              <a:gd name="T9" fmla="*/ 28 h 35"/>
              <a:gd name="T10" fmla="*/ 22 w 39"/>
              <a:gd name="T11" fmla="*/ 34 h 35"/>
              <a:gd name="T12" fmla="*/ 19 w 39"/>
              <a:gd name="T13" fmla="*/ 35 h 35"/>
              <a:gd name="T14" fmla="*/ 16 w 39"/>
              <a:gd name="T15" fmla="*/ 35 h 35"/>
              <a:gd name="T16" fmla="*/ 13 w 39"/>
              <a:gd name="T17" fmla="*/ 34 h 35"/>
              <a:gd name="T18" fmla="*/ 11 w 39"/>
              <a:gd name="T19" fmla="*/ 31 h 35"/>
              <a:gd name="T20" fmla="*/ 7 w 39"/>
              <a:gd name="T21" fmla="*/ 26 h 35"/>
              <a:gd name="T22" fmla="*/ 5 w 39"/>
              <a:gd name="T23" fmla="*/ 20 h 35"/>
              <a:gd name="T24" fmla="*/ 2 w 39"/>
              <a:gd name="T25" fmla="*/ 11 h 35"/>
              <a:gd name="T26" fmla="*/ 0 w 39"/>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21" name="Freeform 161">
            <a:extLst>
              <a:ext uri="{FF2B5EF4-FFF2-40B4-BE49-F238E27FC236}">
                <a16:creationId xmlns="" xmlns:a16="http://schemas.microsoft.com/office/drawing/2014/main" id="{3A175163-51E5-49B0-88C5-C97BCC3A4F6A}"/>
              </a:ext>
            </a:extLst>
          </p:cNvPr>
          <p:cNvSpPr>
            <a:spLocks/>
          </p:cNvSpPr>
          <p:nvPr>
            <p:custDataLst>
              <p:tags r:id="rId91"/>
            </p:custDataLst>
          </p:nvPr>
        </p:nvSpPr>
        <p:spPr bwMode="auto">
          <a:xfrm>
            <a:off x="6405220" y="2761252"/>
            <a:ext cx="887637" cy="342963"/>
          </a:xfrm>
          <a:custGeom>
            <a:avLst/>
            <a:gdLst>
              <a:gd name="T0" fmla="*/ 32 w 1688"/>
              <a:gd name="T1" fmla="*/ 216 h 630"/>
              <a:gd name="T2" fmla="*/ 86 w 1688"/>
              <a:gd name="T3" fmla="*/ 249 h 630"/>
              <a:gd name="T4" fmla="*/ 155 w 1688"/>
              <a:gd name="T5" fmla="*/ 264 h 630"/>
              <a:gd name="T6" fmla="*/ 191 w 1688"/>
              <a:gd name="T7" fmla="*/ 281 h 630"/>
              <a:gd name="T8" fmla="*/ 238 w 1688"/>
              <a:gd name="T9" fmla="*/ 331 h 630"/>
              <a:gd name="T10" fmla="*/ 253 w 1688"/>
              <a:gd name="T11" fmla="*/ 349 h 630"/>
              <a:gd name="T12" fmla="*/ 254 w 1688"/>
              <a:gd name="T13" fmla="*/ 386 h 630"/>
              <a:gd name="T14" fmla="*/ 273 w 1688"/>
              <a:gd name="T15" fmla="*/ 408 h 630"/>
              <a:gd name="T16" fmla="*/ 341 w 1688"/>
              <a:gd name="T17" fmla="*/ 416 h 630"/>
              <a:gd name="T18" fmla="*/ 463 w 1688"/>
              <a:gd name="T19" fmla="*/ 452 h 630"/>
              <a:gd name="T20" fmla="*/ 546 w 1688"/>
              <a:gd name="T21" fmla="*/ 469 h 630"/>
              <a:gd name="T22" fmla="*/ 575 w 1688"/>
              <a:gd name="T23" fmla="*/ 510 h 630"/>
              <a:gd name="T24" fmla="*/ 622 w 1688"/>
              <a:gd name="T25" fmla="*/ 542 h 630"/>
              <a:gd name="T26" fmla="*/ 670 w 1688"/>
              <a:gd name="T27" fmla="*/ 555 h 630"/>
              <a:gd name="T28" fmla="*/ 917 w 1688"/>
              <a:gd name="T29" fmla="*/ 576 h 630"/>
              <a:gd name="T30" fmla="*/ 1037 w 1688"/>
              <a:gd name="T31" fmla="*/ 614 h 630"/>
              <a:gd name="T32" fmla="*/ 1117 w 1688"/>
              <a:gd name="T33" fmla="*/ 630 h 630"/>
              <a:gd name="T34" fmla="*/ 1157 w 1688"/>
              <a:gd name="T35" fmla="*/ 613 h 630"/>
              <a:gd name="T36" fmla="*/ 1344 w 1688"/>
              <a:gd name="T37" fmla="*/ 564 h 630"/>
              <a:gd name="T38" fmla="*/ 1395 w 1688"/>
              <a:gd name="T39" fmla="*/ 510 h 630"/>
              <a:gd name="T40" fmla="*/ 1403 w 1688"/>
              <a:gd name="T41" fmla="*/ 483 h 630"/>
              <a:gd name="T42" fmla="*/ 1386 w 1688"/>
              <a:gd name="T43" fmla="*/ 455 h 630"/>
              <a:gd name="T44" fmla="*/ 1370 w 1688"/>
              <a:gd name="T45" fmla="*/ 415 h 630"/>
              <a:gd name="T46" fmla="*/ 1499 w 1688"/>
              <a:gd name="T47" fmla="*/ 394 h 630"/>
              <a:gd name="T48" fmla="*/ 1594 w 1688"/>
              <a:gd name="T49" fmla="*/ 343 h 630"/>
              <a:gd name="T50" fmla="*/ 1651 w 1688"/>
              <a:gd name="T51" fmla="*/ 325 h 630"/>
              <a:gd name="T52" fmla="*/ 1688 w 1688"/>
              <a:gd name="T53" fmla="*/ 297 h 630"/>
              <a:gd name="T54" fmla="*/ 1656 w 1688"/>
              <a:gd name="T55" fmla="*/ 279 h 630"/>
              <a:gd name="T56" fmla="*/ 1619 w 1688"/>
              <a:gd name="T57" fmla="*/ 252 h 630"/>
              <a:gd name="T58" fmla="*/ 1583 w 1688"/>
              <a:gd name="T59" fmla="*/ 248 h 630"/>
              <a:gd name="T60" fmla="*/ 1553 w 1688"/>
              <a:gd name="T61" fmla="*/ 258 h 630"/>
              <a:gd name="T62" fmla="*/ 1497 w 1688"/>
              <a:gd name="T63" fmla="*/ 256 h 630"/>
              <a:gd name="T64" fmla="*/ 1457 w 1688"/>
              <a:gd name="T65" fmla="*/ 235 h 630"/>
              <a:gd name="T66" fmla="*/ 1434 w 1688"/>
              <a:gd name="T67" fmla="*/ 187 h 630"/>
              <a:gd name="T68" fmla="*/ 1367 w 1688"/>
              <a:gd name="T69" fmla="*/ 124 h 630"/>
              <a:gd name="T70" fmla="*/ 1286 w 1688"/>
              <a:gd name="T71" fmla="*/ 120 h 630"/>
              <a:gd name="T72" fmla="*/ 1260 w 1688"/>
              <a:gd name="T73" fmla="*/ 147 h 630"/>
              <a:gd name="T74" fmla="*/ 1236 w 1688"/>
              <a:gd name="T75" fmla="*/ 165 h 630"/>
              <a:gd name="T76" fmla="*/ 1168 w 1688"/>
              <a:gd name="T77" fmla="*/ 167 h 630"/>
              <a:gd name="T78" fmla="*/ 1044 w 1688"/>
              <a:gd name="T79" fmla="*/ 167 h 630"/>
              <a:gd name="T80" fmla="*/ 986 w 1688"/>
              <a:gd name="T81" fmla="*/ 140 h 630"/>
              <a:gd name="T82" fmla="*/ 922 w 1688"/>
              <a:gd name="T83" fmla="*/ 108 h 630"/>
              <a:gd name="T84" fmla="*/ 852 w 1688"/>
              <a:gd name="T85" fmla="*/ 100 h 630"/>
              <a:gd name="T86" fmla="*/ 801 w 1688"/>
              <a:gd name="T87" fmla="*/ 114 h 630"/>
              <a:gd name="T88" fmla="*/ 740 w 1688"/>
              <a:gd name="T89" fmla="*/ 116 h 630"/>
              <a:gd name="T90" fmla="*/ 692 w 1688"/>
              <a:gd name="T91" fmla="*/ 101 h 630"/>
              <a:gd name="T92" fmla="*/ 662 w 1688"/>
              <a:gd name="T93" fmla="*/ 68 h 630"/>
              <a:gd name="T94" fmla="*/ 446 w 1688"/>
              <a:gd name="T95" fmla="*/ 7 h 630"/>
              <a:gd name="T96" fmla="*/ 446 w 1688"/>
              <a:gd name="T97" fmla="*/ 44 h 630"/>
              <a:gd name="T98" fmla="*/ 471 w 1688"/>
              <a:gd name="T99" fmla="*/ 79 h 630"/>
              <a:gd name="T100" fmla="*/ 490 w 1688"/>
              <a:gd name="T101" fmla="*/ 106 h 630"/>
              <a:gd name="T102" fmla="*/ 307 w 1688"/>
              <a:gd name="T103" fmla="*/ 122 h 630"/>
              <a:gd name="T104" fmla="*/ 294 w 1688"/>
              <a:gd name="T105" fmla="*/ 87 h 630"/>
              <a:gd name="T106" fmla="*/ 225 w 1688"/>
              <a:gd name="T107" fmla="*/ 97 h 630"/>
              <a:gd name="T108" fmla="*/ 185 w 1688"/>
              <a:gd name="T109" fmla="*/ 88 h 630"/>
              <a:gd name="T110" fmla="*/ 138 w 1688"/>
              <a:gd name="T111" fmla="*/ 97 h 630"/>
              <a:gd name="T112" fmla="*/ 68 w 1688"/>
              <a:gd name="T113" fmla="*/ 143 h 630"/>
              <a:gd name="T114" fmla="*/ 31 w 1688"/>
              <a:gd name="T115" fmla="*/ 151 h 630"/>
              <a:gd name="T116" fmla="*/ 4 w 1688"/>
              <a:gd name="T117" fmla="*/ 169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22" name="Freeform 162">
            <a:extLst>
              <a:ext uri="{FF2B5EF4-FFF2-40B4-BE49-F238E27FC236}">
                <a16:creationId xmlns="" xmlns:a16="http://schemas.microsoft.com/office/drawing/2014/main" id="{53A10E9F-9028-4F57-AD91-78F41586EDD5}"/>
              </a:ext>
            </a:extLst>
          </p:cNvPr>
          <p:cNvSpPr>
            <a:spLocks/>
          </p:cNvSpPr>
          <p:nvPr>
            <p:custDataLst>
              <p:tags r:id="rId92"/>
            </p:custDataLst>
          </p:nvPr>
        </p:nvSpPr>
        <p:spPr bwMode="auto">
          <a:xfrm>
            <a:off x="1930285" y="4794420"/>
            <a:ext cx="400307" cy="429935"/>
          </a:xfrm>
          <a:custGeom>
            <a:avLst/>
            <a:gdLst>
              <a:gd name="T0" fmla="*/ 26 w 758"/>
              <a:gd name="T1" fmla="*/ 80 h 795"/>
              <a:gd name="T2" fmla="*/ 49 w 758"/>
              <a:gd name="T3" fmla="*/ 88 h 795"/>
              <a:gd name="T4" fmla="*/ 72 w 758"/>
              <a:gd name="T5" fmla="*/ 108 h 795"/>
              <a:gd name="T6" fmla="*/ 88 w 758"/>
              <a:gd name="T7" fmla="*/ 134 h 795"/>
              <a:gd name="T8" fmla="*/ 93 w 758"/>
              <a:gd name="T9" fmla="*/ 169 h 795"/>
              <a:gd name="T10" fmla="*/ 84 w 758"/>
              <a:gd name="T11" fmla="*/ 186 h 795"/>
              <a:gd name="T12" fmla="*/ 81 w 758"/>
              <a:gd name="T13" fmla="*/ 205 h 795"/>
              <a:gd name="T14" fmla="*/ 88 w 758"/>
              <a:gd name="T15" fmla="*/ 240 h 795"/>
              <a:gd name="T16" fmla="*/ 95 w 758"/>
              <a:gd name="T17" fmla="*/ 278 h 795"/>
              <a:gd name="T18" fmla="*/ 83 w 758"/>
              <a:gd name="T19" fmla="*/ 308 h 795"/>
              <a:gd name="T20" fmla="*/ 81 w 758"/>
              <a:gd name="T21" fmla="*/ 352 h 795"/>
              <a:gd name="T22" fmla="*/ 93 w 758"/>
              <a:gd name="T23" fmla="*/ 390 h 795"/>
              <a:gd name="T24" fmla="*/ 99 w 758"/>
              <a:gd name="T25" fmla="*/ 415 h 795"/>
              <a:gd name="T26" fmla="*/ 78 w 758"/>
              <a:gd name="T27" fmla="*/ 457 h 795"/>
              <a:gd name="T28" fmla="*/ 113 w 758"/>
              <a:gd name="T29" fmla="*/ 529 h 795"/>
              <a:gd name="T30" fmla="*/ 138 w 758"/>
              <a:gd name="T31" fmla="*/ 577 h 795"/>
              <a:gd name="T32" fmla="*/ 146 w 758"/>
              <a:gd name="T33" fmla="*/ 622 h 795"/>
              <a:gd name="T34" fmla="*/ 152 w 758"/>
              <a:gd name="T35" fmla="*/ 659 h 795"/>
              <a:gd name="T36" fmla="*/ 187 w 758"/>
              <a:gd name="T37" fmla="*/ 738 h 795"/>
              <a:gd name="T38" fmla="*/ 214 w 758"/>
              <a:gd name="T39" fmla="*/ 782 h 795"/>
              <a:gd name="T40" fmla="*/ 230 w 758"/>
              <a:gd name="T41" fmla="*/ 794 h 795"/>
              <a:gd name="T42" fmla="*/ 251 w 758"/>
              <a:gd name="T43" fmla="*/ 790 h 795"/>
              <a:gd name="T44" fmla="*/ 289 w 758"/>
              <a:gd name="T45" fmla="*/ 761 h 795"/>
              <a:gd name="T46" fmla="*/ 324 w 758"/>
              <a:gd name="T47" fmla="*/ 746 h 795"/>
              <a:gd name="T48" fmla="*/ 355 w 758"/>
              <a:gd name="T49" fmla="*/ 748 h 795"/>
              <a:gd name="T50" fmla="*/ 388 w 758"/>
              <a:gd name="T51" fmla="*/ 770 h 795"/>
              <a:gd name="T52" fmla="*/ 418 w 758"/>
              <a:gd name="T53" fmla="*/ 780 h 795"/>
              <a:gd name="T54" fmla="*/ 437 w 758"/>
              <a:gd name="T55" fmla="*/ 758 h 795"/>
              <a:gd name="T56" fmla="*/ 478 w 758"/>
              <a:gd name="T57" fmla="*/ 745 h 795"/>
              <a:gd name="T58" fmla="*/ 525 w 758"/>
              <a:gd name="T59" fmla="*/ 622 h 795"/>
              <a:gd name="T60" fmla="*/ 539 w 758"/>
              <a:gd name="T61" fmla="*/ 600 h 795"/>
              <a:gd name="T62" fmla="*/ 575 w 758"/>
              <a:gd name="T63" fmla="*/ 584 h 795"/>
              <a:gd name="T64" fmla="*/ 665 w 758"/>
              <a:gd name="T65" fmla="*/ 573 h 795"/>
              <a:gd name="T66" fmla="*/ 687 w 758"/>
              <a:gd name="T67" fmla="*/ 579 h 795"/>
              <a:gd name="T68" fmla="*/ 704 w 758"/>
              <a:gd name="T69" fmla="*/ 585 h 795"/>
              <a:gd name="T70" fmla="*/ 744 w 758"/>
              <a:gd name="T71" fmla="*/ 573 h 795"/>
              <a:gd name="T72" fmla="*/ 757 w 758"/>
              <a:gd name="T73" fmla="*/ 541 h 795"/>
              <a:gd name="T74" fmla="*/ 752 w 758"/>
              <a:gd name="T75" fmla="*/ 499 h 795"/>
              <a:gd name="T76" fmla="*/ 726 w 758"/>
              <a:gd name="T77" fmla="*/ 462 h 795"/>
              <a:gd name="T78" fmla="*/ 710 w 758"/>
              <a:gd name="T79" fmla="*/ 435 h 795"/>
              <a:gd name="T80" fmla="*/ 671 w 758"/>
              <a:gd name="T81" fmla="*/ 401 h 795"/>
              <a:gd name="T82" fmla="*/ 633 w 758"/>
              <a:gd name="T83" fmla="*/ 399 h 795"/>
              <a:gd name="T84" fmla="*/ 605 w 758"/>
              <a:gd name="T85" fmla="*/ 378 h 795"/>
              <a:gd name="T86" fmla="*/ 590 w 758"/>
              <a:gd name="T87" fmla="*/ 349 h 795"/>
              <a:gd name="T88" fmla="*/ 585 w 758"/>
              <a:gd name="T89" fmla="*/ 311 h 795"/>
              <a:gd name="T90" fmla="*/ 583 w 758"/>
              <a:gd name="T91" fmla="*/ 269 h 795"/>
              <a:gd name="T92" fmla="*/ 560 w 758"/>
              <a:gd name="T93" fmla="*/ 242 h 795"/>
              <a:gd name="T94" fmla="*/ 503 w 758"/>
              <a:gd name="T95" fmla="*/ 205 h 795"/>
              <a:gd name="T96" fmla="*/ 440 w 758"/>
              <a:gd name="T97" fmla="*/ 178 h 795"/>
              <a:gd name="T98" fmla="*/ 392 w 758"/>
              <a:gd name="T99" fmla="*/ 167 h 795"/>
              <a:gd name="T100" fmla="*/ 359 w 758"/>
              <a:gd name="T101" fmla="*/ 161 h 795"/>
              <a:gd name="T102" fmla="*/ 330 w 758"/>
              <a:gd name="T103" fmla="*/ 145 h 795"/>
              <a:gd name="T104" fmla="*/ 307 w 758"/>
              <a:gd name="T105" fmla="*/ 122 h 795"/>
              <a:gd name="T106" fmla="*/ 292 w 758"/>
              <a:gd name="T107" fmla="*/ 92 h 795"/>
              <a:gd name="T108" fmla="*/ 279 w 758"/>
              <a:gd name="T109" fmla="*/ 19 h 795"/>
              <a:gd name="T110" fmla="*/ 261 w 758"/>
              <a:gd name="T111" fmla="*/ 3 h 795"/>
              <a:gd name="T112" fmla="*/ 227 w 758"/>
              <a:gd name="T113" fmla="*/ 3 h 795"/>
              <a:gd name="T114" fmla="*/ 173 w 758"/>
              <a:gd name="T115" fmla="*/ 30 h 795"/>
              <a:gd name="T116" fmla="*/ 119 w 758"/>
              <a:gd name="T117" fmla="*/ 66 h 795"/>
              <a:gd name="T118" fmla="*/ 0 w 758"/>
              <a:gd name="T119" fmla="*/ 80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223" name="Freeform 163">
            <a:extLst>
              <a:ext uri="{FF2B5EF4-FFF2-40B4-BE49-F238E27FC236}">
                <a16:creationId xmlns="" xmlns:a16="http://schemas.microsoft.com/office/drawing/2014/main" id="{5CFAD78A-0B18-4496-9CA4-ADA35954EFCF}"/>
              </a:ext>
            </a:extLst>
          </p:cNvPr>
          <p:cNvSpPr>
            <a:spLocks/>
          </p:cNvSpPr>
          <p:nvPr>
            <p:custDataLst>
              <p:tags r:id="rId93"/>
            </p:custDataLst>
          </p:nvPr>
        </p:nvSpPr>
        <p:spPr bwMode="auto">
          <a:xfrm>
            <a:off x="2191354" y="4205311"/>
            <a:ext cx="145040" cy="223173"/>
          </a:xfrm>
          <a:custGeom>
            <a:avLst/>
            <a:gdLst>
              <a:gd name="T0" fmla="*/ 225 w 273"/>
              <a:gd name="T1" fmla="*/ 140 h 414"/>
              <a:gd name="T2" fmla="*/ 213 w 273"/>
              <a:gd name="T3" fmla="*/ 133 h 414"/>
              <a:gd name="T4" fmla="*/ 201 w 273"/>
              <a:gd name="T5" fmla="*/ 121 h 414"/>
              <a:gd name="T6" fmla="*/ 190 w 273"/>
              <a:gd name="T7" fmla="*/ 105 h 414"/>
              <a:gd name="T8" fmla="*/ 183 w 273"/>
              <a:gd name="T9" fmla="*/ 96 h 414"/>
              <a:gd name="T10" fmla="*/ 176 w 273"/>
              <a:gd name="T11" fmla="*/ 93 h 414"/>
              <a:gd name="T12" fmla="*/ 167 w 273"/>
              <a:gd name="T13" fmla="*/ 94 h 414"/>
              <a:gd name="T14" fmla="*/ 161 w 273"/>
              <a:gd name="T15" fmla="*/ 101 h 414"/>
              <a:gd name="T16" fmla="*/ 153 w 273"/>
              <a:gd name="T17" fmla="*/ 86 h 414"/>
              <a:gd name="T18" fmla="*/ 142 w 273"/>
              <a:gd name="T19" fmla="*/ 54 h 414"/>
              <a:gd name="T20" fmla="*/ 132 w 273"/>
              <a:gd name="T21" fmla="*/ 36 h 414"/>
              <a:gd name="T22" fmla="*/ 123 w 273"/>
              <a:gd name="T23" fmla="*/ 25 h 414"/>
              <a:gd name="T24" fmla="*/ 111 w 273"/>
              <a:gd name="T25" fmla="*/ 14 h 414"/>
              <a:gd name="T26" fmla="*/ 96 w 273"/>
              <a:gd name="T27" fmla="*/ 5 h 414"/>
              <a:gd name="T28" fmla="*/ 80 w 273"/>
              <a:gd name="T29" fmla="*/ 7 h 414"/>
              <a:gd name="T30" fmla="*/ 69 w 273"/>
              <a:gd name="T31" fmla="*/ 19 h 414"/>
              <a:gd name="T32" fmla="*/ 63 w 273"/>
              <a:gd name="T33" fmla="*/ 25 h 414"/>
              <a:gd name="T34" fmla="*/ 57 w 273"/>
              <a:gd name="T35" fmla="*/ 32 h 414"/>
              <a:gd name="T36" fmla="*/ 56 w 273"/>
              <a:gd name="T37" fmla="*/ 42 h 414"/>
              <a:gd name="T38" fmla="*/ 58 w 273"/>
              <a:gd name="T39" fmla="*/ 59 h 414"/>
              <a:gd name="T40" fmla="*/ 52 w 273"/>
              <a:gd name="T41" fmla="*/ 78 h 414"/>
              <a:gd name="T42" fmla="*/ 33 w 273"/>
              <a:gd name="T43" fmla="*/ 90 h 414"/>
              <a:gd name="T44" fmla="*/ 17 w 273"/>
              <a:gd name="T45" fmla="*/ 104 h 414"/>
              <a:gd name="T46" fmla="*/ 4 w 273"/>
              <a:gd name="T47" fmla="*/ 118 h 414"/>
              <a:gd name="T48" fmla="*/ 40 w 273"/>
              <a:gd name="T49" fmla="*/ 198 h 414"/>
              <a:gd name="T50" fmla="*/ 73 w 273"/>
              <a:gd name="T51" fmla="*/ 205 h 414"/>
              <a:gd name="T52" fmla="*/ 84 w 273"/>
              <a:gd name="T53" fmla="*/ 210 h 414"/>
              <a:gd name="T54" fmla="*/ 93 w 273"/>
              <a:gd name="T55" fmla="*/ 218 h 414"/>
              <a:gd name="T56" fmla="*/ 99 w 273"/>
              <a:gd name="T57" fmla="*/ 226 h 414"/>
              <a:gd name="T58" fmla="*/ 103 w 273"/>
              <a:gd name="T59" fmla="*/ 237 h 414"/>
              <a:gd name="T60" fmla="*/ 106 w 273"/>
              <a:gd name="T61" fmla="*/ 265 h 414"/>
              <a:gd name="T62" fmla="*/ 103 w 273"/>
              <a:gd name="T63" fmla="*/ 279 h 414"/>
              <a:gd name="T64" fmla="*/ 96 w 273"/>
              <a:gd name="T65" fmla="*/ 293 h 414"/>
              <a:gd name="T66" fmla="*/ 89 w 273"/>
              <a:gd name="T67" fmla="*/ 307 h 414"/>
              <a:gd name="T68" fmla="*/ 86 w 273"/>
              <a:gd name="T69" fmla="*/ 321 h 414"/>
              <a:gd name="T70" fmla="*/ 91 w 273"/>
              <a:gd name="T71" fmla="*/ 343 h 414"/>
              <a:gd name="T72" fmla="*/ 107 w 273"/>
              <a:gd name="T73" fmla="*/ 374 h 414"/>
              <a:gd name="T74" fmla="*/ 117 w 273"/>
              <a:gd name="T75" fmla="*/ 389 h 414"/>
              <a:gd name="T76" fmla="*/ 129 w 273"/>
              <a:gd name="T77" fmla="*/ 401 h 414"/>
              <a:gd name="T78" fmla="*/ 141 w 273"/>
              <a:gd name="T79" fmla="*/ 411 h 414"/>
              <a:gd name="T80" fmla="*/ 153 w 273"/>
              <a:gd name="T81" fmla="*/ 414 h 414"/>
              <a:gd name="T82" fmla="*/ 215 w 273"/>
              <a:gd name="T83" fmla="*/ 398 h 414"/>
              <a:gd name="T84" fmla="*/ 255 w 273"/>
              <a:gd name="T85" fmla="*/ 385 h 414"/>
              <a:gd name="T86" fmla="*/ 267 w 273"/>
              <a:gd name="T87" fmla="*/ 377 h 414"/>
              <a:gd name="T88" fmla="*/ 273 w 273"/>
              <a:gd name="T89" fmla="*/ 370 h 414"/>
              <a:gd name="T90" fmla="*/ 269 w 273"/>
              <a:gd name="T91" fmla="*/ 352 h 414"/>
              <a:gd name="T92" fmla="*/ 263 w 273"/>
              <a:gd name="T93" fmla="*/ 335 h 414"/>
              <a:gd name="T94" fmla="*/ 242 w 273"/>
              <a:gd name="T95" fmla="*/ 309 h 414"/>
              <a:gd name="T96" fmla="*/ 222 w 273"/>
              <a:gd name="T97" fmla="*/ 282 h 414"/>
              <a:gd name="T98" fmla="*/ 215 w 273"/>
              <a:gd name="T99" fmla="*/ 266 h 414"/>
              <a:gd name="T100" fmla="*/ 212 w 273"/>
              <a:gd name="T101" fmla="*/ 247 h 414"/>
              <a:gd name="T102" fmla="*/ 215 w 273"/>
              <a:gd name="T103" fmla="*/ 215 h 414"/>
              <a:gd name="T104" fmla="*/ 222 w 273"/>
              <a:gd name="T105" fmla="*/ 190 h 414"/>
              <a:gd name="T106" fmla="*/ 230 w 273"/>
              <a:gd name="T107" fmla="*/ 167 h 414"/>
              <a:gd name="T108" fmla="*/ 232 w 273"/>
              <a:gd name="T109" fmla="*/ 14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grpSp>
        <p:nvGrpSpPr>
          <p:cNvPr id="224" name="Group 164">
            <a:extLst>
              <a:ext uri="{FF2B5EF4-FFF2-40B4-BE49-F238E27FC236}">
                <a16:creationId xmlns="" xmlns:a16="http://schemas.microsoft.com/office/drawing/2014/main" id="{E8030C91-395A-4C32-8C03-E9DBDC854F63}"/>
              </a:ext>
            </a:extLst>
          </p:cNvPr>
          <p:cNvGrpSpPr>
            <a:grpSpLocks/>
          </p:cNvGrpSpPr>
          <p:nvPr>
            <p:custDataLst>
              <p:tags r:id="rId94"/>
            </p:custDataLst>
          </p:nvPr>
        </p:nvGrpSpPr>
        <p:grpSpPr bwMode="auto">
          <a:xfrm>
            <a:off x="1843262" y="4034649"/>
            <a:ext cx="394506" cy="415166"/>
            <a:chOff x="1486" y="2412"/>
            <a:chExt cx="244" cy="256"/>
          </a:xfrm>
        </p:grpSpPr>
        <p:sp>
          <p:nvSpPr>
            <p:cNvPr id="609" name="Freeform 165">
              <a:extLst>
                <a:ext uri="{FF2B5EF4-FFF2-40B4-BE49-F238E27FC236}">
                  <a16:creationId xmlns="" xmlns:a16="http://schemas.microsoft.com/office/drawing/2014/main" id="{199B97A5-13E6-467F-A641-4B6F4D8B3C5C}"/>
                </a:ext>
              </a:extLst>
            </p:cNvPr>
            <p:cNvSpPr>
              <a:spLocks/>
            </p:cNvSpPr>
            <p:nvPr/>
          </p:nvSpPr>
          <p:spPr bwMode="auto">
            <a:xfrm>
              <a:off x="1639" y="2457"/>
              <a:ext cx="18" cy="7"/>
            </a:xfrm>
            <a:custGeom>
              <a:avLst/>
              <a:gdLst>
                <a:gd name="T0" fmla="*/ 0 w 54"/>
                <a:gd name="T1" fmla="*/ 0 h 22"/>
                <a:gd name="T2" fmla="*/ 0 w 54"/>
                <a:gd name="T3" fmla="*/ 18 h 22"/>
                <a:gd name="T4" fmla="*/ 6 w 54"/>
                <a:gd name="T5" fmla="*/ 20 h 22"/>
                <a:gd name="T6" fmla="*/ 10 w 54"/>
                <a:gd name="T7" fmla="*/ 21 h 22"/>
                <a:gd name="T8" fmla="*/ 14 w 54"/>
                <a:gd name="T9" fmla="*/ 22 h 22"/>
                <a:gd name="T10" fmla="*/ 20 w 54"/>
                <a:gd name="T11" fmla="*/ 22 h 22"/>
                <a:gd name="T12" fmla="*/ 23 w 54"/>
                <a:gd name="T13" fmla="*/ 22 h 22"/>
                <a:gd name="T14" fmla="*/ 27 w 54"/>
                <a:gd name="T15" fmla="*/ 21 h 22"/>
                <a:gd name="T16" fmla="*/ 31 w 54"/>
                <a:gd name="T17" fmla="*/ 20 h 22"/>
                <a:gd name="T18" fmla="*/ 33 w 54"/>
                <a:gd name="T19" fmla="*/ 18 h 22"/>
                <a:gd name="T20" fmla="*/ 35 w 54"/>
                <a:gd name="T21" fmla="*/ 16 h 22"/>
                <a:gd name="T22" fmla="*/ 41 w 54"/>
                <a:gd name="T23" fmla="*/ 12 h 22"/>
                <a:gd name="T24" fmla="*/ 47 w 54"/>
                <a:gd name="T25" fmla="*/ 8 h 22"/>
                <a:gd name="T26" fmla="*/ 54 w 54"/>
                <a:gd name="T27" fmla="*/ 6 h 22"/>
                <a:gd name="T28" fmla="*/ 36 w 54"/>
                <a:gd name="T29" fmla="*/ 5 h 22"/>
                <a:gd name="T30" fmla="*/ 20 w 54"/>
                <a:gd name="T31" fmla="*/ 3 h 22"/>
                <a:gd name="T32" fmla="*/ 6 w 54"/>
                <a:gd name="T33" fmla="*/ 1 h 22"/>
                <a:gd name="T34" fmla="*/ 0 w 54"/>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610" name="Freeform 166">
              <a:extLst>
                <a:ext uri="{FF2B5EF4-FFF2-40B4-BE49-F238E27FC236}">
                  <a16:creationId xmlns="" xmlns:a16="http://schemas.microsoft.com/office/drawing/2014/main" id="{C82745F7-C122-478A-B33A-5C423546759C}"/>
                </a:ext>
              </a:extLst>
            </p:cNvPr>
            <p:cNvSpPr>
              <a:spLocks/>
            </p:cNvSpPr>
            <p:nvPr/>
          </p:nvSpPr>
          <p:spPr bwMode="auto">
            <a:xfrm>
              <a:off x="1526" y="2412"/>
              <a:ext cx="2" cy="8"/>
            </a:xfrm>
            <a:custGeom>
              <a:avLst/>
              <a:gdLst>
                <a:gd name="T0" fmla="*/ 6 w 6"/>
                <a:gd name="T1" fmla="*/ 24 h 24"/>
                <a:gd name="T2" fmla="*/ 6 w 6"/>
                <a:gd name="T3" fmla="*/ 0 h 24"/>
                <a:gd name="T4" fmla="*/ 4 w 6"/>
                <a:gd name="T5" fmla="*/ 1 h 24"/>
                <a:gd name="T6" fmla="*/ 1 w 6"/>
                <a:gd name="T7" fmla="*/ 3 h 24"/>
                <a:gd name="T8" fmla="*/ 0 w 6"/>
                <a:gd name="T9" fmla="*/ 7 h 24"/>
                <a:gd name="T10" fmla="*/ 0 w 6"/>
                <a:gd name="T11" fmla="*/ 12 h 24"/>
                <a:gd name="T12" fmla="*/ 0 w 6"/>
                <a:gd name="T13" fmla="*/ 16 h 24"/>
                <a:gd name="T14" fmla="*/ 1 w 6"/>
                <a:gd name="T15" fmla="*/ 20 h 24"/>
                <a:gd name="T16" fmla="*/ 4 w 6"/>
                <a:gd name="T17" fmla="*/ 23 h 24"/>
                <a:gd name="T18" fmla="*/ 6 w 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611" name="Freeform 167">
              <a:extLst>
                <a:ext uri="{FF2B5EF4-FFF2-40B4-BE49-F238E27FC236}">
                  <a16:creationId xmlns="" xmlns:a16="http://schemas.microsoft.com/office/drawing/2014/main" id="{176E7F5A-C6CE-464E-9799-9AF566B5EA3A}"/>
                </a:ext>
              </a:extLst>
            </p:cNvPr>
            <p:cNvSpPr>
              <a:spLocks/>
            </p:cNvSpPr>
            <p:nvPr/>
          </p:nvSpPr>
          <p:spPr bwMode="auto">
            <a:xfrm>
              <a:off x="1557" y="2438"/>
              <a:ext cx="8" cy="4"/>
            </a:xfrm>
            <a:custGeom>
              <a:avLst/>
              <a:gdLst>
                <a:gd name="T0" fmla="*/ 0 w 27"/>
                <a:gd name="T1" fmla="*/ 12 h 12"/>
                <a:gd name="T2" fmla="*/ 27 w 27"/>
                <a:gd name="T3" fmla="*/ 12 h 12"/>
                <a:gd name="T4" fmla="*/ 14 w 27"/>
                <a:gd name="T5" fmla="*/ 0 h 12"/>
                <a:gd name="T6" fmla="*/ 0 w 27"/>
                <a:gd name="T7" fmla="*/ 12 h 12"/>
              </a:gdLst>
              <a:ahLst/>
              <a:cxnLst>
                <a:cxn ang="0">
                  <a:pos x="T0" y="T1"/>
                </a:cxn>
                <a:cxn ang="0">
                  <a:pos x="T2" y="T3"/>
                </a:cxn>
                <a:cxn ang="0">
                  <a:pos x="T4" y="T5"/>
                </a:cxn>
                <a:cxn ang="0">
                  <a:pos x="T6" y="T7"/>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612" name="Freeform 168">
              <a:extLst>
                <a:ext uri="{FF2B5EF4-FFF2-40B4-BE49-F238E27FC236}">
                  <a16:creationId xmlns="" xmlns:a16="http://schemas.microsoft.com/office/drawing/2014/main" id="{9E3BA38D-8565-4140-9DE9-CDDD28A4D196}"/>
                </a:ext>
              </a:extLst>
            </p:cNvPr>
            <p:cNvSpPr>
              <a:spLocks/>
            </p:cNvSpPr>
            <p:nvPr/>
          </p:nvSpPr>
          <p:spPr bwMode="auto">
            <a:xfrm>
              <a:off x="1486" y="2444"/>
              <a:ext cx="244" cy="224"/>
            </a:xfrm>
            <a:custGeom>
              <a:avLst/>
              <a:gdLst>
                <a:gd name="T0" fmla="*/ 9 w 743"/>
                <a:gd name="T1" fmla="*/ 208 h 672"/>
                <a:gd name="T2" fmla="*/ 50 w 743"/>
                <a:gd name="T3" fmla="*/ 266 h 672"/>
                <a:gd name="T4" fmla="*/ 121 w 743"/>
                <a:gd name="T5" fmla="*/ 294 h 672"/>
                <a:gd name="T6" fmla="*/ 166 w 743"/>
                <a:gd name="T7" fmla="*/ 316 h 672"/>
                <a:gd name="T8" fmla="*/ 198 w 743"/>
                <a:gd name="T9" fmla="*/ 346 h 672"/>
                <a:gd name="T10" fmla="*/ 296 w 743"/>
                <a:gd name="T11" fmla="*/ 379 h 672"/>
                <a:gd name="T12" fmla="*/ 286 w 743"/>
                <a:gd name="T13" fmla="*/ 420 h 672"/>
                <a:gd name="T14" fmla="*/ 311 w 743"/>
                <a:gd name="T15" fmla="*/ 513 h 672"/>
                <a:gd name="T16" fmla="*/ 303 w 743"/>
                <a:gd name="T17" fmla="*/ 535 h 672"/>
                <a:gd name="T18" fmla="*/ 302 w 743"/>
                <a:gd name="T19" fmla="*/ 566 h 672"/>
                <a:gd name="T20" fmla="*/ 328 w 743"/>
                <a:gd name="T21" fmla="*/ 617 h 672"/>
                <a:gd name="T22" fmla="*/ 371 w 743"/>
                <a:gd name="T23" fmla="*/ 659 h 672"/>
                <a:gd name="T24" fmla="*/ 415 w 743"/>
                <a:gd name="T25" fmla="*/ 671 h 672"/>
                <a:gd name="T26" fmla="*/ 465 w 743"/>
                <a:gd name="T27" fmla="*/ 653 h 672"/>
                <a:gd name="T28" fmla="*/ 507 w 743"/>
                <a:gd name="T29" fmla="*/ 619 h 672"/>
                <a:gd name="T30" fmla="*/ 524 w 743"/>
                <a:gd name="T31" fmla="*/ 586 h 672"/>
                <a:gd name="T32" fmla="*/ 477 w 743"/>
                <a:gd name="T33" fmla="*/ 469 h 672"/>
                <a:gd name="T34" fmla="*/ 577 w 743"/>
                <a:gd name="T35" fmla="*/ 500 h 672"/>
                <a:gd name="T36" fmla="*/ 600 w 743"/>
                <a:gd name="T37" fmla="*/ 477 h 672"/>
                <a:gd name="T38" fmla="*/ 652 w 743"/>
                <a:gd name="T39" fmla="*/ 445 h 672"/>
                <a:gd name="T40" fmla="*/ 669 w 743"/>
                <a:gd name="T41" fmla="*/ 441 h 672"/>
                <a:gd name="T42" fmla="*/ 685 w 743"/>
                <a:gd name="T43" fmla="*/ 435 h 672"/>
                <a:gd name="T44" fmla="*/ 666 w 743"/>
                <a:gd name="T45" fmla="*/ 327 h 672"/>
                <a:gd name="T46" fmla="*/ 709 w 743"/>
                <a:gd name="T47" fmla="*/ 294 h 672"/>
                <a:gd name="T48" fmla="*/ 714 w 743"/>
                <a:gd name="T49" fmla="*/ 253 h 672"/>
                <a:gd name="T50" fmla="*/ 726 w 743"/>
                <a:gd name="T51" fmla="*/ 235 h 672"/>
                <a:gd name="T52" fmla="*/ 728 w 743"/>
                <a:gd name="T53" fmla="*/ 213 h 672"/>
                <a:gd name="T54" fmla="*/ 700 w 743"/>
                <a:gd name="T55" fmla="*/ 196 h 672"/>
                <a:gd name="T56" fmla="*/ 686 w 743"/>
                <a:gd name="T57" fmla="*/ 168 h 672"/>
                <a:gd name="T58" fmla="*/ 670 w 743"/>
                <a:gd name="T59" fmla="*/ 145 h 672"/>
                <a:gd name="T60" fmla="*/ 639 w 743"/>
                <a:gd name="T61" fmla="*/ 152 h 672"/>
                <a:gd name="T62" fmla="*/ 630 w 743"/>
                <a:gd name="T63" fmla="*/ 134 h 672"/>
                <a:gd name="T64" fmla="*/ 602 w 743"/>
                <a:gd name="T65" fmla="*/ 115 h 672"/>
                <a:gd name="T66" fmla="*/ 584 w 743"/>
                <a:gd name="T67" fmla="*/ 97 h 672"/>
                <a:gd name="T68" fmla="*/ 536 w 743"/>
                <a:gd name="T69" fmla="*/ 75 h 672"/>
                <a:gd name="T70" fmla="*/ 490 w 743"/>
                <a:gd name="T71" fmla="*/ 87 h 672"/>
                <a:gd name="T72" fmla="*/ 472 w 743"/>
                <a:gd name="T73" fmla="*/ 101 h 672"/>
                <a:gd name="T74" fmla="*/ 434 w 743"/>
                <a:gd name="T75" fmla="*/ 116 h 672"/>
                <a:gd name="T76" fmla="*/ 418 w 743"/>
                <a:gd name="T77" fmla="*/ 104 h 672"/>
                <a:gd name="T78" fmla="*/ 393 w 743"/>
                <a:gd name="T79" fmla="*/ 102 h 672"/>
                <a:gd name="T80" fmla="*/ 359 w 743"/>
                <a:gd name="T81" fmla="*/ 83 h 672"/>
                <a:gd name="T82" fmla="*/ 317 w 743"/>
                <a:gd name="T83" fmla="*/ 85 h 672"/>
                <a:gd name="T84" fmla="*/ 291 w 743"/>
                <a:gd name="T85" fmla="*/ 92 h 672"/>
                <a:gd name="T86" fmla="*/ 252 w 743"/>
                <a:gd name="T87" fmla="*/ 93 h 672"/>
                <a:gd name="T88" fmla="*/ 233 w 743"/>
                <a:gd name="T89" fmla="*/ 52 h 672"/>
                <a:gd name="T90" fmla="*/ 179 w 743"/>
                <a:gd name="T91" fmla="*/ 22 h 672"/>
                <a:gd name="T92" fmla="*/ 148 w 743"/>
                <a:gd name="T93" fmla="*/ 10 h 672"/>
                <a:gd name="T94" fmla="*/ 136 w 743"/>
                <a:gd name="T95" fmla="*/ 46 h 672"/>
                <a:gd name="T96" fmla="*/ 119 w 743"/>
                <a:gd name="T97" fmla="*/ 69 h 672"/>
                <a:gd name="T98" fmla="*/ 119 w 743"/>
                <a:gd name="T99" fmla="*/ 137 h 672"/>
                <a:gd name="T100" fmla="*/ 104 w 743"/>
                <a:gd name="T101" fmla="*/ 194 h 672"/>
                <a:gd name="T102" fmla="*/ 87 w 743"/>
                <a:gd name="T103" fmla="*/ 190 h 672"/>
                <a:gd name="T104" fmla="*/ 70 w 743"/>
                <a:gd name="T105" fmla="*/ 184 h 672"/>
                <a:gd name="T106" fmla="*/ 57 w 743"/>
                <a:gd name="T107" fmla="*/ 169 h 672"/>
                <a:gd name="T108" fmla="*/ 52 w 743"/>
                <a:gd name="T109" fmla="*/ 119 h 672"/>
                <a:gd name="T110" fmla="*/ 73 w 743"/>
                <a:gd name="T111" fmla="*/ 61 h 672"/>
                <a:gd name="T112" fmla="*/ 97 w 743"/>
                <a:gd name="T113" fmla="*/ 15 h 672"/>
                <a:gd name="T114" fmla="*/ 52 w 743"/>
                <a:gd name="T115" fmla="*/ 30 h 672"/>
                <a:gd name="T116" fmla="*/ 16 w 743"/>
                <a:gd name="T117" fmla="*/ 70 h 672"/>
                <a:gd name="T118" fmla="*/ 1 w 743"/>
                <a:gd name="T119" fmla="*/ 1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grpSp>
      <p:sp>
        <p:nvSpPr>
          <p:cNvPr id="225" name="Freeform 169">
            <a:extLst>
              <a:ext uri="{FF2B5EF4-FFF2-40B4-BE49-F238E27FC236}">
                <a16:creationId xmlns="" xmlns:a16="http://schemas.microsoft.com/office/drawing/2014/main" id="{8B380BE2-2493-4402-8355-F5A9D5485DFD}"/>
              </a:ext>
            </a:extLst>
          </p:cNvPr>
          <p:cNvSpPr>
            <a:spLocks/>
          </p:cNvSpPr>
          <p:nvPr>
            <p:custDataLst>
              <p:tags r:id="rId95"/>
            </p:custDataLst>
          </p:nvPr>
        </p:nvSpPr>
        <p:spPr bwMode="auto">
          <a:xfrm>
            <a:off x="7960037" y="5626395"/>
            <a:ext cx="38677" cy="11487"/>
          </a:xfrm>
          <a:custGeom>
            <a:avLst/>
            <a:gdLst>
              <a:gd name="T0" fmla="*/ 0 w 79"/>
              <a:gd name="T1" fmla="*/ 23 h 23"/>
              <a:gd name="T2" fmla="*/ 22 w 79"/>
              <a:gd name="T3" fmla="*/ 13 h 23"/>
              <a:gd name="T4" fmla="*/ 45 w 79"/>
              <a:gd name="T5" fmla="*/ 4 h 23"/>
              <a:gd name="T6" fmla="*/ 56 w 79"/>
              <a:gd name="T7" fmla="*/ 1 h 23"/>
              <a:gd name="T8" fmla="*/ 65 w 79"/>
              <a:gd name="T9" fmla="*/ 0 h 23"/>
              <a:gd name="T10" fmla="*/ 69 w 79"/>
              <a:gd name="T11" fmla="*/ 0 h 23"/>
              <a:gd name="T12" fmla="*/ 74 w 79"/>
              <a:gd name="T13" fmla="*/ 1 h 23"/>
              <a:gd name="T14" fmla="*/ 77 w 79"/>
              <a:gd name="T15" fmla="*/ 2 h 23"/>
              <a:gd name="T16" fmla="*/ 79 w 79"/>
              <a:gd name="T17" fmla="*/ 4 h 23"/>
              <a:gd name="T18" fmla="*/ 77 w 79"/>
              <a:gd name="T19" fmla="*/ 8 h 23"/>
              <a:gd name="T20" fmla="*/ 75 w 79"/>
              <a:gd name="T21" fmla="*/ 13 h 23"/>
              <a:gd name="T22" fmla="*/ 72 w 79"/>
              <a:gd name="T23" fmla="*/ 16 h 23"/>
              <a:gd name="T24" fmla="*/ 68 w 79"/>
              <a:gd name="T25" fmla="*/ 19 h 23"/>
              <a:gd name="T26" fmla="*/ 64 w 79"/>
              <a:gd name="T27" fmla="*/ 21 h 23"/>
              <a:gd name="T28" fmla="*/ 59 w 79"/>
              <a:gd name="T29" fmla="*/ 22 h 23"/>
              <a:gd name="T30" fmla="*/ 53 w 79"/>
              <a:gd name="T31" fmla="*/ 23 h 23"/>
              <a:gd name="T32" fmla="*/ 46 w 79"/>
              <a:gd name="T33" fmla="*/ 23 h 23"/>
              <a:gd name="T34" fmla="*/ 37 w 79"/>
              <a:gd name="T35" fmla="*/ 23 h 23"/>
              <a:gd name="T36" fmla="*/ 32 w 79"/>
              <a:gd name="T37" fmla="*/ 21 h 23"/>
              <a:gd name="T38" fmla="*/ 26 w 79"/>
              <a:gd name="T39" fmla="*/ 20 h 23"/>
              <a:gd name="T40" fmla="*/ 23 w 79"/>
              <a:gd name="T41" fmla="*/ 19 h 23"/>
              <a:gd name="T42" fmla="*/ 19 w 79"/>
              <a:gd name="T43" fmla="*/ 18 h 23"/>
              <a:gd name="T44" fmla="*/ 14 w 79"/>
              <a:gd name="T45" fmla="*/ 18 h 23"/>
              <a:gd name="T46" fmla="*/ 9 w 79"/>
              <a:gd name="T47" fmla="*/ 20 h 23"/>
              <a:gd name="T48" fmla="*/ 0 w 79"/>
              <a:gd name="T4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26" name="Freeform 170">
            <a:extLst>
              <a:ext uri="{FF2B5EF4-FFF2-40B4-BE49-F238E27FC236}">
                <a16:creationId xmlns="" xmlns:a16="http://schemas.microsoft.com/office/drawing/2014/main" id="{5B0563B5-DB0E-42A5-8851-8DCDE16BE813}"/>
              </a:ext>
            </a:extLst>
          </p:cNvPr>
          <p:cNvSpPr>
            <a:spLocks/>
          </p:cNvSpPr>
          <p:nvPr>
            <p:custDataLst>
              <p:tags r:id="rId96"/>
            </p:custDataLst>
          </p:nvPr>
        </p:nvSpPr>
        <p:spPr bwMode="auto">
          <a:xfrm>
            <a:off x="8101208" y="5764237"/>
            <a:ext cx="1934" cy="4922"/>
          </a:xfrm>
          <a:custGeom>
            <a:avLst/>
            <a:gdLst>
              <a:gd name="T0" fmla="*/ 0 h 6"/>
              <a:gd name="T1" fmla="*/ 6 h 6"/>
              <a:gd name="T2" fmla="*/ 0 h 6"/>
            </a:gdLst>
            <a:ahLst/>
            <a:cxnLst>
              <a:cxn ang="0">
                <a:pos x="0" y="T0"/>
              </a:cxn>
              <a:cxn ang="0">
                <a:pos x="0" y="T1"/>
              </a:cxn>
              <a:cxn ang="0">
                <a:pos x="0" y="T2"/>
              </a:cxn>
            </a:cxnLst>
            <a:rect l="0" t="0" r="r" b="b"/>
            <a:pathLst>
              <a:path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27" name="Line 171">
            <a:extLst>
              <a:ext uri="{FF2B5EF4-FFF2-40B4-BE49-F238E27FC236}">
                <a16:creationId xmlns="" xmlns:a16="http://schemas.microsoft.com/office/drawing/2014/main" id="{70D548FC-9128-4270-95A5-96AC68CF8E1F}"/>
              </a:ext>
            </a:extLst>
          </p:cNvPr>
          <p:cNvSpPr>
            <a:spLocks noChangeShapeType="1"/>
          </p:cNvSpPr>
          <p:nvPr>
            <p:custDataLst>
              <p:tags r:id="rId97"/>
            </p:custDataLst>
          </p:nvPr>
        </p:nvSpPr>
        <p:spPr bwMode="auto">
          <a:xfrm flipV="1">
            <a:off x="8211438" y="5762596"/>
            <a:ext cx="1933" cy="13127"/>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228" name="Freeform 172">
            <a:extLst>
              <a:ext uri="{FF2B5EF4-FFF2-40B4-BE49-F238E27FC236}">
                <a16:creationId xmlns="" xmlns:a16="http://schemas.microsoft.com/office/drawing/2014/main" id="{2C89762A-E927-499F-93B3-932C4F752FF5}"/>
              </a:ext>
            </a:extLst>
          </p:cNvPr>
          <p:cNvSpPr>
            <a:spLocks/>
          </p:cNvSpPr>
          <p:nvPr>
            <p:custDataLst>
              <p:tags r:id="rId98"/>
            </p:custDataLst>
          </p:nvPr>
        </p:nvSpPr>
        <p:spPr bwMode="auto">
          <a:xfrm>
            <a:off x="8211438" y="5762596"/>
            <a:ext cx="3867" cy="16410"/>
          </a:xfrm>
          <a:custGeom>
            <a:avLst/>
            <a:gdLst>
              <a:gd name="T0" fmla="*/ 0 w 5"/>
              <a:gd name="T1" fmla="*/ 0 h 30"/>
              <a:gd name="T2" fmla="*/ 2 w 5"/>
              <a:gd name="T3" fmla="*/ 1 h 30"/>
              <a:gd name="T4" fmla="*/ 4 w 5"/>
              <a:gd name="T5" fmla="*/ 4 h 30"/>
              <a:gd name="T6" fmla="*/ 5 w 5"/>
              <a:gd name="T7" fmla="*/ 8 h 30"/>
              <a:gd name="T8" fmla="*/ 5 w 5"/>
              <a:gd name="T9" fmla="*/ 13 h 30"/>
              <a:gd name="T10" fmla="*/ 5 w 5"/>
              <a:gd name="T11" fmla="*/ 18 h 30"/>
              <a:gd name="T12" fmla="*/ 4 w 5"/>
              <a:gd name="T13" fmla="*/ 23 h 30"/>
              <a:gd name="T14" fmla="*/ 2 w 5"/>
              <a:gd name="T15" fmla="*/ 27 h 30"/>
              <a:gd name="T16" fmla="*/ 0 w 5"/>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29" name="Freeform 173">
            <a:extLst>
              <a:ext uri="{FF2B5EF4-FFF2-40B4-BE49-F238E27FC236}">
                <a16:creationId xmlns="" xmlns:a16="http://schemas.microsoft.com/office/drawing/2014/main" id="{DE67151D-D4A2-4B77-93D6-787E6A22C328}"/>
              </a:ext>
            </a:extLst>
          </p:cNvPr>
          <p:cNvSpPr>
            <a:spLocks/>
          </p:cNvSpPr>
          <p:nvPr>
            <p:custDataLst>
              <p:tags r:id="rId99"/>
            </p:custDataLst>
          </p:nvPr>
        </p:nvSpPr>
        <p:spPr bwMode="auto">
          <a:xfrm>
            <a:off x="8575002" y="5214509"/>
            <a:ext cx="27074" cy="29537"/>
          </a:xfrm>
          <a:custGeom>
            <a:avLst/>
            <a:gdLst>
              <a:gd name="T0" fmla="*/ 0 w 53"/>
              <a:gd name="T1" fmla="*/ 12 h 55"/>
              <a:gd name="T2" fmla="*/ 1 w 53"/>
              <a:gd name="T3" fmla="*/ 17 h 55"/>
              <a:gd name="T4" fmla="*/ 5 w 53"/>
              <a:gd name="T5" fmla="*/ 22 h 55"/>
              <a:gd name="T6" fmla="*/ 9 w 53"/>
              <a:gd name="T7" fmla="*/ 27 h 55"/>
              <a:gd name="T8" fmla="*/ 15 w 53"/>
              <a:gd name="T9" fmla="*/ 33 h 55"/>
              <a:gd name="T10" fmla="*/ 26 w 53"/>
              <a:gd name="T11" fmla="*/ 44 h 55"/>
              <a:gd name="T12" fmla="*/ 33 w 53"/>
              <a:gd name="T13" fmla="*/ 55 h 55"/>
              <a:gd name="T14" fmla="*/ 53 w 53"/>
              <a:gd name="T15" fmla="*/ 55 h 55"/>
              <a:gd name="T16" fmla="*/ 40 w 53"/>
              <a:gd name="T17" fmla="*/ 41 h 55"/>
              <a:gd name="T18" fmla="*/ 28 w 53"/>
              <a:gd name="T19" fmla="*/ 29 h 55"/>
              <a:gd name="T20" fmla="*/ 23 w 53"/>
              <a:gd name="T21" fmla="*/ 23 h 55"/>
              <a:gd name="T22" fmla="*/ 19 w 53"/>
              <a:gd name="T23" fmla="*/ 16 h 55"/>
              <a:gd name="T24" fmla="*/ 16 w 53"/>
              <a:gd name="T25" fmla="*/ 8 h 55"/>
              <a:gd name="T26" fmla="*/ 14 w 53"/>
              <a:gd name="T27" fmla="*/ 0 h 55"/>
              <a:gd name="T28" fmla="*/ 7 w 53"/>
              <a:gd name="T29" fmla="*/ 6 h 55"/>
              <a:gd name="T30" fmla="*/ 0 w 53"/>
              <a:gd name="T31" fmla="*/ 1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30" name="Freeform 174">
            <a:extLst>
              <a:ext uri="{FF2B5EF4-FFF2-40B4-BE49-F238E27FC236}">
                <a16:creationId xmlns="" xmlns:a16="http://schemas.microsoft.com/office/drawing/2014/main" id="{8D4DC203-4C58-4F9F-9CC2-5CF9FE02E52A}"/>
              </a:ext>
            </a:extLst>
          </p:cNvPr>
          <p:cNvSpPr>
            <a:spLocks/>
          </p:cNvSpPr>
          <p:nvPr>
            <p:custDataLst>
              <p:tags r:id="rId100"/>
            </p:custDataLst>
          </p:nvPr>
        </p:nvSpPr>
        <p:spPr bwMode="auto">
          <a:xfrm>
            <a:off x="8582738" y="5139025"/>
            <a:ext cx="32875" cy="41025"/>
          </a:xfrm>
          <a:custGeom>
            <a:avLst/>
            <a:gdLst>
              <a:gd name="T0" fmla="*/ 0 w 65"/>
              <a:gd name="T1" fmla="*/ 32 h 75"/>
              <a:gd name="T2" fmla="*/ 9 w 65"/>
              <a:gd name="T3" fmla="*/ 43 h 75"/>
              <a:gd name="T4" fmla="*/ 20 w 65"/>
              <a:gd name="T5" fmla="*/ 55 h 75"/>
              <a:gd name="T6" fmla="*/ 26 w 65"/>
              <a:gd name="T7" fmla="*/ 61 h 75"/>
              <a:gd name="T8" fmla="*/ 32 w 65"/>
              <a:gd name="T9" fmla="*/ 67 h 75"/>
              <a:gd name="T10" fmla="*/ 39 w 65"/>
              <a:gd name="T11" fmla="*/ 71 h 75"/>
              <a:gd name="T12" fmla="*/ 46 w 65"/>
              <a:gd name="T13" fmla="*/ 75 h 75"/>
              <a:gd name="T14" fmla="*/ 51 w 65"/>
              <a:gd name="T15" fmla="*/ 61 h 75"/>
              <a:gd name="T16" fmla="*/ 58 w 65"/>
              <a:gd name="T17" fmla="*/ 48 h 75"/>
              <a:gd name="T18" fmla="*/ 61 w 65"/>
              <a:gd name="T19" fmla="*/ 42 h 75"/>
              <a:gd name="T20" fmla="*/ 63 w 65"/>
              <a:gd name="T21" fmla="*/ 36 h 75"/>
              <a:gd name="T22" fmla="*/ 65 w 65"/>
              <a:gd name="T23" fmla="*/ 31 h 75"/>
              <a:gd name="T24" fmla="*/ 65 w 65"/>
              <a:gd name="T25" fmla="*/ 26 h 75"/>
              <a:gd name="T26" fmla="*/ 65 w 65"/>
              <a:gd name="T27" fmla="*/ 21 h 75"/>
              <a:gd name="T28" fmla="*/ 63 w 65"/>
              <a:gd name="T29" fmla="*/ 18 h 75"/>
              <a:gd name="T30" fmla="*/ 61 w 65"/>
              <a:gd name="T31" fmla="*/ 13 h 75"/>
              <a:gd name="T32" fmla="*/ 58 w 65"/>
              <a:gd name="T33" fmla="*/ 10 h 75"/>
              <a:gd name="T34" fmla="*/ 51 w 65"/>
              <a:gd name="T35" fmla="*/ 5 h 75"/>
              <a:gd name="T36" fmla="*/ 46 w 65"/>
              <a:gd name="T37" fmla="*/ 0 h 75"/>
              <a:gd name="T38" fmla="*/ 34 w 65"/>
              <a:gd name="T39" fmla="*/ 0 h 75"/>
              <a:gd name="T40" fmla="*/ 26 w 65"/>
              <a:gd name="T41" fmla="*/ 0 h 75"/>
              <a:gd name="T42" fmla="*/ 25 w 65"/>
              <a:gd name="T43" fmla="*/ 2 h 75"/>
              <a:gd name="T44" fmla="*/ 24 w 65"/>
              <a:gd name="T45" fmla="*/ 7 h 75"/>
              <a:gd name="T46" fmla="*/ 23 w 65"/>
              <a:gd name="T47" fmla="*/ 9 h 75"/>
              <a:gd name="T48" fmla="*/ 23 w 65"/>
              <a:gd name="T49" fmla="*/ 11 h 75"/>
              <a:gd name="T50" fmla="*/ 24 w 65"/>
              <a:gd name="T51" fmla="*/ 12 h 75"/>
              <a:gd name="T52" fmla="*/ 26 w 65"/>
              <a:gd name="T53"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31" name="Freeform 175">
            <a:extLst>
              <a:ext uri="{FF2B5EF4-FFF2-40B4-BE49-F238E27FC236}">
                <a16:creationId xmlns="" xmlns:a16="http://schemas.microsoft.com/office/drawing/2014/main" id="{1BFB49AA-3DF4-4A4A-961D-3DF5802D25B0}"/>
              </a:ext>
            </a:extLst>
          </p:cNvPr>
          <p:cNvSpPr>
            <a:spLocks/>
          </p:cNvSpPr>
          <p:nvPr>
            <p:custDataLst>
              <p:tags r:id="rId101"/>
            </p:custDataLst>
          </p:nvPr>
        </p:nvSpPr>
        <p:spPr bwMode="auto">
          <a:xfrm>
            <a:off x="8553730" y="5114411"/>
            <a:ext cx="21273" cy="31178"/>
          </a:xfrm>
          <a:custGeom>
            <a:avLst/>
            <a:gdLst>
              <a:gd name="T0" fmla="*/ 0 w 40"/>
              <a:gd name="T1" fmla="*/ 62 h 62"/>
              <a:gd name="T2" fmla="*/ 3 w 40"/>
              <a:gd name="T3" fmla="*/ 52 h 62"/>
              <a:gd name="T4" fmla="*/ 7 w 40"/>
              <a:gd name="T5" fmla="*/ 43 h 62"/>
              <a:gd name="T6" fmla="*/ 12 w 40"/>
              <a:gd name="T7" fmla="*/ 33 h 62"/>
              <a:gd name="T8" fmla="*/ 17 w 40"/>
              <a:gd name="T9" fmla="*/ 25 h 62"/>
              <a:gd name="T10" fmla="*/ 23 w 40"/>
              <a:gd name="T11" fmla="*/ 17 h 62"/>
              <a:gd name="T12" fmla="*/ 29 w 40"/>
              <a:gd name="T13" fmla="*/ 9 h 62"/>
              <a:gd name="T14" fmla="*/ 35 w 40"/>
              <a:gd name="T15" fmla="*/ 3 h 62"/>
              <a:gd name="T16" fmla="*/ 40 w 40"/>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32" name="Freeform 176">
            <a:extLst>
              <a:ext uri="{FF2B5EF4-FFF2-40B4-BE49-F238E27FC236}">
                <a16:creationId xmlns="" xmlns:a16="http://schemas.microsoft.com/office/drawing/2014/main" id="{A9324359-3945-463D-98FC-891129C98139}"/>
              </a:ext>
            </a:extLst>
          </p:cNvPr>
          <p:cNvSpPr>
            <a:spLocks/>
          </p:cNvSpPr>
          <p:nvPr>
            <p:custDataLst>
              <p:tags r:id="rId102"/>
            </p:custDataLst>
          </p:nvPr>
        </p:nvSpPr>
        <p:spPr bwMode="auto">
          <a:xfrm>
            <a:off x="8455103" y="4988055"/>
            <a:ext cx="83155" cy="142765"/>
          </a:xfrm>
          <a:custGeom>
            <a:avLst/>
            <a:gdLst>
              <a:gd name="T0" fmla="*/ 159 w 159"/>
              <a:gd name="T1" fmla="*/ 259 h 259"/>
              <a:gd name="T2" fmla="*/ 159 w 159"/>
              <a:gd name="T3" fmla="*/ 251 h 259"/>
              <a:gd name="T4" fmla="*/ 159 w 159"/>
              <a:gd name="T5" fmla="*/ 244 h 259"/>
              <a:gd name="T6" fmla="*/ 159 w 159"/>
              <a:gd name="T7" fmla="*/ 236 h 259"/>
              <a:gd name="T8" fmla="*/ 159 w 159"/>
              <a:gd name="T9" fmla="*/ 228 h 259"/>
              <a:gd name="T10" fmla="*/ 159 w 159"/>
              <a:gd name="T11" fmla="*/ 224 h 259"/>
              <a:gd name="T12" fmla="*/ 158 w 159"/>
              <a:gd name="T13" fmla="*/ 219 h 259"/>
              <a:gd name="T14" fmla="*/ 156 w 159"/>
              <a:gd name="T15" fmla="*/ 215 h 259"/>
              <a:gd name="T16" fmla="*/ 153 w 159"/>
              <a:gd name="T17" fmla="*/ 210 h 259"/>
              <a:gd name="T18" fmla="*/ 145 w 159"/>
              <a:gd name="T19" fmla="*/ 202 h 259"/>
              <a:gd name="T20" fmla="*/ 135 w 159"/>
              <a:gd name="T21" fmla="*/ 195 h 259"/>
              <a:gd name="T22" fmla="*/ 124 w 159"/>
              <a:gd name="T23" fmla="*/ 189 h 259"/>
              <a:gd name="T24" fmla="*/ 112 w 159"/>
              <a:gd name="T25" fmla="*/ 184 h 259"/>
              <a:gd name="T26" fmla="*/ 99 w 159"/>
              <a:gd name="T27" fmla="*/ 180 h 259"/>
              <a:gd name="T28" fmla="*/ 87 w 159"/>
              <a:gd name="T29" fmla="*/ 179 h 259"/>
              <a:gd name="T30" fmla="*/ 85 w 159"/>
              <a:gd name="T31" fmla="*/ 178 h 259"/>
              <a:gd name="T32" fmla="*/ 82 w 159"/>
              <a:gd name="T33" fmla="*/ 177 h 259"/>
              <a:gd name="T34" fmla="*/ 81 w 159"/>
              <a:gd name="T35" fmla="*/ 175 h 259"/>
              <a:gd name="T36" fmla="*/ 80 w 159"/>
              <a:gd name="T37" fmla="*/ 173 h 259"/>
              <a:gd name="T38" fmla="*/ 80 w 159"/>
              <a:gd name="T39" fmla="*/ 167 h 259"/>
              <a:gd name="T40" fmla="*/ 81 w 159"/>
              <a:gd name="T41" fmla="*/ 161 h 259"/>
              <a:gd name="T42" fmla="*/ 85 w 159"/>
              <a:gd name="T43" fmla="*/ 148 h 259"/>
              <a:gd name="T44" fmla="*/ 87 w 159"/>
              <a:gd name="T45" fmla="*/ 142 h 259"/>
              <a:gd name="T46" fmla="*/ 73 w 159"/>
              <a:gd name="T47" fmla="*/ 141 h 259"/>
              <a:gd name="T48" fmla="*/ 59 w 159"/>
              <a:gd name="T49" fmla="*/ 139 h 259"/>
              <a:gd name="T50" fmla="*/ 48 w 159"/>
              <a:gd name="T51" fmla="*/ 135 h 259"/>
              <a:gd name="T52" fmla="*/ 40 w 159"/>
              <a:gd name="T53" fmla="*/ 129 h 259"/>
              <a:gd name="T54" fmla="*/ 31 w 159"/>
              <a:gd name="T55" fmla="*/ 121 h 259"/>
              <a:gd name="T56" fmla="*/ 24 w 159"/>
              <a:gd name="T57" fmla="*/ 113 h 259"/>
              <a:gd name="T58" fmla="*/ 18 w 159"/>
              <a:gd name="T59" fmla="*/ 104 h 259"/>
              <a:gd name="T60" fmla="*/ 13 w 159"/>
              <a:gd name="T61" fmla="*/ 94 h 259"/>
              <a:gd name="T62" fmla="*/ 9 w 159"/>
              <a:gd name="T63" fmla="*/ 84 h 259"/>
              <a:gd name="T64" fmla="*/ 7 w 159"/>
              <a:gd name="T65" fmla="*/ 73 h 259"/>
              <a:gd name="T66" fmla="*/ 5 w 159"/>
              <a:gd name="T67" fmla="*/ 60 h 259"/>
              <a:gd name="T68" fmla="*/ 2 w 159"/>
              <a:gd name="T69" fmla="*/ 48 h 259"/>
              <a:gd name="T70" fmla="*/ 0 w 159"/>
              <a:gd name="T71" fmla="*/ 25 h 259"/>
              <a:gd name="T72" fmla="*/ 0 w 159"/>
              <a:gd name="T73"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33" name="Line 177">
            <a:extLst>
              <a:ext uri="{FF2B5EF4-FFF2-40B4-BE49-F238E27FC236}">
                <a16:creationId xmlns="" xmlns:a16="http://schemas.microsoft.com/office/drawing/2014/main" id="{A83F3319-C363-4825-8DA5-914F1341678C}"/>
              </a:ext>
            </a:extLst>
          </p:cNvPr>
          <p:cNvSpPr>
            <a:spLocks noChangeShapeType="1"/>
          </p:cNvSpPr>
          <p:nvPr>
            <p:custDataLst>
              <p:tags r:id="rId103"/>
            </p:custDataLst>
          </p:nvPr>
        </p:nvSpPr>
        <p:spPr bwMode="auto">
          <a:xfrm flipH="1" flipV="1">
            <a:off x="8447368" y="4953595"/>
            <a:ext cx="7735" cy="34460"/>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234" name="Freeform 178">
            <a:extLst>
              <a:ext uri="{FF2B5EF4-FFF2-40B4-BE49-F238E27FC236}">
                <a16:creationId xmlns="" xmlns:a16="http://schemas.microsoft.com/office/drawing/2014/main" id="{991DFA7C-AEE5-44DB-B8DE-A4D4BD73BC4B}"/>
              </a:ext>
            </a:extLst>
          </p:cNvPr>
          <p:cNvSpPr>
            <a:spLocks/>
          </p:cNvSpPr>
          <p:nvPr>
            <p:custDataLst>
              <p:tags r:id="rId104"/>
            </p:custDataLst>
          </p:nvPr>
        </p:nvSpPr>
        <p:spPr bwMode="auto">
          <a:xfrm>
            <a:off x="8447368" y="4937185"/>
            <a:ext cx="7735" cy="16410"/>
          </a:xfrm>
          <a:custGeom>
            <a:avLst/>
            <a:gdLst>
              <a:gd name="T0" fmla="*/ 0 w 13"/>
              <a:gd name="T1" fmla="*/ 25 h 25"/>
              <a:gd name="T2" fmla="*/ 1 w 13"/>
              <a:gd name="T3" fmla="*/ 19 h 25"/>
              <a:gd name="T4" fmla="*/ 4 w 13"/>
              <a:gd name="T5" fmla="*/ 13 h 25"/>
              <a:gd name="T6" fmla="*/ 8 w 13"/>
              <a:gd name="T7" fmla="*/ 6 h 25"/>
              <a:gd name="T8" fmla="*/ 13 w 13"/>
              <a:gd name="T9" fmla="*/ 0 h 25"/>
            </a:gdLst>
            <a:ahLst/>
            <a:cxnLst>
              <a:cxn ang="0">
                <a:pos x="T0" y="T1"/>
              </a:cxn>
              <a:cxn ang="0">
                <a:pos x="T2" y="T3"/>
              </a:cxn>
              <a:cxn ang="0">
                <a:pos x="T4" y="T5"/>
              </a:cxn>
              <a:cxn ang="0">
                <a:pos x="T6" y="T7"/>
              </a:cxn>
              <a:cxn ang="0">
                <a:pos x="T8" y="T9"/>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35" name="Line 179">
            <a:extLst>
              <a:ext uri="{FF2B5EF4-FFF2-40B4-BE49-F238E27FC236}">
                <a16:creationId xmlns="" xmlns:a16="http://schemas.microsoft.com/office/drawing/2014/main" id="{0FF8B674-3BEB-4B5B-85F4-27248C06AAB0}"/>
              </a:ext>
            </a:extLst>
          </p:cNvPr>
          <p:cNvSpPr>
            <a:spLocks noChangeShapeType="1"/>
          </p:cNvSpPr>
          <p:nvPr>
            <p:custDataLst>
              <p:tags r:id="rId105"/>
            </p:custDataLst>
          </p:nvPr>
        </p:nvSpPr>
        <p:spPr bwMode="auto">
          <a:xfrm flipV="1">
            <a:off x="8455103" y="4924058"/>
            <a:ext cx="0" cy="13127"/>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236" name="Freeform 180">
            <a:extLst>
              <a:ext uri="{FF2B5EF4-FFF2-40B4-BE49-F238E27FC236}">
                <a16:creationId xmlns="" xmlns:a16="http://schemas.microsoft.com/office/drawing/2014/main" id="{5CAD5C93-2614-486B-AE77-FFBBB3C63C6E}"/>
              </a:ext>
            </a:extLst>
          </p:cNvPr>
          <p:cNvSpPr>
            <a:spLocks/>
          </p:cNvSpPr>
          <p:nvPr>
            <p:custDataLst>
              <p:tags r:id="rId106"/>
            </p:custDataLst>
          </p:nvPr>
        </p:nvSpPr>
        <p:spPr bwMode="auto">
          <a:xfrm>
            <a:off x="8399021" y="4855136"/>
            <a:ext cx="56082" cy="68921"/>
          </a:xfrm>
          <a:custGeom>
            <a:avLst/>
            <a:gdLst>
              <a:gd name="T0" fmla="*/ 100 w 100"/>
              <a:gd name="T1" fmla="*/ 123 h 123"/>
              <a:gd name="T2" fmla="*/ 90 w 100"/>
              <a:gd name="T3" fmla="*/ 122 h 123"/>
              <a:gd name="T4" fmla="*/ 76 w 100"/>
              <a:gd name="T5" fmla="*/ 119 h 123"/>
              <a:gd name="T6" fmla="*/ 60 w 100"/>
              <a:gd name="T7" fmla="*/ 114 h 123"/>
              <a:gd name="T8" fmla="*/ 43 w 100"/>
              <a:gd name="T9" fmla="*/ 107 h 123"/>
              <a:gd name="T10" fmla="*/ 34 w 100"/>
              <a:gd name="T11" fmla="*/ 103 h 123"/>
              <a:gd name="T12" fmla="*/ 27 w 100"/>
              <a:gd name="T13" fmla="*/ 99 h 123"/>
              <a:gd name="T14" fmla="*/ 20 w 100"/>
              <a:gd name="T15" fmla="*/ 94 h 123"/>
              <a:gd name="T16" fmla="*/ 13 w 100"/>
              <a:gd name="T17" fmla="*/ 89 h 123"/>
              <a:gd name="T18" fmla="*/ 8 w 100"/>
              <a:gd name="T19" fmla="*/ 84 h 123"/>
              <a:gd name="T20" fmla="*/ 4 w 100"/>
              <a:gd name="T21" fmla="*/ 79 h 123"/>
              <a:gd name="T22" fmla="*/ 1 w 100"/>
              <a:gd name="T23" fmla="*/ 73 h 123"/>
              <a:gd name="T24" fmla="*/ 0 w 100"/>
              <a:gd name="T25" fmla="*/ 68 h 123"/>
              <a:gd name="T26" fmla="*/ 2 w 100"/>
              <a:gd name="T27" fmla="*/ 55 h 123"/>
              <a:gd name="T28" fmla="*/ 7 w 100"/>
              <a:gd name="T29" fmla="*/ 36 h 123"/>
              <a:gd name="T30" fmla="*/ 11 w 100"/>
              <a:gd name="T31" fmla="*/ 17 h 123"/>
              <a:gd name="T32" fmla="*/ 13 w 100"/>
              <a:gd name="T3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37" name="Freeform 181">
            <a:extLst>
              <a:ext uri="{FF2B5EF4-FFF2-40B4-BE49-F238E27FC236}">
                <a16:creationId xmlns="" xmlns:a16="http://schemas.microsoft.com/office/drawing/2014/main" id="{11C72A07-F82C-4798-A87D-68DE656474CF}"/>
              </a:ext>
            </a:extLst>
          </p:cNvPr>
          <p:cNvSpPr>
            <a:spLocks/>
          </p:cNvSpPr>
          <p:nvPr>
            <p:custDataLst>
              <p:tags r:id="rId107"/>
            </p:custDataLst>
          </p:nvPr>
        </p:nvSpPr>
        <p:spPr bwMode="auto">
          <a:xfrm>
            <a:off x="8416427" y="4796062"/>
            <a:ext cx="1933" cy="52511"/>
          </a:xfrm>
          <a:custGeom>
            <a:avLst/>
            <a:gdLst>
              <a:gd name="T0" fmla="*/ 5 w 5"/>
              <a:gd name="T1" fmla="*/ 0 h 99"/>
              <a:gd name="T2" fmla="*/ 4 w 5"/>
              <a:gd name="T3" fmla="*/ 34 h 99"/>
              <a:gd name="T4" fmla="*/ 1 w 5"/>
              <a:gd name="T5" fmla="*/ 59 h 99"/>
              <a:gd name="T6" fmla="*/ 0 w 5"/>
              <a:gd name="T7" fmla="*/ 69 h 99"/>
              <a:gd name="T8" fmla="*/ 0 w 5"/>
              <a:gd name="T9" fmla="*/ 78 h 99"/>
              <a:gd name="T10" fmla="*/ 2 w 5"/>
              <a:gd name="T11" fmla="*/ 87 h 99"/>
              <a:gd name="T12" fmla="*/ 5 w 5"/>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38" name="Freeform 182">
            <a:extLst>
              <a:ext uri="{FF2B5EF4-FFF2-40B4-BE49-F238E27FC236}">
                <a16:creationId xmlns="" xmlns:a16="http://schemas.microsoft.com/office/drawing/2014/main" id="{75CAE1D8-FE78-4D36-95BA-18FF61675681}"/>
              </a:ext>
            </a:extLst>
          </p:cNvPr>
          <p:cNvSpPr>
            <a:spLocks/>
          </p:cNvSpPr>
          <p:nvPr>
            <p:custDataLst>
              <p:tags r:id="rId108"/>
            </p:custDataLst>
          </p:nvPr>
        </p:nvSpPr>
        <p:spPr bwMode="auto">
          <a:xfrm>
            <a:off x="8424162" y="4789497"/>
            <a:ext cx="9669" cy="37742"/>
          </a:xfrm>
          <a:custGeom>
            <a:avLst/>
            <a:gdLst>
              <a:gd name="T0" fmla="*/ 14 w 14"/>
              <a:gd name="T1" fmla="*/ 0 h 68"/>
              <a:gd name="T2" fmla="*/ 8 w 14"/>
              <a:gd name="T3" fmla="*/ 16 h 68"/>
              <a:gd name="T4" fmla="*/ 4 w 14"/>
              <a:gd name="T5" fmla="*/ 33 h 68"/>
              <a:gd name="T6" fmla="*/ 2 w 14"/>
              <a:gd name="T7" fmla="*/ 52 h 68"/>
              <a:gd name="T8" fmla="*/ 0 w 14"/>
              <a:gd name="T9" fmla="*/ 68 h 68"/>
            </a:gdLst>
            <a:ahLst/>
            <a:cxnLst>
              <a:cxn ang="0">
                <a:pos x="T0" y="T1"/>
              </a:cxn>
              <a:cxn ang="0">
                <a:pos x="T2" y="T3"/>
              </a:cxn>
              <a:cxn ang="0">
                <a:pos x="T4" y="T5"/>
              </a:cxn>
              <a:cxn ang="0">
                <a:pos x="T6" y="T7"/>
              </a:cxn>
              <a:cxn ang="0">
                <a:pos x="T8" y="T9"/>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39" name="Freeform 183">
            <a:extLst>
              <a:ext uri="{FF2B5EF4-FFF2-40B4-BE49-F238E27FC236}">
                <a16:creationId xmlns="" xmlns:a16="http://schemas.microsoft.com/office/drawing/2014/main" id="{677F8B55-67C8-4C30-85D5-3B83E7D7D085}"/>
              </a:ext>
            </a:extLst>
          </p:cNvPr>
          <p:cNvSpPr>
            <a:spLocks/>
          </p:cNvSpPr>
          <p:nvPr>
            <p:custDataLst>
              <p:tags r:id="rId109"/>
            </p:custDataLst>
          </p:nvPr>
        </p:nvSpPr>
        <p:spPr bwMode="auto">
          <a:xfrm>
            <a:off x="8443500" y="4769806"/>
            <a:ext cx="1933" cy="22974"/>
          </a:xfrm>
          <a:custGeom>
            <a:avLst/>
            <a:gdLst>
              <a:gd name="T0" fmla="*/ 0 h 43"/>
              <a:gd name="T1" fmla="*/ 13 h 43"/>
              <a:gd name="T2" fmla="*/ 26 h 43"/>
              <a:gd name="T3" fmla="*/ 37 h 43"/>
              <a:gd name="T4" fmla="*/ 43 h 43"/>
            </a:gdLst>
            <a:ahLst/>
            <a:cxnLst>
              <a:cxn ang="0">
                <a:pos x="0" y="T0"/>
              </a:cxn>
              <a:cxn ang="0">
                <a:pos x="0" y="T1"/>
              </a:cxn>
              <a:cxn ang="0">
                <a:pos x="0" y="T2"/>
              </a:cxn>
              <a:cxn ang="0">
                <a:pos x="0" y="T3"/>
              </a:cxn>
              <a:cxn ang="0">
                <a:pos x="0" y="T4"/>
              </a:cxn>
            </a:cxnLst>
            <a:rect l="0" t="0" r="r" b="b"/>
            <a:pathLst>
              <a:path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40" name="Line 184">
            <a:extLst>
              <a:ext uri="{FF2B5EF4-FFF2-40B4-BE49-F238E27FC236}">
                <a16:creationId xmlns="" xmlns:a16="http://schemas.microsoft.com/office/drawing/2014/main" id="{55F39921-A375-4072-9CA8-CE2E412C6221}"/>
              </a:ext>
            </a:extLst>
          </p:cNvPr>
          <p:cNvSpPr>
            <a:spLocks noChangeShapeType="1"/>
          </p:cNvSpPr>
          <p:nvPr>
            <p:custDataLst>
              <p:tags r:id="rId110"/>
            </p:custDataLst>
          </p:nvPr>
        </p:nvSpPr>
        <p:spPr bwMode="auto">
          <a:xfrm flipV="1">
            <a:off x="8443500" y="4789497"/>
            <a:ext cx="1933" cy="3282"/>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241" name="Freeform 185">
            <a:extLst>
              <a:ext uri="{FF2B5EF4-FFF2-40B4-BE49-F238E27FC236}">
                <a16:creationId xmlns="" xmlns:a16="http://schemas.microsoft.com/office/drawing/2014/main" id="{0C82E4BA-5B85-416F-A225-C8210AF63D05}"/>
              </a:ext>
            </a:extLst>
          </p:cNvPr>
          <p:cNvSpPr>
            <a:spLocks/>
          </p:cNvSpPr>
          <p:nvPr>
            <p:custDataLst>
              <p:tags r:id="rId111"/>
            </p:custDataLst>
          </p:nvPr>
        </p:nvSpPr>
        <p:spPr bwMode="auto">
          <a:xfrm>
            <a:off x="8424162" y="4773088"/>
            <a:ext cx="1933" cy="16410"/>
          </a:xfrm>
          <a:custGeom>
            <a:avLst/>
            <a:gdLst>
              <a:gd name="T0" fmla="*/ 31 h 31"/>
              <a:gd name="T1" fmla="*/ 22 h 31"/>
              <a:gd name="T2" fmla="*/ 15 h 31"/>
              <a:gd name="T3" fmla="*/ 8 h 31"/>
              <a:gd name="T4" fmla="*/ 0 h 31"/>
            </a:gdLst>
            <a:ahLst/>
            <a:cxnLst>
              <a:cxn ang="0">
                <a:pos x="0" y="T0"/>
              </a:cxn>
              <a:cxn ang="0">
                <a:pos x="0" y="T1"/>
              </a:cxn>
              <a:cxn ang="0">
                <a:pos x="0" y="T2"/>
              </a:cxn>
              <a:cxn ang="0">
                <a:pos x="0" y="T3"/>
              </a:cxn>
              <a:cxn ang="0">
                <a:pos x="0" y="T4"/>
              </a:cxn>
            </a:cxnLst>
            <a:rect l="0" t="0" r="r" b="b"/>
            <a:pathLst>
              <a:path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42" name="Freeform 186">
            <a:extLst>
              <a:ext uri="{FF2B5EF4-FFF2-40B4-BE49-F238E27FC236}">
                <a16:creationId xmlns="" xmlns:a16="http://schemas.microsoft.com/office/drawing/2014/main" id="{5DA930E8-E059-4C8D-A53B-6D0BBE1C21F9}"/>
              </a:ext>
            </a:extLst>
          </p:cNvPr>
          <p:cNvSpPr>
            <a:spLocks/>
          </p:cNvSpPr>
          <p:nvPr>
            <p:custDataLst>
              <p:tags r:id="rId112"/>
            </p:custDataLst>
          </p:nvPr>
        </p:nvSpPr>
        <p:spPr bwMode="auto">
          <a:xfrm>
            <a:off x="8083804" y="5795415"/>
            <a:ext cx="117964" cy="90255"/>
          </a:xfrm>
          <a:custGeom>
            <a:avLst/>
            <a:gdLst>
              <a:gd name="T0" fmla="*/ 19 w 225"/>
              <a:gd name="T1" fmla="*/ 158 h 167"/>
              <a:gd name="T2" fmla="*/ 7 w 225"/>
              <a:gd name="T3" fmla="*/ 142 h 167"/>
              <a:gd name="T4" fmla="*/ 0 w 225"/>
              <a:gd name="T5" fmla="*/ 130 h 167"/>
              <a:gd name="T6" fmla="*/ 1 w 225"/>
              <a:gd name="T7" fmla="*/ 108 h 167"/>
              <a:gd name="T8" fmla="*/ 11 w 225"/>
              <a:gd name="T9" fmla="*/ 68 h 167"/>
              <a:gd name="T10" fmla="*/ 24 w 225"/>
              <a:gd name="T11" fmla="*/ 39 h 167"/>
              <a:gd name="T12" fmla="*/ 34 w 225"/>
              <a:gd name="T13" fmla="*/ 21 h 167"/>
              <a:gd name="T14" fmla="*/ 44 w 225"/>
              <a:gd name="T15" fmla="*/ 9 h 167"/>
              <a:gd name="T16" fmla="*/ 54 w 225"/>
              <a:gd name="T17" fmla="*/ 1 h 167"/>
              <a:gd name="T18" fmla="*/ 65 w 225"/>
              <a:gd name="T19" fmla="*/ 1 h 167"/>
              <a:gd name="T20" fmla="*/ 76 w 225"/>
              <a:gd name="T21" fmla="*/ 3 h 167"/>
              <a:gd name="T22" fmla="*/ 88 w 225"/>
              <a:gd name="T23" fmla="*/ 8 h 167"/>
              <a:gd name="T24" fmla="*/ 100 w 225"/>
              <a:gd name="T25" fmla="*/ 17 h 167"/>
              <a:gd name="T26" fmla="*/ 112 w 225"/>
              <a:gd name="T27" fmla="*/ 24 h 167"/>
              <a:gd name="T28" fmla="*/ 128 w 225"/>
              <a:gd name="T29" fmla="*/ 24 h 167"/>
              <a:gd name="T30" fmla="*/ 145 w 225"/>
              <a:gd name="T31" fmla="*/ 19 h 167"/>
              <a:gd name="T32" fmla="*/ 165 w 225"/>
              <a:gd name="T33" fmla="*/ 7 h 167"/>
              <a:gd name="T34" fmla="*/ 225 w 225"/>
              <a:gd name="T35" fmla="*/ 0 h 167"/>
              <a:gd name="T36" fmla="*/ 215 w 225"/>
              <a:gd name="T37" fmla="*/ 22 h 167"/>
              <a:gd name="T38" fmla="*/ 201 w 225"/>
              <a:gd name="T39" fmla="*/ 41 h 167"/>
              <a:gd name="T40" fmla="*/ 168 w 225"/>
              <a:gd name="T41" fmla="*/ 72 h 167"/>
              <a:gd name="T42" fmla="*/ 138 w 225"/>
              <a:gd name="T43" fmla="*/ 100 h 167"/>
              <a:gd name="T44" fmla="*/ 129 w 225"/>
              <a:gd name="T45" fmla="*/ 114 h 167"/>
              <a:gd name="T46" fmla="*/ 126 w 225"/>
              <a:gd name="T47" fmla="*/ 130 h 167"/>
              <a:gd name="T48" fmla="*/ 123 w 225"/>
              <a:gd name="T49" fmla="*/ 126 h 167"/>
              <a:gd name="T50" fmla="*/ 120 w 225"/>
              <a:gd name="T51" fmla="*/ 117 h 167"/>
              <a:gd name="T52" fmla="*/ 106 w 225"/>
              <a:gd name="T53" fmla="*/ 121 h 167"/>
              <a:gd name="T54" fmla="*/ 97 w 225"/>
              <a:gd name="T55" fmla="*/ 128 h 167"/>
              <a:gd name="T56" fmla="*/ 80 w 225"/>
              <a:gd name="T57" fmla="*/ 145 h 167"/>
              <a:gd name="T58" fmla="*/ 71 w 225"/>
              <a:gd name="T59" fmla="*/ 153 h 167"/>
              <a:gd name="T60" fmla="*/ 60 w 225"/>
              <a:gd name="T61" fmla="*/ 160 h 167"/>
              <a:gd name="T62" fmla="*/ 46 w 225"/>
              <a:gd name="T63" fmla="*/ 165 h 167"/>
              <a:gd name="T64" fmla="*/ 26 w 225"/>
              <a:gd name="T65"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chemeClr val="accent2"/>
          </a:solidFill>
          <a:ln w="9525" cmpd="sng">
            <a:solidFill>
              <a:srgbClr val="FFFFFF"/>
            </a:solidFill>
            <a:prstDash val="solid"/>
            <a:round/>
            <a:headEnd/>
            <a:tailEnd/>
          </a:ln>
        </p:spPr>
        <p:txBody>
          <a:bodyPr/>
          <a:lstStyle/>
          <a:p>
            <a:endParaRPr lang="en-GB" dirty="0"/>
          </a:p>
        </p:txBody>
      </p:sp>
      <p:sp>
        <p:nvSpPr>
          <p:cNvPr id="243" name="Freeform 187">
            <a:extLst>
              <a:ext uri="{FF2B5EF4-FFF2-40B4-BE49-F238E27FC236}">
                <a16:creationId xmlns="" xmlns:a16="http://schemas.microsoft.com/office/drawing/2014/main" id="{5E1E28F9-01B7-406D-92AA-B1AE91B65C22}"/>
              </a:ext>
            </a:extLst>
          </p:cNvPr>
          <p:cNvSpPr>
            <a:spLocks/>
          </p:cNvSpPr>
          <p:nvPr>
            <p:custDataLst>
              <p:tags r:id="rId113"/>
            </p:custDataLst>
          </p:nvPr>
        </p:nvSpPr>
        <p:spPr bwMode="auto">
          <a:xfrm>
            <a:off x="8252048" y="4988055"/>
            <a:ext cx="3867" cy="18052"/>
          </a:xfrm>
          <a:custGeom>
            <a:avLst/>
            <a:gdLst>
              <a:gd name="T0" fmla="*/ 0 w 7"/>
              <a:gd name="T1" fmla="*/ 31 h 31"/>
              <a:gd name="T2" fmla="*/ 5 w 7"/>
              <a:gd name="T3" fmla="*/ 22 h 31"/>
              <a:gd name="T4" fmla="*/ 6 w 7"/>
              <a:gd name="T5" fmla="*/ 13 h 31"/>
              <a:gd name="T6" fmla="*/ 7 w 7"/>
              <a:gd name="T7" fmla="*/ 6 h 31"/>
              <a:gd name="T8" fmla="*/ 7 w 7"/>
              <a:gd name="T9" fmla="*/ 0 h 31"/>
              <a:gd name="T10" fmla="*/ 6 w 7"/>
              <a:gd name="T11" fmla="*/ 6 h 31"/>
              <a:gd name="T12" fmla="*/ 4 w 7"/>
              <a:gd name="T13" fmla="*/ 13 h 31"/>
              <a:gd name="T14" fmla="*/ 1 w 7"/>
              <a:gd name="T15" fmla="*/ 22 h 31"/>
              <a:gd name="T16" fmla="*/ 0 w 7"/>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44" name="Freeform 188">
            <a:extLst>
              <a:ext uri="{FF2B5EF4-FFF2-40B4-BE49-F238E27FC236}">
                <a16:creationId xmlns="" xmlns:a16="http://schemas.microsoft.com/office/drawing/2014/main" id="{AB00E1BA-EFA5-4A0F-BD69-DE13DCDE4962}"/>
              </a:ext>
            </a:extLst>
          </p:cNvPr>
          <p:cNvSpPr>
            <a:spLocks/>
          </p:cNvSpPr>
          <p:nvPr>
            <p:custDataLst>
              <p:tags r:id="rId114"/>
            </p:custDataLst>
          </p:nvPr>
        </p:nvSpPr>
        <p:spPr bwMode="auto">
          <a:xfrm>
            <a:off x="8170826" y="4907648"/>
            <a:ext cx="19338" cy="16410"/>
          </a:xfrm>
          <a:custGeom>
            <a:avLst/>
            <a:gdLst>
              <a:gd name="T0" fmla="*/ 33 w 33"/>
              <a:gd name="T1" fmla="*/ 31 h 31"/>
              <a:gd name="T2" fmla="*/ 33 w 33"/>
              <a:gd name="T3" fmla="*/ 0 h 31"/>
              <a:gd name="T4" fmla="*/ 27 w 33"/>
              <a:gd name="T5" fmla="*/ 0 h 31"/>
              <a:gd name="T6" fmla="*/ 22 w 33"/>
              <a:gd name="T7" fmla="*/ 2 h 31"/>
              <a:gd name="T8" fmla="*/ 16 w 33"/>
              <a:gd name="T9" fmla="*/ 5 h 31"/>
              <a:gd name="T10" fmla="*/ 11 w 33"/>
              <a:gd name="T11" fmla="*/ 8 h 31"/>
              <a:gd name="T12" fmla="*/ 6 w 33"/>
              <a:gd name="T13" fmla="*/ 12 h 31"/>
              <a:gd name="T14" fmla="*/ 3 w 33"/>
              <a:gd name="T15" fmla="*/ 16 h 31"/>
              <a:gd name="T16" fmla="*/ 1 w 33"/>
              <a:gd name="T17" fmla="*/ 21 h 31"/>
              <a:gd name="T18" fmla="*/ 0 w 33"/>
              <a:gd name="T19" fmla="*/ 25 h 31"/>
              <a:gd name="T20" fmla="*/ 1 w 33"/>
              <a:gd name="T21" fmla="*/ 27 h 31"/>
              <a:gd name="T22" fmla="*/ 3 w 33"/>
              <a:gd name="T23" fmla="*/ 29 h 31"/>
              <a:gd name="T24" fmla="*/ 6 w 33"/>
              <a:gd name="T25" fmla="*/ 30 h 31"/>
              <a:gd name="T26" fmla="*/ 11 w 33"/>
              <a:gd name="T27" fmla="*/ 30 h 31"/>
              <a:gd name="T28" fmla="*/ 22 w 33"/>
              <a:gd name="T29" fmla="*/ 31 h 31"/>
              <a:gd name="T30" fmla="*/ 33 w 33"/>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45" name="Freeform 189">
            <a:extLst>
              <a:ext uri="{FF2B5EF4-FFF2-40B4-BE49-F238E27FC236}">
                <a16:creationId xmlns="" xmlns:a16="http://schemas.microsoft.com/office/drawing/2014/main" id="{97DF8AF5-8C60-4B78-B99B-0C8BE8B0AB7E}"/>
              </a:ext>
            </a:extLst>
          </p:cNvPr>
          <p:cNvSpPr>
            <a:spLocks/>
          </p:cNvSpPr>
          <p:nvPr>
            <p:custDataLst>
              <p:tags r:id="rId115"/>
            </p:custDataLst>
          </p:nvPr>
        </p:nvSpPr>
        <p:spPr bwMode="auto">
          <a:xfrm>
            <a:off x="8190165" y="4817393"/>
            <a:ext cx="3867" cy="9846"/>
          </a:xfrm>
          <a:custGeom>
            <a:avLst/>
            <a:gdLst>
              <a:gd name="T0" fmla="*/ 0 w 13"/>
              <a:gd name="T1" fmla="*/ 19 h 19"/>
              <a:gd name="T2" fmla="*/ 2 w 13"/>
              <a:gd name="T3" fmla="*/ 18 h 19"/>
              <a:gd name="T4" fmla="*/ 5 w 13"/>
              <a:gd name="T5" fmla="*/ 17 h 19"/>
              <a:gd name="T6" fmla="*/ 7 w 13"/>
              <a:gd name="T7" fmla="*/ 15 h 19"/>
              <a:gd name="T8" fmla="*/ 8 w 13"/>
              <a:gd name="T9" fmla="*/ 12 h 19"/>
              <a:gd name="T10" fmla="*/ 12 w 13"/>
              <a:gd name="T11" fmla="*/ 6 h 19"/>
              <a:gd name="T12" fmla="*/ 13 w 13"/>
              <a:gd name="T13" fmla="*/ 0 h 19"/>
              <a:gd name="T14" fmla="*/ 0 w 13"/>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46" name="Freeform 190">
            <a:extLst>
              <a:ext uri="{FF2B5EF4-FFF2-40B4-BE49-F238E27FC236}">
                <a16:creationId xmlns="" xmlns:a16="http://schemas.microsoft.com/office/drawing/2014/main" id="{E06607A7-2EC2-442B-B54B-2011F5C5D40B}"/>
              </a:ext>
            </a:extLst>
          </p:cNvPr>
          <p:cNvSpPr>
            <a:spLocks/>
          </p:cNvSpPr>
          <p:nvPr>
            <p:custDataLst>
              <p:tags r:id="rId116"/>
            </p:custDataLst>
          </p:nvPr>
        </p:nvSpPr>
        <p:spPr bwMode="auto">
          <a:xfrm>
            <a:off x="7994847" y="4820676"/>
            <a:ext cx="44478" cy="22974"/>
          </a:xfrm>
          <a:custGeom>
            <a:avLst/>
            <a:gdLst>
              <a:gd name="T0" fmla="*/ 54 w 87"/>
              <a:gd name="T1" fmla="*/ 42 h 42"/>
              <a:gd name="T2" fmla="*/ 59 w 87"/>
              <a:gd name="T3" fmla="*/ 42 h 42"/>
              <a:gd name="T4" fmla="*/ 64 w 87"/>
              <a:gd name="T5" fmla="*/ 41 h 42"/>
              <a:gd name="T6" fmla="*/ 68 w 87"/>
              <a:gd name="T7" fmla="*/ 40 h 42"/>
              <a:gd name="T8" fmla="*/ 71 w 87"/>
              <a:gd name="T9" fmla="*/ 38 h 42"/>
              <a:gd name="T10" fmla="*/ 75 w 87"/>
              <a:gd name="T11" fmla="*/ 34 h 42"/>
              <a:gd name="T12" fmla="*/ 78 w 87"/>
              <a:gd name="T13" fmla="*/ 28 h 42"/>
              <a:gd name="T14" fmla="*/ 79 w 87"/>
              <a:gd name="T15" fmla="*/ 22 h 42"/>
              <a:gd name="T16" fmla="*/ 80 w 87"/>
              <a:gd name="T17" fmla="*/ 16 h 42"/>
              <a:gd name="T18" fmla="*/ 82 w 87"/>
              <a:gd name="T19" fmla="*/ 11 h 42"/>
              <a:gd name="T20" fmla="*/ 87 w 87"/>
              <a:gd name="T21" fmla="*/ 6 h 42"/>
              <a:gd name="T22" fmla="*/ 77 w 87"/>
              <a:gd name="T23" fmla="*/ 2 h 42"/>
              <a:gd name="T24" fmla="*/ 67 w 87"/>
              <a:gd name="T25" fmla="*/ 0 h 42"/>
              <a:gd name="T26" fmla="*/ 57 w 87"/>
              <a:gd name="T27" fmla="*/ 0 h 42"/>
              <a:gd name="T28" fmla="*/ 47 w 87"/>
              <a:gd name="T29" fmla="*/ 0 h 42"/>
              <a:gd name="T30" fmla="*/ 40 w 87"/>
              <a:gd name="T31" fmla="*/ 0 h 42"/>
              <a:gd name="T32" fmla="*/ 32 w 87"/>
              <a:gd name="T33" fmla="*/ 2 h 42"/>
              <a:gd name="T34" fmla="*/ 25 w 87"/>
              <a:gd name="T35" fmla="*/ 4 h 42"/>
              <a:gd name="T36" fmla="*/ 19 w 87"/>
              <a:gd name="T37" fmla="*/ 6 h 42"/>
              <a:gd name="T38" fmla="*/ 8 w 87"/>
              <a:gd name="T39" fmla="*/ 12 h 42"/>
              <a:gd name="T40" fmla="*/ 0 w 87"/>
              <a:gd name="T41" fmla="*/ 18 h 42"/>
              <a:gd name="T42" fmla="*/ 11 w 87"/>
              <a:gd name="T43" fmla="*/ 24 h 42"/>
              <a:gd name="T44" fmla="*/ 27 w 87"/>
              <a:gd name="T45" fmla="*/ 32 h 42"/>
              <a:gd name="T46" fmla="*/ 43 w 87"/>
              <a:gd name="T47" fmla="*/ 39 h 42"/>
              <a:gd name="T48" fmla="*/ 54 w 87"/>
              <a:gd name="T4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47" name="Freeform 191">
            <a:extLst>
              <a:ext uri="{FF2B5EF4-FFF2-40B4-BE49-F238E27FC236}">
                <a16:creationId xmlns="" xmlns:a16="http://schemas.microsoft.com/office/drawing/2014/main" id="{F37AB402-ED93-41AF-B3D8-35816DEFD44D}"/>
              </a:ext>
            </a:extLst>
          </p:cNvPr>
          <p:cNvSpPr>
            <a:spLocks/>
          </p:cNvSpPr>
          <p:nvPr>
            <p:custDataLst>
              <p:tags r:id="rId117"/>
            </p:custDataLst>
          </p:nvPr>
        </p:nvSpPr>
        <p:spPr bwMode="auto">
          <a:xfrm>
            <a:off x="8292659" y="5299841"/>
            <a:ext cx="1933" cy="14769"/>
          </a:xfrm>
          <a:custGeom>
            <a:avLst/>
            <a:gdLst>
              <a:gd name="T0" fmla="*/ 0 w 7"/>
              <a:gd name="T1" fmla="*/ 0 h 31"/>
              <a:gd name="T2" fmla="*/ 7 w 7"/>
              <a:gd name="T3" fmla="*/ 0 h 31"/>
              <a:gd name="T4" fmla="*/ 7 w 7"/>
              <a:gd name="T5" fmla="*/ 18 h 31"/>
              <a:gd name="T6" fmla="*/ 0 w 7"/>
              <a:gd name="T7" fmla="*/ 31 h 31"/>
              <a:gd name="T8" fmla="*/ 0 w 7"/>
              <a:gd name="T9" fmla="*/ 0 h 31"/>
            </a:gdLst>
            <a:ahLst/>
            <a:cxnLst>
              <a:cxn ang="0">
                <a:pos x="T0" y="T1"/>
              </a:cxn>
              <a:cxn ang="0">
                <a:pos x="T2" y="T3"/>
              </a:cxn>
              <a:cxn ang="0">
                <a:pos x="T4" y="T5"/>
              </a:cxn>
              <a:cxn ang="0">
                <a:pos x="T6" y="T7"/>
              </a:cxn>
              <a:cxn ang="0">
                <a:pos x="T8" y="T9"/>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48" name="Freeform 192">
            <a:extLst>
              <a:ext uri="{FF2B5EF4-FFF2-40B4-BE49-F238E27FC236}">
                <a16:creationId xmlns="" xmlns:a16="http://schemas.microsoft.com/office/drawing/2014/main" id="{6D18ED88-EFAE-4D75-AF24-11A01682ECF1}"/>
              </a:ext>
            </a:extLst>
          </p:cNvPr>
          <p:cNvSpPr>
            <a:spLocks/>
          </p:cNvSpPr>
          <p:nvPr>
            <p:custDataLst>
              <p:tags r:id="rId118"/>
            </p:custDataLst>
          </p:nvPr>
        </p:nvSpPr>
        <p:spPr bwMode="auto">
          <a:xfrm>
            <a:off x="7362477" y="4789497"/>
            <a:ext cx="1241533" cy="938638"/>
          </a:xfrm>
          <a:custGeom>
            <a:avLst/>
            <a:gdLst>
              <a:gd name="T0" fmla="*/ 214 w 2332"/>
              <a:gd name="T1" fmla="*/ 707 h 1731"/>
              <a:gd name="T2" fmla="*/ 325 w 2332"/>
              <a:gd name="T3" fmla="*/ 649 h 1731"/>
              <a:gd name="T4" fmla="*/ 435 w 2332"/>
              <a:gd name="T5" fmla="*/ 606 h 1731"/>
              <a:gd name="T6" fmla="*/ 605 w 2332"/>
              <a:gd name="T7" fmla="*/ 570 h 1731"/>
              <a:gd name="T8" fmla="*/ 677 w 2332"/>
              <a:gd name="T9" fmla="*/ 437 h 1731"/>
              <a:gd name="T10" fmla="*/ 758 w 2332"/>
              <a:gd name="T11" fmla="*/ 439 h 1731"/>
              <a:gd name="T12" fmla="*/ 784 w 2332"/>
              <a:gd name="T13" fmla="*/ 363 h 1731"/>
              <a:gd name="T14" fmla="*/ 866 w 2332"/>
              <a:gd name="T15" fmla="*/ 316 h 1731"/>
              <a:gd name="T16" fmla="*/ 939 w 2332"/>
              <a:gd name="T17" fmla="*/ 246 h 1731"/>
              <a:gd name="T18" fmla="*/ 1027 w 2332"/>
              <a:gd name="T19" fmla="*/ 223 h 1731"/>
              <a:gd name="T20" fmla="*/ 1078 w 2332"/>
              <a:gd name="T21" fmla="*/ 284 h 1731"/>
              <a:gd name="T22" fmla="*/ 1135 w 2332"/>
              <a:gd name="T23" fmla="*/ 270 h 1731"/>
              <a:gd name="T24" fmla="*/ 1176 w 2332"/>
              <a:gd name="T25" fmla="*/ 172 h 1731"/>
              <a:gd name="T26" fmla="*/ 1320 w 2332"/>
              <a:gd name="T27" fmla="*/ 117 h 1731"/>
              <a:gd name="T28" fmla="*/ 1336 w 2332"/>
              <a:gd name="T29" fmla="*/ 41 h 1731"/>
              <a:gd name="T30" fmla="*/ 1432 w 2332"/>
              <a:gd name="T31" fmla="*/ 107 h 1731"/>
              <a:gd name="T32" fmla="*/ 1544 w 2332"/>
              <a:gd name="T33" fmla="*/ 117 h 1731"/>
              <a:gd name="T34" fmla="*/ 1465 w 2332"/>
              <a:gd name="T35" fmla="*/ 262 h 1731"/>
              <a:gd name="T36" fmla="*/ 1509 w 2332"/>
              <a:gd name="T37" fmla="*/ 333 h 1731"/>
              <a:gd name="T38" fmla="*/ 1582 w 2332"/>
              <a:gd name="T39" fmla="*/ 354 h 1731"/>
              <a:gd name="T40" fmla="*/ 1668 w 2332"/>
              <a:gd name="T41" fmla="*/ 423 h 1731"/>
              <a:gd name="T42" fmla="*/ 1764 w 2332"/>
              <a:gd name="T43" fmla="*/ 413 h 1731"/>
              <a:gd name="T44" fmla="*/ 1830 w 2332"/>
              <a:gd name="T45" fmla="*/ 205 h 1731"/>
              <a:gd name="T46" fmla="*/ 1904 w 2332"/>
              <a:gd name="T47" fmla="*/ 10 h 1731"/>
              <a:gd name="T48" fmla="*/ 1933 w 2332"/>
              <a:gd name="T49" fmla="*/ 80 h 1731"/>
              <a:gd name="T50" fmla="*/ 1944 w 2332"/>
              <a:gd name="T51" fmla="*/ 176 h 1731"/>
              <a:gd name="T52" fmla="*/ 1986 w 2332"/>
              <a:gd name="T53" fmla="*/ 240 h 1731"/>
              <a:gd name="T54" fmla="*/ 2040 w 2332"/>
              <a:gd name="T55" fmla="*/ 429 h 1731"/>
              <a:gd name="T56" fmla="*/ 2089 w 2332"/>
              <a:gd name="T57" fmla="*/ 540 h 1731"/>
              <a:gd name="T58" fmla="*/ 2163 w 2332"/>
              <a:gd name="T59" fmla="*/ 686 h 1731"/>
              <a:gd name="T60" fmla="*/ 2219 w 2332"/>
              <a:gd name="T61" fmla="*/ 769 h 1731"/>
              <a:gd name="T62" fmla="*/ 2332 w 2332"/>
              <a:gd name="T63" fmla="*/ 892 h 1731"/>
              <a:gd name="T64" fmla="*/ 2276 w 2332"/>
              <a:gd name="T65" fmla="*/ 1105 h 1731"/>
              <a:gd name="T66" fmla="*/ 2087 w 2332"/>
              <a:gd name="T67" fmla="*/ 1362 h 1731"/>
              <a:gd name="T68" fmla="*/ 2005 w 2332"/>
              <a:gd name="T69" fmla="*/ 1432 h 1731"/>
              <a:gd name="T70" fmla="*/ 1838 w 2332"/>
              <a:gd name="T71" fmla="*/ 1591 h 1731"/>
              <a:gd name="T72" fmla="*/ 1749 w 2332"/>
              <a:gd name="T73" fmla="*/ 1676 h 1731"/>
              <a:gd name="T74" fmla="*/ 1589 w 2332"/>
              <a:gd name="T75" fmla="*/ 1726 h 1731"/>
              <a:gd name="T76" fmla="*/ 1517 w 2332"/>
              <a:gd name="T77" fmla="*/ 1693 h 1731"/>
              <a:gd name="T78" fmla="*/ 1410 w 2332"/>
              <a:gd name="T79" fmla="*/ 1729 h 1731"/>
              <a:gd name="T80" fmla="*/ 1297 w 2332"/>
              <a:gd name="T81" fmla="*/ 1693 h 1731"/>
              <a:gd name="T82" fmla="*/ 1279 w 2332"/>
              <a:gd name="T83" fmla="*/ 1614 h 1731"/>
              <a:gd name="T84" fmla="*/ 1263 w 2332"/>
              <a:gd name="T85" fmla="*/ 1516 h 1731"/>
              <a:gd name="T86" fmla="*/ 1225 w 2332"/>
              <a:gd name="T87" fmla="*/ 1500 h 1731"/>
              <a:gd name="T88" fmla="*/ 1280 w 2332"/>
              <a:gd name="T89" fmla="*/ 1382 h 1731"/>
              <a:gd name="T90" fmla="*/ 1088 w 2332"/>
              <a:gd name="T91" fmla="*/ 1362 h 1731"/>
              <a:gd name="T92" fmla="*/ 961 w 2332"/>
              <a:gd name="T93" fmla="*/ 1282 h 1731"/>
              <a:gd name="T94" fmla="*/ 754 w 2332"/>
              <a:gd name="T95" fmla="*/ 1323 h 1731"/>
              <a:gd name="T96" fmla="*/ 507 w 2332"/>
              <a:gd name="T97" fmla="*/ 1419 h 1731"/>
              <a:gd name="T98" fmla="*/ 214 w 2332"/>
              <a:gd name="T99" fmla="*/ 1473 h 1731"/>
              <a:gd name="T100" fmla="*/ 55 w 2332"/>
              <a:gd name="T101" fmla="*/ 1490 h 1731"/>
              <a:gd name="T102" fmla="*/ 2 w 2332"/>
              <a:gd name="T103" fmla="*/ 1423 h 1731"/>
              <a:gd name="T104" fmla="*/ 97 w 2332"/>
              <a:gd name="T105" fmla="*/ 1344 h 1731"/>
              <a:gd name="T106" fmla="*/ 75 w 2332"/>
              <a:gd name="T107" fmla="*/ 1241 h 1731"/>
              <a:gd name="T108" fmla="*/ 113 w 2332"/>
              <a:gd name="T109" fmla="*/ 1170 h 1731"/>
              <a:gd name="T110" fmla="*/ 58 w 2332"/>
              <a:gd name="T111" fmla="*/ 943 h 1731"/>
              <a:gd name="T112" fmla="*/ 113 w 2332"/>
              <a:gd name="T113" fmla="*/ 964 h 1731"/>
              <a:gd name="T114" fmla="*/ 106 w 2332"/>
              <a:gd name="T115" fmla="*/ 862 h 1731"/>
              <a:gd name="T116" fmla="*/ 147 w 2332"/>
              <a:gd name="T117" fmla="*/ 765 h 1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000" b="1" dirty="0"/>
          </a:p>
        </p:txBody>
      </p:sp>
      <p:sp>
        <p:nvSpPr>
          <p:cNvPr id="249" name="Freeform 193">
            <a:extLst>
              <a:ext uri="{FF2B5EF4-FFF2-40B4-BE49-F238E27FC236}">
                <a16:creationId xmlns="" xmlns:a16="http://schemas.microsoft.com/office/drawing/2014/main" id="{BACE9F69-BA2F-468C-9D57-D5B94B3DDDED}"/>
              </a:ext>
            </a:extLst>
          </p:cNvPr>
          <p:cNvSpPr>
            <a:spLocks/>
          </p:cNvSpPr>
          <p:nvPr>
            <p:custDataLst>
              <p:tags r:id="rId119"/>
            </p:custDataLst>
          </p:nvPr>
        </p:nvSpPr>
        <p:spPr bwMode="auto">
          <a:xfrm>
            <a:off x="646207" y="3411078"/>
            <a:ext cx="814151" cy="600597"/>
          </a:xfrm>
          <a:custGeom>
            <a:avLst/>
            <a:gdLst>
              <a:gd name="T0" fmla="*/ 1243 w 1535"/>
              <a:gd name="T1" fmla="*/ 925 h 1109"/>
              <a:gd name="T2" fmla="*/ 1299 w 1535"/>
              <a:gd name="T3" fmla="*/ 982 h 1109"/>
              <a:gd name="T4" fmla="*/ 1220 w 1535"/>
              <a:gd name="T5" fmla="*/ 999 h 1109"/>
              <a:gd name="T6" fmla="*/ 1177 w 1535"/>
              <a:gd name="T7" fmla="*/ 1095 h 1109"/>
              <a:gd name="T8" fmla="*/ 1065 w 1535"/>
              <a:gd name="T9" fmla="*/ 1006 h 1109"/>
              <a:gd name="T10" fmla="*/ 994 w 1535"/>
              <a:gd name="T11" fmla="*/ 1012 h 1109"/>
              <a:gd name="T12" fmla="*/ 913 w 1535"/>
              <a:gd name="T13" fmla="*/ 1039 h 1109"/>
              <a:gd name="T14" fmla="*/ 786 w 1535"/>
              <a:gd name="T15" fmla="*/ 971 h 1109"/>
              <a:gd name="T16" fmla="*/ 648 w 1535"/>
              <a:gd name="T17" fmla="*/ 917 h 1109"/>
              <a:gd name="T18" fmla="*/ 588 w 1535"/>
              <a:gd name="T19" fmla="*/ 883 h 1109"/>
              <a:gd name="T20" fmla="*/ 537 w 1535"/>
              <a:gd name="T21" fmla="*/ 835 h 1109"/>
              <a:gd name="T22" fmla="*/ 485 w 1535"/>
              <a:gd name="T23" fmla="*/ 826 h 1109"/>
              <a:gd name="T24" fmla="*/ 439 w 1535"/>
              <a:gd name="T25" fmla="*/ 757 h 1109"/>
              <a:gd name="T26" fmla="*/ 467 w 1535"/>
              <a:gd name="T27" fmla="*/ 705 h 1109"/>
              <a:gd name="T28" fmla="*/ 450 w 1535"/>
              <a:gd name="T29" fmla="*/ 601 h 1109"/>
              <a:gd name="T30" fmla="*/ 352 w 1535"/>
              <a:gd name="T31" fmla="*/ 468 h 1109"/>
              <a:gd name="T32" fmla="*/ 304 w 1535"/>
              <a:gd name="T33" fmla="*/ 426 h 1109"/>
              <a:gd name="T34" fmla="*/ 293 w 1535"/>
              <a:gd name="T35" fmla="*/ 369 h 1109"/>
              <a:gd name="T36" fmla="*/ 217 w 1535"/>
              <a:gd name="T37" fmla="*/ 248 h 1109"/>
              <a:gd name="T38" fmla="*/ 167 w 1535"/>
              <a:gd name="T39" fmla="*/ 74 h 1109"/>
              <a:gd name="T40" fmla="*/ 84 w 1535"/>
              <a:gd name="T41" fmla="*/ 104 h 1109"/>
              <a:gd name="T42" fmla="*/ 113 w 1535"/>
              <a:gd name="T43" fmla="*/ 222 h 1109"/>
              <a:gd name="T44" fmla="*/ 150 w 1535"/>
              <a:gd name="T45" fmla="*/ 326 h 1109"/>
              <a:gd name="T46" fmla="*/ 196 w 1535"/>
              <a:gd name="T47" fmla="*/ 402 h 1109"/>
              <a:gd name="T48" fmla="*/ 200 w 1535"/>
              <a:gd name="T49" fmla="*/ 465 h 1109"/>
              <a:gd name="T50" fmla="*/ 213 w 1535"/>
              <a:gd name="T51" fmla="*/ 524 h 1109"/>
              <a:gd name="T52" fmla="*/ 259 w 1535"/>
              <a:gd name="T53" fmla="*/ 571 h 1109"/>
              <a:gd name="T54" fmla="*/ 214 w 1535"/>
              <a:gd name="T55" fmla="*/ 596 h 1109"/>
              <a:gd name="T56" fmla="*/ 193 w 1535"/>
              <a:gd name="T57" fmla="*/ 542 h 1109"/>
              <a:gd name="T58" fmla="*/ 120 w 1535"/>
              <a:gd name="T59" fmla="*/ 474 h 1109"/>
              <a:gd name="T60" fmla="*/ 146 w 1535"/>
              <a:gd name="T61" fmla="*/ 420 h 1109"/>
              <a:gd name="T62" fmla="*/ 89 w 1535"/>
              <a:gd name="T63" fmla="*/ 366 h 1109"/>
              <a:gd name="T64" fmla="*/ 27 w 1535"/>
              <a:gd name="T65" fmla="*/ 307 h 1109"/>
              <a:gd name="T66" fmla="*/ 65 w 1535"/>
              <a:gd name="T67" fmla="*/ 289 h 1109"/>
              <a:gd name="T68" fmla="*/ 64 w 1535"/>
              <a:gd name="T69" fmla="*/ 225 h 1109"/>
              <a:gd name="T70" fmla="*/ 6 w 1535"/>
              <a:gd name="T71" fmla="*/ 117 h 1109"/>
              <a:gd name="T72" fmla="*/ 38 w 1535"/>
              <a:gd name="T73" fmla="*/ 5 h 1109"/>
              <a:gd name="T74" fmla="*/ 211 w 1535"/>
              <a:gd name="T75" fmla="*/ 18 h 1109"/>
              <a:gd name="T76" fmla="*/ 361 w 1535"/>
              <a:gd name="T77" fmla="*/ 76 h 1109"/>
              <a:gd name="T78" fmla="*/ 498 w 1535"/>
              <a:gd name="T79" fmla="*/ 55 h 1109"/>
              <a:gd name="T80" fmla="*/ 593 w 1535"/>
              <a:gd name="T81" fmla="*/ 54 h 1109"/>
              <a:gd name="T82" fmla="*/ 633 w 1535"/>
              <a:gd name="T83" fmla="*/ 110 h 1109"/>
              <a:gd name="T84" fmla="*/ 700 w 1535"/>
              <a:gd name="T85" fmla="*/ 215 h 1109"/>
              <a:gd name="T86" fmla="*/ 750 w 1535"/>
              <a:gd name="T87" fmla="*/ 192 h 1109"/>
              <a:gd name="T88" fmla="*/ 822 w 1535"/>
              <a:gd name="T89" fmla="*/ 176 h 1109"/>
              <a:gd name="T90" fmla="*/ 879 w 1535"/>
              <a:gd name="T91" fmla="*/ 244 h 1109"/>
              <a:gd name="T92" fmla="*/ 905 w 1535"/>
              <a:gd name="T93" fmla="*/ 362 h 1109"/>
              <a:gd name="T94" fmla="*/ 964 w 1535"/>
              <a:gd name="T95" fmla="*/ 405 h 1109"/>
              <a:gd name="T96" fmla="*/ 977 w 1535"/>
              <a:gd name="T97" fmla="*/ 456 h 1109"/>
              <a:gd name="T98" fmla="*/ 931 w 1535"/>
              <a:gd name="T99" fmla="*/ 492 h 1109"/>
              <a:gd name="T100" fmla="*/ 917 w 1535"/>
              <a:gd name="T101" fmla="*/ 634 h 1109"/>
              <a:gd name="T102" fmla="*/ 956 w 1535"/>
              <a:gd name="T103" fmla="*/ 791 h 1109"/>
              <a:gd name="T104" fmla="*/ 1054 w 1535"/>
              <a:gd name="T105" fmla="*/ 877 h 1109"/>
              <a:gd name="T106" fmla="*/ 1166 w 1535"/>
              <a:gd name="T107" fmla="*/ 849 h 1109"/>
              <a:gd name="T108" fmla="*/ 1249 w 1535"/>
              <a:gd name="T109" fmla="*/ 850 h 1109"/>
              <a:gd name="T110" fmla="*/ 1296 w 1535"/>
              <a:gd name="T111" fmla="*/ 742 h 1109"/>
              <a:gd name="T112" fmla="*/ 1336 w 1535"/>
              <a:gd name="T113" fmla="*/ 693 h 1109"/>
              <a:gd name="T114" fmla="*/ 1506 w 1535"/>
              <a:gd name="T115" fmla="*/ 678 h 1109"/>
              <a:gd name="T116" fmla="*/ 1503 w 1535"/>
              <a:gd name="T117" fmla="*/ 729 h 1109"/>
              <a:gd name="T118" fmla="*/ 1468 w 1535"/>
              <a:gd name="T119" fmla="*/ 821 h 1109"/>
              <a:gd name="T120" fmla="*/ 1369 w 1535"/>
              <a:gd name="T121" fmla="*/ 888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250" name="Freeform 194">
            <a:extLst>
              <a:ext uri="{FF2B5EF4-FFF2-40B4-BE49-F238E27FC236}">
                <a16:creationId xmlns="" xmlns:a16="http://schemas.microsoft.com/office/drawing/2014/main" id="{A2041961-4220-477A-90F8-BA8EB26BDAFF}"/>
              </a:ext>
            </a:extLst>
          </p:cNvPr>
          <p:cNvSpPr>
            <a:spLocks/>
          </p:cNvSpPr>
          <p:nvPr>
            <p:custDataLst>
              <p:tags r:id="rId120"/>
            </p:custDataLst>
          </p:nvPr>
        </p:nvSpPr>
        <p:spPr bwMode="auto">
          <a:xfrm>
            <a:off x="2199090" y="5106205"/>
            <a:ext cx="257203" cy="274044"/>
          </a:xfrm>
          <a:custGeom>
            <a:avLst/>
            <a:gdLst>
              <a:gd name="T0" fmla="*/ 14 w 486"/>
              <a:gd name="T1" fmla="*/ 176 h 505"/>
              <a:gd name="T2" fmla="*/ 31 w 486"/>
              <a:gd name="T3" fmla="*/ 198 h 505"/>
              <a:gd name="T4" fmla="*/ 51 w 486"/>
              <a:gd name="T5" fmla="*/ 232 h 505"/>
              <a:gd name="T6" fmla="*/ 82 w 486"/>
              <a:gd name="T7" fmla="*/ 266 h 505"/>
              <a:gd name="T8" fmla="*/ 126 w 486"/>
              <a:gd name="T9" fmla="*/ 293 h 505"/>
              <a:gd name="T10" fmla="*/ 170 w 486"/>
              <a:gd name="T11" fmla="*/ 310 h 505"/>
              <a:gd name="T12" fmla="*/ 246 w 486"/>
              <a:gd name="T13" fmla="*/ 328 h 505"/>
              <a:gd name="T14" fmla="*/ 295 w 486"/>
              <a:gd name="T15" fmla="*/ 344 h 505"/>
              <a:gd name="T16" fmla="*/ 299 w 486"/>
              <a:gd name="T17" fmla="*/ 381 h 505"/>
              <a:gd name="T18" fmla="*/ 277 w 486"/>
              <a:gd name="T19" fmla="*/ 418 h 505"/>
              <a:gd name="T20" fmla="*/ 267 w 486"/>
              <a:gd name="T21" fmla="*/ 443 h 505"/>
              <a:gd name="T22" fmla="*/ 266 w 486"/>
              <a:gd name="T23" fmla="*/ 463 h 505"/>
              <a:gd name="T24" fmla="*/ 278 w 486"/>
              <a:gd name="T25" fmla="*/ 482 h 505"/>
              <a:gd name="T26" fmla="*/ 299 w 486"/>
              <a:gd name="T27" fmla="*/ 494 h 505"/>
              <a:gd name="T28" fmla="*/ 344 w 486"/>
              <a:gd name="T29" fmla="*/ 504 h 505"/>
              <a:gd name="T30" fmla="*/ 387 w 486"/>
              <a:gd name="T31" fmla="*/ 504 h 505"/>
              <a:gd name="T32" fmla="*/ 415 w 486"/>
              <a:gd name="T33" fmla="*/ 494 h 505"/>
              <a:gd name="T34" fmla="*/ 446 w 486"/>
              <a:gd name="T35" fmla="*/ 474 h 505"/>
              <a:gd name="T36" fmla="*/ 473 w 486"/>
              <a:gd name="T37" fmla="*/ 447 h 505"/>
              <a:gd name="T38" fmla="*/ 485 w 486"/>
              <a:gd name="T39" fmla="*/ 418 h 505"/>
              <a:gd name="T40" fmla="*/ 484 w 486"/>
              <a:gd name="T41" fmla="*/ 397 h 505"/>
              <a:gd name="T42" fmla="*/ 478 w 486"/>
              <a:gd name="T43" fmla="*/ 358 h 505"/>
              <a:gd name="T44" fmla="*/ 471 w 486"/>
              <a:gd name="T45" fmla="*/ 316 h 505"/>
              <a:gd name="T46" fmla="*/ 465 w 486"/>
              <a:gd name="T47" fmla="*/ 270 h 505"/>
              <a:gd name="T48" fmla="*/ 456 w 486"/>
              <a:gd name="T49" fmla="*/ 252 h 505"/>
              <a:gd name="T50" fmla="*/ 439 w 486"/>
              <a:gd name="T51" fmla="*/ 239 h 505"/>
              <a:gd name="T52" fmla="*/ 413 w 486"/>
              <a:gd name="T53" fmla="*/ 232 h 505"/>
              <a:gd name="T54" fmla="*/ 392 w 486"/>
              <a:gd name="T55" fmla="*/ 222 h 505"/>
              <a:gd name="T56" fmla="*/ 370 w 486"/>
              <a:gd name="T57" fmla="*/ 207 h 505"/>
              <a:gd name="T58" fmla="*/ 330 w 486"/>
              <a:gd name="T59" fmla="*/ 188 h 505"/>
              <a:gd name="T60" fmla="*/ 290 w 486"/>
              <a:gd name="T61" fmla="*/ 172 h 505"/>
              <a:gd name="T62" fmla="*/ 273 w 486"/>
              <a:gd name="T63" fmla="*/ 160 h 505"/>
              <a:gd name="T64" fmla="*/ 264 w 486"/>
              <a:gd name="T65" fmla="*/ 151 h 505"/>
              <a:gd name="T66" fmla="*/ 261 w 486"/>
              <a:gd name="T67" fmla="*/ 125 h 505"/>
              <a:gd name="T68" fmla="*/ 261 w 486"/>
              <a:gd name="T69" fmla="*/ 90 h 505"/>
              <a:gd name="T70" fmla="*/ 255 w 486"/>
              <a:gd name="T71" fmla="*/ 71 h 505"/>
              <a:gd name="T72" fmla="*/ 241 w 486"/>
              <a:gd name="T73" fmla="*/ 55 h 505"/>
              <a:gd name="T74" fmla="*/ 234 w 486"/>
              <a:gd name="T75" fmla="*/ 37 h 505"/>
              <a:gd name="T76" fmla="*/ 199 w 486"/>
              <a:gd name="T77" fmla="*/ 12 h 505"/>
              <a:gd name="T78" fmla="*/ 186 w 486"/>
              <a:gd name="T79" fmla="*/ 8 h 505"/>
              <a:gd name="T80" fmla="*/ 173 w 486"/>
              <a:gd name="T81" fmla="*/ 2 h 505"/>
              <a:gd name="T82" fmla="*/ 139 w 486"/>
              <a:gd name="T83" fmla="*/ 1 h 505"/>
              <a:gd name="T84" fmla="*/ 70 w 486"/>
              <a:gd name="T85" fmla="*/ 11 h 505"/>
              <a:gd name="T86" fmla="*/ 42 w 486"/>
              <a:gd name="T87" fmla="*/ 21 h 505"/>
              <a:gd name="T88" fmla="*/ 24 w 486"/>
              <a:gd name="T89" fmla="*/ 37 h 505"/>
              <a:gd name="T90" fmla="*/ 20 w 486"/>
              <a:gd name="T91" fmla="*/ 6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251" name="Freeform 195">
            <a:extLst>
              <a:ext uri="{FF2B5EF4-FFF2-40B4-BE49-F238E27FC236}">
                <a16:creationId xmlns="" xmlns:a16="http://schemas.microsoft.com/office/drawing/2014/main" id="{8A253903-9B75-4106-AAFC-42636BDE1A7E}"/>
              </a:ext>
            </a:extLst>
          </p:cNvPr>
          <p:cNvSpPr>
            <a:spLocks/>
          </p:cNvSpPr>
          <p:nvPr>
            <p:custDataLst>
              <p:tags r:id="rId121"/>
            </p:custDataLst>
          </p:nvPr>
        </p:nvSpPr>
        <p:spPr bwMode="auto">
          <a:xfrm>
            <a:off x="2406013" y="4284077"/>
            <a:ext cx="88957" cy="113227"/>
          </a:xfrm>
          <a:custGeom>
            <a:avLst/>
            <a:gdLst>
              <a:gd name="T0" fmla="*/ 7 w 166"/>
              <a:gd name="T1" fmla="*/ 183 h 208"/>
              <a:gd name="T2" fmla="*/ 79 w 166"/>
              <a:gd name="T3" fmla="*/ 208 h 208"/>
              <a:gd name="T4" fmla="*/ 85 w 166"/>
              <a:gd name="T5" fmla="*/ 207 h 208"/>
              <a:gd name="T6" fmla="*/ 90 w 166"/>
              <a:gd name="T7" fmla="*/ 204 h 208"/>
              <a:gd name="T8" fmla="*/ 97 w 166"/>
              <a:gd name="T9" fmla="*/ 198 h 208"/>
              <a:gd name="T10" fmla="*/ 104 w 166"/>
              <a:gd name="T11" fmla="*/ 192 h 208"/>
              <a:gd name="T12" fmla="*/ 117 w 166"/>
              <a:gd name="T13" fmla="*/ 176 h 208"/>
              <a:gd name="T14" fmla="*/ 130 w 166"/>
              <a:gd name="T15" fmla="*/ 158 h 208"/>
              <a:gd name="T16" fmla="*/ 154 w 166"/>
              <a:gd name="T17" fmla="*/ 122 h 208"/>
              <a:gd name="T18" fmla="*/ 166 w 166"/>
              <a:gd name="T19" fmla="*/ 103 h 208"/>
              <a:gd name="T20" fmla="*/ 144 w 166"/>
              <a:gd name="T21" fmla="*/ 94 h 208"/>
              <a:gd name="T22" fmla="*/ 126 w 166"/>
              <a:gd name="T23" fmla="*/ 84 h 208"/>
              <a:gd name="T24" fmla="*/ 108 w 166"/>
              <a:gd name="T25" fmla="*/ 74 h 208"/>
              <a:gd name="T26" fmla="*/ 93 w 166"/>
              <a:gd name="T27" fmla="*/ 64 h 208"/>
              <a:gd name="T28" fmla="*/ 86 w 166"/>
              <a:gd name="T29" fmla="*/ 58 h 208"/>
              <a:gd name="T30" fmla="*/ 81 w 166"/>
              <a:gd name="T31" fmla="*/ 53 h 208"/>
              <a:gd name="T32" fmla="*/ 75 w 166"/>
              <a:gd name="T33" fmla="*/ 47 h 208"/>
              <a:gd name="T34" fmla="*/ 71 w 166"/>
              <a:gd name="T35" fmla="*/ 40 h 208"/>
              <a:gd name="T36" fmla="*/ 67 w 166"/>
              <a:gd name="T37" fmla="*/ 33 h 208"/>
              <a:gd name="T38" fmla="*/ 64 w 166"/>
              <a:gd name="T39" fmla="*/ 26 h 208"/>
              <a:gd name="T40" fmla="*/ 62 w 166"/>
              <a:gd name="T41" fmla="*/ 18 h 208"/>
              <a:gd name="T42" fmla="*/ 60 w 166"/>
              <a:gd name="T43" fmla="*/ 11 h 208"/>
              <a:gd name="T44" fmla="*/ 50 w 166"/>
              <a:gd name="T45" fmla="*/ 10 h 208"/>
              <a:gd name="T46" fmla="*/ 43 w 166"/>
              <a:gd name="T47" fmla="*/ 8 h 208"/>
              <a:gd name="T48" fmla="*/ 40 w 166"/>
              <a:gd name="T49" fmla="*/ 5 h 208"/>
              <a:gd name="T50" fmla="*/ 39 w 166"/>
              <a:gd name="T51" fmla="*/ 3 h 208"/>
              <a:gd name="T52" fmla="*/ 38 w 166"/>
              <a:gd name="T53" fmla="*/ 1 h 208"/>
              <a:gd name="T54" fmla="*/ 36 w 166"/>
              <a:gd name="T55" fmla="*/ 0 h 208"/>
              <a:gd name="T56" fmla="*/ 32 w 166"/>
              <a:gd name="T57" fmla="*/ 1 h 208"/>
              <a:gd name="T58" fmla="*/ 27 w 166"/>
              <a:gd name="T59" fmla="*/ 5 h 208"/>
              <a:gd name="T60" fmla="*/ 20 w 166"/>
              <a:gd name="T61" fmla="*/ 11 h 208"/>
              <a:gd name="T62" fmla="*/ 11 w 166"/>
              <a:gd name="T63" fmla="*/ 22 h 208"/>
              <a:gd name="T64" fmla="*/ 7 w 166"/>
              <a:gd name="T65" fmla="*/ 29 h 208"/>
              <a:gd name="T66" fmla="*/ 4 w 166"/>
              <a:gd name="T67" fmla="*/ 37 h 208"/>
              <a:gd name="T68" fmla="*/ 2 w 166"/>
              <a:gd name="T69" fmla="*/ 45 h 208"/>
              <a:gd name="T70" fmla="*/ 0 w 166"/>
              <a:gd name="T71" fmla="*/ 54 h 208"/>
              <a:gd name="T72" fmla="*/ 0 w 166"/>
              <a:gd name="T73" fmla="*/ 60 h 208"/>
              <a:gd name="T74" fmla="*/ 2 w 166"/>
              <a:gd name="T75" fmla="*/ 65 h 208"/>
              <a:gd name="T76" fmla="*/ 3 w 166"/>
              <a:gd name="T77" fmla="*/ 70 h 208"/>
              <a:gd name="T78" fmla="*/ 5 w 166"/>
              <a:gd name="T79" fmla="*/ 76 h 208"/>
              <a:gd name="T80" fmla="*/ 10 w 166"/>
              <a:gd name="T81" fmla="*/ 86 h 208"/>
              <a:gd name="T82" fmla="*/ 17 w 166"/>
              <a:gd name="T83" fmla="*/ 98 h 208"/>
              <a:gd name="T84" fmla="*/ 22 w 166"/>
              <a:gd name="T85" fmla="*/ 109 h 208"/>
              <a:gd name="T86" fmla="*/ 28 w 166"/>
              <a:gd name="T87" fmla="*/ 120 h 208"/>
              <a:gd name="T88" fmla="*/ 30 w 166"/>
              <a:gd name="T89" fmla="*/ 126 h 208"/>
              <a:gd name="T90" fmla="*/ 32 w 166"/>
              <a:gd name="T91" fmla="*/ 133 h 208"/>
              <a:gd name="T92" fmla="*/ 33 w 166"/>
              <a:gd name="T93" fmla="*/ 139 h 208"/>
              <a:gd name="T94" fmla="*/ 33 w 166"/>
              <a:gd name="T95" fmla="*/ 147 h 208"/>
              <a:gd name="T96" fmla="*/ 32 w 166"/>
              <a:gd name="T97" fmla="*/ 153 h 208"/>
              <a:gd name="T98" fmla="*/ 31 w 166"/>
              <a:gd name="T99" fmla="*/ 159 h 208"/>
              <a:gd name="T100" fmla="*/ 28 w 166"/>
              <a:gd name="T101" fmla="*/ 165 h 208"/>
              <a:gd name="T102" fmla="*/ 25 w 166"/>
              <a:gd name="T103" fmla="*/ 169 h 208"/>
              <a:gd name="T104" fmla="*/ 21 w 166"/>
              <a:gd name="T105" fmla="*/ 174 h 208"/>
              <a:gd name="T106" fmla="*/ 17 w 166"/>
              <a:gd name="T107" fmla="*/ 177 h 208"/>
              <a:gd name="T108" fmla="*/ 11 w 166"/>
              <a:gd name="T109" fmla="*/ 180 h 208"/>
              <a:gd name="T110" fmla="*/ 7 w 166"/>
              <a:gd name="T111" fmla="*/ 183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252" name="Freeform 196">
            <a:extLst>
              <a:ext uri="{FF2B5EF4-FFF2-40B4-BE49-F238E27FC236}">
                <a16:creationId xmlns="" xmlns:a16="http://schemas.microsoft.com/office/drawing/2014/main" id="{6790AE78-E03F-4AEE-AA7D-4AC1B71F8265}"/>
              </a:ext>
            </a:extLst>
          </p:cNvPr>
          <p:cNvSpPr>
            <a:spLocks/>
          </p:cNvSpPr>
          <p:nvPr>
            <p:custDataLst>
              <p:tags r:id="rId122"/>
            </p:custDataLst>
          </p:nvPr>
        </p:nvSpPr>
        <p:spPr bwMode="auto">
          <a:xfrm>
            <a:off x="1814254" y="3827886"/>
            <a:ext cx="85089" cy="60715"/>
          </a:xfrm>
          <a:custGeom>
            <a:avLst/>
            <a:gdLst>
              <a:gd name="T0" fmla="*/ 153 w 164"/>
              <a:gd name="T1" fmla="*/ 104 h 104"/>
              <a:gd name="T2" fmla="*/ 134 w 164"/>
              <a:gd name="T3" fmla="*/ 102 h 104"/>
              <a:gd name="T4" fmla="*/ 110 w 164"/>
              <a:gd name="T5" fmla="*/ 97 h 104"/>
              <a:gd name="T6" fmla="*/ 96 w 164"/>
              <a:gd name="T7" fmla="*/ 94 h 104"/>
              <a:gd name="T8" fmla="*/ 80 w 164"/>
              <a:gd name="T9" fmla="*/ 93 h 104"/>
              <a:gd name="T10" fmla="*/ 73 w 164"/>
              <a:gd name="T11" fmla="*/ 93 h 104"/>
              <a:gd name="T12" fmla="*/ 64 w 164"/>
              <a:gd name="T13" fmla="*/ 94 h 104"/>
              <a:gd name="T14" fmla="*/ 55 w 164"/>
              <a:gd name="T15" fmla="*/ 96 h 104"/>
              <a:gd name="T16" fmla="*/ 47 w 164"/>
              <a:gd name="T17" fmla="*/ 98 h 104"/>
              <a:gd name="T18" fmla="*/ 41 w 164"/>
              <a:gd name="T19" fmla="*/ 100 h 104"/>
              <a:gd name="T20" fmla="*/ 34 w 164"/>
              <a:gd name="T21" fmla="*/ 100 h 104"/>
              <a:gd name="T22" fmla="*/ 27 w 164"/>
              <a:gd name="T23" fmla="*/ 99 h 104"/>
              <a:gd name="T24" fmla="*/ 19 w 164"/>
              <a:gd name="T25" fmla="*/ 96 h 104"/>
              <a:gd name="T26" fmla="*/ 11 w 164"/>
              <a:gd name="T27" fmla="*/ 92 h 104"/>
              <a:gd name="T28" fmla="*/ 6 w 164"/>
              <a:gd name="T29" fmla="*/ 88 h 104"/>
              <a:gd name="T30" fmla="*/ 3 w 164"/>
              <a:gd name="T31" fmla="*/ 86 h 104"/>
              <a:gd name="T32" fmla="*/ 1 w 164"/>
              <a:gd name="T33" fmla="*/ 84 h 104"/>
              <a:gd name="T34" fmla="*/ 0 w 164"/>
              <a:gd name="T35" fmla="*/ 81 h 104"/>
              <a:gd name="T36" fmla="*/ 0 w 164"/>
              <a:gd name="T37" fmla="*/ 79 h 104"/>
              <a:gd name="T38" fmla="*/ 0 w 164"/>
              <a:gd name="T39" fmla="*/ 76 h 104"/>
              <a:gd name="T40" fmla="*/ 1 w 164"/>
              <a:gd name="T41" fmla="*/ 74 h 104"/>
              <a:gd name="T42" fmla="*/ 3 w 164"/>
              <a:gd name="T43" fmla="*/ 71 h 104"/>
              <a:gd name="T44" fmla="*/ 6 w 164"/>
              <a:gd name="T45" fmla="*/ 70 h 104"/>
              <a:gd name="T46" fmla="*/ 12 w 164"/>
              <a:gd name="T47" fmla="*/ 67 h 104"/>
              <a:gd name="T48" fmla="*/ 20 w 164"/>
              <a:gd name="T49" fmla="*/ 66 h 104"/>
              <a:gd name="T50" fmla="*/ 40 w 164"/>
              <a:gd name="T51" fmla="*/ 66 h 104"/>
              <a:gd name="T52" fmla="*/ 61 w 164"/>
              <a:gd name="T53" fmla="*/ 67 h 104"/>
              <a:gd name="T54" fmla="*/ 70 w 164"/>
              <a:gd name="T55" fmla="*/ 67 h 104"/>
              <a:gd name="T56" fmla="*/ 79 w 164"/>
              <a:gd name="T57" fmla="*/ 67 h 104"/>
              <a:gd name="T58" fmla="*/ 87 w 164"/>
              <a:gd name="T59" fmla="*/ 67 h 104"/>
              <a:gd name="T60" fmla="*/ 94 w 164"/>
              <a:gd name="T61" fmla="*/ 67 h 104"/>
              <a:gd name="T62" fmla="*/ 94 w 164"/>
              <a:gd name="T63" fmla="*/ 56 h 104"/>
              <a:gd name="T64" fmla="*/ 94 w 164"/>
              <a:gd name="T65" fmla="*/ 43 h 104"/>
              <a:gd name="T66" fmla="*/ 94 w 164"/>
              <a:gd name="T67" fmla="*/ 29 h 104"/>
              <a:gd name="T68" fmla="*/ 94 w 164"/>
              <a:gd name="T69" fmla="*/ 18 h 104"/>
              <a:gd name="T70" fmla="*/ 79 w 164"/>
              <a:gd name="T71" fmla="*/ 17 h 104"/>
              <a:gd name="T72" fmla="*/ 67 w 164"/>
              <a:gd name="T73" fmla="*/ 15 h 104"/>
              <a:gd name="T74" fmla="*/ 62 w 164"/>
              <a:gd name="T75" fmla="*/ 13 h 104"/>
              <a:gd name="T76" fmla="*/ 57 w 164"/>
              <a:gd name="T77" fmla="*/ 10 h 104"/>
              <a:gd name="T78" fmla="*/ 52 w 164"/>
              <a:gd name="T79" fmla="*/ 6 h 104"/>
              <a:gd name="T80" fmla="*/ 47 w 164"/>
              <a:gd name="T81" fmla="*/ 0 h 104"/>
              <a:gd name="T82" fmla="*/ 146 w 164"/>
              <a:gd name="T83" fmla="*/ 0 h 104"/>
              <a:gd name="T84" fmla="*/ 147 w 164"/>
              <a:gd name="T85" fmla="*/ 6 h 104"/>
              <a:gd name="T86" fmla="*/ 148 w 164"/>
              <a:gd name="T87" fmla="*/ 13 h 104"/>
              <a:gd name="T88" fmla="*/ 150 w 164"/>
              <a:gd name="T89" fmla="*/ 19 h 104"/>
              <a:gd name="T90" fmla="*/ 152 w 164"/>
              <a:gd name="T91" fmla="*/ 25 h 104"/>
              <a:gd name="T92" fmla="*/ 156 w 164"/>
              <a:gd name="T93" fmla="*/ 35 h 104"/>
              <a:gd name="T94" fmla="*/ 159 w 164"/>
              <a:gd name="T95" fmla="*/ 46 h 104"/>
              <a:gd name="T96" fmla="*/ 163 w 164"/>
              <a:gd name="T97" fmla="*/ 54 h 104"/>
              <a:gd name="T98" fmla="*/ 164 w 164"/>
              <a:gd name="T99" fmla="*/ 62 h 104"/>
              <a:gd name="T100" fmla="*/ 163 w 164"/>
              <a:gd name="T101" fmla="*/ 65 h 104"/>
              <a:gd name="T102" fmla="*/ 160 w 164"/>
              <a:gd name="T103" fmla="*/ 68 h 104"/>
              <a:gd name="T104" fmla="*/ 157 w 164"/>
              <a:gd name="T105" fmla="*/ 71 h 104"/>
              <a:gd name="T106" fmla="*/ 153 w 164"/>
              <a:gd name="T107" fmla="*/ 73 h 104"/>
              <a:gd name="T108" fmla="*/ 153 w 164"/>
              <a:gd name="T10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53" name="Freeform 197">
            <a:extLst>
              <a:ext uri="{FF2B5EF4-FFF2-40B4-BE49-F238E27FC236}">
                <a16:creationId xmlns="" xmlns:a16="http://schemas.microsoft.com/office/drawing/2014/main" id="{077FDA58-6676-4402-AE99-A4C9CAA5CFF0}"/>
              </a:ext>
            </a:extLst>
          </p:cNvPr>
          <p:cNvSpPr>
            <a:spLocks/>
          </p:cNvSpPr>
          <p:nvPr>
            <p:custDataLst>
              <p:tags r:id="rId123"/>
            </p:custDataLst>
          </p:nvPr>
        </p:nvSpPr>
        <p:spPr bwMode="auto">
          <a:xfrm>
            <a:off x="2260974" y="6261451"/>
            <a:ext cx="29009" cy="59076"/>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54" name="Freeform 198">
            <a:extLst>
              <a:ext uri="{FF2B5EF4-FFF2-40B4-BE49-F238E27FC236}">
                <a16:creationId xmlns="" xmlns:a16="http://schemas.microsoft.com/office/drawing/2014/main" id="{82C5F5F5-72E6-42D6-B396-4745859580BE}"/>
              </a:ext>
            </a:extLst>
          </p:cNvPr>
          <p:cNvSpPr>
            <a:spLocks/>
          </p:cNvSpPr>
          <p:nvPr>
            <p:custDataLst>
              <p:tags r:id="rId124"/>
            </p:custDataLst>
          </p:nvPr>
        </p:nvSpPr>
        <p:spPr bwMode="auto">
          <a:xfrm>
            <a:off x="2218429" y="6240120"/>
            <a:ext cx="42544" cy="60715"/>
          </a:xfrm>
          <a:custGeom>
            <a:avLst/>
            <a:gdLst>
              <a:gd name="T0" fmla="*/ 0 w 80"/>
              <a:gd name="T1" fmla="*/ 0 h 18"/>
              <a:gd name="T2" fmla="*/ 1 w 80"/>
              <a:gd name="T3" fmla="*/ 6 h 18"/>
              <a:gd name="T4" fmla="*/ 5 w 80"/>
              <a:gd name="T5" fmla="*/ 12 h 18"/>
              <a:gd name="T6" fmla="*/ 8 w 80"/>
              <a:gd name="T7" fmla="*/ 14 h 18"/>
              <a:gd name="T8" fmla="*/ 11 w 80"/>
              <a:gd name="T9" fmla="*/ 16 h 18"/>
              <a:gd name="T10" fmla="*/ 15 w 80"/>
              <a:gd name="T11" fmla="*/ 18 h 18"/>
              <a:gd name="T12" fmla="*/ 20 w 80"/>
              <a:gd name="T13" fmla="*/ 18 h 18"/>
              <a:gd name="T14" fmla="*/ 22 w 80"/>
              <a:gd name="T15" fmla="*/ 15 h 18"/>
              <a:gd name="T16" fmla="*/ 24 w 80"/>
              <a:gd name="T17" fmla="*/ 13 h 18"/>
              <a:gd name="T18" fmla="*/ 26 w 80"/>
              <a:gd name="T19" fmla="*/ 11 h 18"/>
              <a:gd name="T20" fmla="*/ 31 w 80"/>
              <a:gd name="T21" fmla="*/ 10 h 18"/>
              <a:gd name="T22" fmla="*/ 38 w 80"/>
              <a:gd name="T23" fmla="*/ 8 h 18"/>
              <a:gd name="T24" fmla="*/ 47 w 80"/>
              <a:gd name="T25" fmla="*/ 7 h 18"/>
              <a:gd name="T26" fmla="*/ 57 w 80"/>
              <a:gd name="T27" fmla="*/ 7 h 18"/>
              <a:gd name="T28" fmla="*/ 66 w 80"/>
              <a:gd name="T29" fmla="*/ 6 h 18"/>
              <a:gd name="T30" fmla="*/ 70 w 80"/>
              <a:gd name="T31" fmla="*/ 5 h 18"/>
              <a:gd name="T32" fmla="*/ 74 w 80"/>
              <a:gd name="T33" fmla="*/ 4 h 18"/>
              <a:gd name="T34" fmla="*/ 77 w 80"/>
              <a:gd name="T35" fmla="*/ 2 h 18"/>
              <a:gd name="T36" fmla="*/ 80 w 80"/>
              <a:gd name="T37" fmla="*/ 0 h 18"/>
              <a:gd name="T38" fmla="*/ 0 w 80"/>
              <a:gd name="T3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55" name="Freeform 199">
            <a:extLst>
              <a:ext uri="{FF2B5EF4-FFF2-40B4-BE49-F238E27FC236}">
                <a16:creationId xmlns="" xmlns:a16="http://schemas.microsoft.com/office/drawing/2014/main" id="{F527B6A2-222A-4303-984F-4A21A78833DC}"/>
              </a:ext>
            </a:extLst>
          </p:cNvPr>
          <p:cNvSpPr>
            <a:spLocks/>
          </p:cNvSpPr>
          <p:nvPr>
            <p:custDataLst>
              <p:tags r:id="rId125"/>
            </p:custDataLst>
          </p:nvPr>
        </p:nvSpPr>
        <p:spPr bwMode="auto">
          <a:xfrm>
            <a:off x="2218429" y="6218787"/>
            <a:ext cx="27074" cy="62357"/>
          </a:xfrm>
          <a:custGeom>
            <a:avLst/>
            <a:gdLst>
              <a:gd name="T0" fmla="*/ 20 w 46"/>
              <a:gd name="T1" fmla="*/ 0 h 27"/>
              <a:gd name="T2" fmla="*/ 0 w 46"/>
              <a:gd name="T3" fmla="*/ 18 h 27"/>
              <a:gd name="T4" fmla="*/ 9 w 46"/>
              <a:gd name="T5" fmla="*/ 22 h 27"/>
              <a:gd name="T6" fmla="*/ 16 w 46"/>
              <a:gd name="T7" fmla="*/ 25 h 27"/>
              <a:gd name="T8" fmla="*/ 23 w 46"/>
              <a:gd name="T9" fmla="*/ 27 h 27"/>
              <a:gd name="T10" fmla="*/ 29 w 46"/>
              <a:gd name="T11" fmla="*/ 27 h 27"/>
              <a:gd name="T12" fmla="*/ 33 w 46"/>
              <a:gd name="T13" fmla="*/ 27 h 27"/>
              <a:gd name="T14" fmla="*/ 37 w 46"/>
              <a:gd name="T15" fmla="*/ 25 h 27"/>
              <a:gd name="T16" fmla="*/ 42 w 46"/>
              <a:gd name="T17" fmla="*/ 22 h 27"/>
              <a:gd name="T18" fmla="*/ 46 w 46"/>
              <a:gd name="T19" fmla="*/ 18 h 27"/>
              <a:gd name="T20" fmla="*/ 41 w 46"/>
              <a:gd name="T21" fmla="*/ 16 h 27"/>
              <a:gd name="T22" fmla="*/ 33 w 46"/>
              <a:gd name="T23" fmla="*/ 11 h 27"/>
              <a:gd name="T24" fmla="*/ 26 w 46"/>
              <a:gd name="T25" fmla="*/ 5 h 27"/>
              <a:gd name="T26" fmla="*/ 20 w 46"/>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56" name="Freeform 200">
            <a:extLst>
              <a:ext uri="{FF2B5EF4-FFF2-40B4-BE49-F238E27FC236}">
                <a16:creationId xmlns="" xmlns:a16="http://schemas.microsoft.com/office/drawing/2014/main" id="{DABEEE51-A260-4334-BA0E-90F3CCC94306}"/>
              </a:ext>
            </a:extLst>
          </p:cNvPr>
          <p:cNvSpPr>
            <a:spLocks/>
          </p:cNvSpPr>
          <p:nvPr>
            <p:custDataLst>
              <p:tags r:id="rId126"/>
            </p:custDataLst>
          </p:nvPr>
        </p:nvSpPr>
        <p:spPr bwMode="auto">
          <a:xfrm>
            <a:off x="2181686" y="6212223"/>
            <a:ext cx="30942" cy="62357"/>
          </a:xfrm>
          <a:custGeom>
            <a:avLst/>
            <a:gdLst>
              <a:gd name="T0" fmla="*/ 34 w 54"/>
              <a:gd name="T1" fmla="*/ 0 h 39"/>
              <a:gd name="T2" fmla="*/ 20 w 54"/>
              <a:gd name="T3" fmla="*/ 4 h 39"/>
              <a:gd name="T4" fmla="*/ 10 w 54"/>
              <a:gd name="T5" fmla="*/ 10 h 39"/>
              <a:gd name="T6" fmla="*/ 6 w 54"/>
              <a:gd name="T7" fmla="*/ 13 h 39"/>
              <a:gd name="T8" fmla="*/ 4 w 54"/>
              <a:gd name="T9" fmla="*/ 16 h 39"/>
              <a:gd name="T10" fmla="*/ 2 w 54"/>
              <a:gd name="T11" fmla="*/ 20 h 39"/>
              <a:gd name="T12" fmla="*/ 0 w 54"/>
              <a:gd name="T13" fmla="*/ 24 h 39"/>
              <a:gd name="T14" fmla="*/ 2 w 54"/>
              <a:gd name="T15" fmla="*/ 28 h 39"/>
              <a:gd name="T16" fmla="*/ 3 w 54"/>
              <a:gd name="T17" fmla="*/ 32 h 39"/>
              <a:gd name="T18" fmla="*/ 5 w 54"/>
              <a:gd name="T19" fmla="*/ 35 h 39"/>
              <a:gd name="T20" fmla="*/ 8 w 54"/>
              <a:gd name="T21" fmla="*/ 37 h 39"/>
              <a:gd name="T22" fmla="*/ 11 w 54"/>
              <a:gd name="T23" fmla="*/ 38 h 39"/>
              <a:gd name="T24" fmla="*/ 16 w 54"/>
              <a:gd name="T25" fmla="*/ 39 h 39"/>
              <a:gd name="T26" fmla="*/ 20 w 54"/>
              <a:gd name="T27" fmla="*/ 39 h 39"/>
              <a:gd name="T28" fmla="*/ 25 w 54"/>
              <a:gd name="T29" fmla="*/ 39 h 39"/>
              <a:gd name="T30" fmla="*/ 30 w 54"/>
              <a:gd name="T31" fmla="*/ 38 h 39"/>
              <a:gd name="T32" fmla="*/ 34 w 54"/>
              <a:gd name="T33" fmla="*/ 37 h 39"/>
              <a:gd name="T34" fmla="*/ 39 w 54"/>
              <a:gd name="T35" fmla="*/ 35 h 39"/>
              <a:gd name="T36" fmla="*/ 43 w 54"/>
              <a:gd name="T37" fmla="*/ 33 h 39"/>
              <a:gd name="T38" fmla="*/ 47 w 54"/>
              <a:gd name="T39" fmla="*/ 30 h 39"/>
              <a:gd name="T40" fmla="*/ 50 w 54"/>
              <a:gd name="T41" fmla="*/ 26 h 39"/>
              <a:gd name="T42" fmla="*/ 52 w 54"/>
              <a:gd name="T43" fmla="*/ 22 h 39"/>
              <a:gd name="T44" fmla="*/ 54 w 54"/>
              <a:gd name="T45" fmla="*/ 18 h 39"/>
              <a:gd name="T46" fmla="*/ 51 w 54"/>
              <a:gd name="T47" fmla="*/ 17 h 39"/>
              <a:gd name="T48" fmla="*/ 48 w 54"/>
              <a:gd name="T49" fmla="*/ 16 h 39"/>
              <a:gd name="T50" fmla="*/ 44 w 54"/>
              <a:gd name="T51" fmla="*/ 14 h 39"/>
              <a:gd name="T52" fmla="*/ 42 w 54"/>
              <a:gd name="T53" fmla="*/ 11 h 39"/>
              <a:gd name="T54" fmla="*/ 39 w 54"/>
              <a:gd name="T55" fmla="*/ 8 h 39"/>
              <a:gd name="T56" fmla="*/ 37 w 54"/>
              <a:gd name="T57" fmla="*/ 5 h 39"/>
              <a:gd name="T58" fmla="*/ 34 w 54"/>
              <a:gd name="T59" fmla="*/ 2 h 39"/>
              <a:gd name="T60" fmla="*/ 34 w 54"/>
              <a:gd name="T6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57" name="Freeform 201">
            <a:extLst>
              <a:ext uri="{FF2B5EF4-FFF2-40B4-BE49-F238E27FC236}">
                <a16:creationId xmlns="" xmlns:a16="http://schemas.microsoft.com/office/drawing/2014/main" id="{17BAFD30-2033-4835-9136-3BA025E09F44}"/>
              </a:ext>
            </a:extLst>
          </p:cNvPr>
          <p:cNvSpPr>
            <a:spLocks/>
          </p:cNvSpPr>
          <p:nvPr>
            <p:custDataLst>
              <p:tags r:id="rId127"/>
            </p:custDataLst>
          </p:nvPr>
        </p:nvSpPr>
        <p:spPr bwMode="auto">
          <a:xfrm>
            <a:off x="2150744" y="6202377"/>
            <a:ext cx="34809" cy="60716"/>
          </a:xfrm>
          <a:custGeom>
            <a:avLst/>
            <a:gdLst>
              <a:gd name="T0" fmla="*/ 0 w 60"/>
              <a:gd name="T1" fmla="*/ 11 h 15"/>
              <a:gd name="T2" fmla="*/ 10 w 60"/>
              <a:gd name="T3" fmla="*/ 13 h 15"/>
              <a:gd name="T4" fmla="*/ 18 w 60"/>
              <a:gd name="T5" fmla="*/ 14 h 15"/>
              <a:gd name="T6" fmla="*/ 27 w 60"/>
              <a:gd name="T7" fmla="*/ 15 h 15"/>
              <a:gd name="T8" fmla="*/ 35 w 60"/>
              <a:gd name="T9" fmla="*/ 15 h 15"/>
              <a:gd name="T10" fmla="*/ 41 w 60"/>
              <a:gd name="T11" fmla="*/ 14 h 15"/>
              <a:gd name="T12" fmla="*/ 48 w 60"/>
              <a:gd name="T13" fmla="*/ 12 h 15"/>
              <a:gd name="T14" fmla="*/ 55 w 60"/>
              <a:gd name="T15" fmla="*/ 9 h 15"/>
              <a:gd name="T16" fmla="*/ 60 w 60"/>
              <a:gd name="T17" fmla="*/ 5 h 15"/>
              <a:gd name="T18" fmla="*/ 57 w 60"/>
              <a:gd name="T19" fmla="*/ 3 h 15"/>
              <a:gd name="T20" fmla="*/ 54 w 60"/>
              <a:gd name="T21" fmla="*/ 0 h 15"/>
              <a:gd name="T22" fmla="*/ 51 w 60"/>
              <a:gd name="T23" fmla="*/ 0 h 15"/>
              <a:gd name="T24" fmla="*/ 47 w 60"/>
              <a:gd name="T25" fmla="*/ 0 h 15"/>
              <a:gd name="T26" fmla="*/ 40 w 60"/>
              <a:gd name="T27" fmla="*/ 0 h 15"/>
              <a:gd name="T28" fmla="*/ 33 w 60"/>
              <a:gd name="T29" fmla="*/ 3 h 15"/>
              <a:gd name="T30" fmla="*/ 24 w 60"/>
              <a:gd name="T31" fmla="*/ 6 h 15"/>
              <a:gd name="T32" fmla="*/ 16 w 60"/>
              <a:gd name="T33" fmla="*/ 8 h 15"/>
              <a:gd name="T34" fmla="*/ 7 w 60"/>
              <a:gd name="T35" fmla="*/ 10 h 15"/>
              <a:gd name="T36" fmla="*/ 0 w 60"/>
              <a:gd name="T37"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58" name="Freeform 202">
            <a:extLst>
              <a:ext uri="{FF2B5EF4-FFF2-40B4-BE49-F238E27FC236}">
                <a16:creationId xmlns="" xmlns:a16="http://schemas.microsoft.com/office/drawing/2014/main" id="{C9D9CC56-5840-4A51-B7A6-5693B68FA16A}"/>
              </a:ext>
            </a:extLst>
          </p:cNvPr>
          <p:cNvSpPr>
            <a:spLocks/>
          </p:cNvSpPr>
          <p:nvPr>
            <p:custDataLst>
              <p:tags r:id="rId128"/>
            </p:custDataLst>
          </p:nvPr>
        </p:nvSpPr>
        <p:spPr bwMode="auto">
          <a:xfrm>
            <a:off x="2121736" y="6189249"/>
            <a:ext cx="40611" cy="59076"/>
          </a:xfrm>
          <a:custGeom>
            <a:avLst/>
            <a:gdLst>
              <a:gd name="T0" fmla="*/ 40 w 79"/>
              <a:gd name="T1" fmla="*/ 0 h 32"/>
              <a:gd name="T2" fmla="*/ 34 w 79"/>
              <a:gd name="T3" fmla="*/ 1 h 32"/>
              <a:gd name="T4" fmla="*/ 30 w 79"/>
              <a:gd name="T5" fmla="*/ 2 h 32"/>
              <a:gd name="T6" fmla="*/ 25 w 79"/>
              <a:gd name="T7" fmla="*/ 4 h 32"/>
              <a:gd name="T8" fmla="*/ 20 w 79"/>
              <a:gd name="T9" fmla="*/ 6 h 32"/>
              <a:gd name="T10" fmla="*/ 15 w 79"/>
              <a:gd name="T11" fmla="*/ 9 h 32"/>
              <a:gd name="T12" fmla="*/ 10 w 79"/>
              <a:gd name="T13" fmla="*/ 11 h 32"/>
              <a:gd name="T14" fmla="*/ 5 w 79"/>
              <a:gd name="T15" fmla="*/ 12 h 32"/>
              <a:gd name="T16" fmla="*/ 0 w 79"/>
              <a:gd name="T17" fmla="*/ 13 h 32"/>
              <a:gd name="T18" fmla="*/ 5 w 79"/>
              <a:gd name="T19" fmla="*/ 21 h 32"/>
              <a:gd name="T20" fmla="*/ 10 w 79"/>
              <a:gd name="T21" fmla="*/ 26 h 32"/>
              <a:gd name="T22" fmla="*/ 12 w 79"/>
              <a:gd name="T23" fmla="*/ 29 h 32"/>
              <a:gd name="T24" fmla="*/ 15 w 79"/>
              <a:gd name="T25" fmla="*/ 31 h 32"/>
              <a:gd name="T26" fmla="*/ 18 w 79"/>
              <a:gd name="T27" fmla="*/ 31 h 32"/>
              <a:gd name="T28" fmla="*/ 20 w 79"/>
              <a:gd name="T29" fmla="*/ 32 h 32"/>
              <a:gd name="T30" fmla="*/ 27 w 79"/>
              <a:gd name="T31" fmla="*/ 31 h 32"/>
              <a:gd name="T32" fmla="*/ 34 w 79"/>
              <a:gd name="T33" fmla="*/ 30 h 32"/>
              <a:gd name="T34" fmla="*/ 41 w 79"/>
              <a:gd name="T35" fmla="*/ 27 h 32"/>
              <a:gd name="T36" fmla="*/ 48 w 79"/>
              <a:gd name="T37" fmla="*/ 24 h 32"/>
              <a:gd name="T38" fmla="*/ 62 w 79"/>
              <a:gd name="T39" fmla="*/ 18 h 32"/>
              <a:gd name="T40" fmla="*/ 79 w 79"/>
              <a:gd name="T41" fmla="*/ 13 h 32"/>
              <a:gd name="T42" fmla="*/ 67 w 79"/>
              <a:gd name="T43" fmla="*/ 6 h 32"/>
              <a:gd name="T44" fmla="*/ 58 w 79"/>
              <a:gd name="T45" fmla="*/ 2 h 32"/>
              <a:gd name="T46" fmla="*/ 49 w 79"/>
              <a:gd name="T47" fmla="*/ 1 h 32"/>
              <a:gd name="T48" fmla="*/ 40 w 79"/>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59" name="Freeform 203">
            <a:extLst>
              <a:ext uri="{FF2B5EF4-FFF2-40B4-BE49-F238E27FC236}">
                <a16:creationId xmlns="" xmlns:a16="http://schemas.microsoft.com/office/drawing/2014/main" id="{6B562404-6085-4C44-92B9-1E459745B298}"/>
              </a:ext>
            </a:extLst>
          </p:cNvPr>
          <p:cNvSpPr>
            <a:spLocks/>
          </p:cNvSpPr>
          <p:nvPr>
            <p:custDataLst>
              <p:tags r:id="rId129"/>
            </p:custDataLst>
          </p:nvPr>
        </p:nvSpPr>
        <p:spPr bwMode="auto">
          <a:xfrm>
            <a:off x="2114001" y="6169557"/>
            <a:ext cx="36744" cy="59076"/>
          </a:xfrm>
          <a:custGeom>
            <a:avLst/>
            <a:gdLst>
              <a:gd name="T0" fmla="*/ 33 w 66"/>
              <a:gd name="T1" fmla="*/ 0 h 19"/>
              <a:gd name="T2" fmla="*/ 25 w 66"/>
              <a:gd name="T3" fmla="*/ 1 h 19"/>
              <a:gd name="T4" fmla="*/ 19 w 66"/>
              <a:gd name="T5" fmla="*/ 2 h 19"/>
              <a:gd name="T6" fmla="*/ 13 w 66"/>
              <a:gd name="T7" fmla="*/ 4 h 19"/>
              <a:gd name="T8" fmla="*/ 9 w 66"/>
              <a:gd name="T9" fmla="*/ 7 h 19"/>
              <a:gd name="T10" fmla="*/ 5 w 66"/>
              <a:gd name="T11" fmla="*/ 11 h 19"/>
              <a:gd name="T12" fmla="*/ 2 w 66"/>
              <a:gd name="T13" fmla="*/ 14 h 19"/>
              <a:gd name="T14" fmla="*/ 0 w 66"/>
              <a:gd name="T15" fmla="*/ 17 h 19"/>
              <a:gd name="T16" fmla="*/ 0 w 66"/>
              <a:gd name="T17" fmla="*/ 19 h 19"/>
              <a:gd name="T18" fmla="*/ 19 w 66"/>
              <a:gd name="T19" fmla="*/ 19 h 19"/>
              <a:gd name="T20" fmla="*/ 38 w 66"/>
              <a:gd name="T21" fmla="*/ 19 h 19"/>
              <a:gd name="T22" fmla="*/ 46 w 66"/>
              <a:gd name="T23" fmla="*/ 18 h 19"/>
              <a:gd name="T24" fmla="*/ 54 w 66"/>
              <a:gd name="T25" fmla="*/ 17 h 19"/>
              <a:gd name="T26" fmla="*/ 61 w 66"/>
              <a:gd name="T27" fmla="*/ 15 h 19"/>
              <a:gd name="T28" fmla="*/ 66 w 66"/>
              <a:gd name="T29" fmla="*/ 13 h 19"/>
              <a:gd name="T30" fmla="*/ 57 w 66"/>
              <a:gd name="T31" fmla="*/ 8 h 19"/>
              <a:gd name="T32" fmla="*/ 50 w 66"/>
              <a:gd name="T33" fmla="*/ 4 h 19"/>
              <a:gd name="T34" fmla="*/ 42 w 66"/>
              <a:gd name="T35" fmla="*/ 1 h 19"/>
              <a:gd name="T36" fmla="*/ 33 w 66"/>
              <a:gd name="T3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60" name="Freeform 204">
            <a:extLst>
              <a:ext uri="{FF2B5EF4-FFF2-40B4-BE49-F238E27FC236}">
                <a16:creationId xmlns="" xmlns:a16="http://schemas.microsoft.com/office/drawing/2014/main" id="{CEC00DAE-DEDE-4BDA-80BC-ACBEAB4CDFAE}"/>
              </a:ext>
            </a:extLst>
          </p:cNvPr>
          <p:cNvSpPr>
            <a:spLocks/>
          </p:cNvSpPr>
          <p:nvPr>
            <p:custDataLst>
              <p:tags r:id="rId130"/>
            </p:custDataLst>
          </p:nvPr>
        </p:nvSpPr>
        <p:spPr bwMode="auto">
          <a:xfrm>
            <a:off x="1992169" y="5849568"/>
            <a:ext cx="30942" cy="62357"/>
          </a:xfrm>
          <a:custGeom>
            <a:avLst/>
            <a:gdLst>
              <a:gd name="T0" fmla="*/ 13 w 53"/>
              <a:gd name="T1" fmla="*/ 0 h 80"/>
              <a:gd name="T2" fmla="*/ 8 w 53"/>
              <a:gd name="T3" fmla="*/ 5 h 80"/>
              <a:gd name="T4" fmla="*/ 4 w 53"/>
              <a:gd name="T5" fmla="*/ 10 h 80"/>
              <a:gd name="T6" fmla="*/ 2 w 53"/>
              <a:gd name="T7" fmla="*/ 13 h 80"/>
              <a:gd name="T8" fmla="*/ 1 w 53"/>
              <a:gd name="T9" fmla="*/ 16 h 80"/>
              <a:gd name="T10" fmla="*/ 0 w 53"/>
              <a:gd name="T11" fmla="*/ 20 h 80"/>
              <a:gd name="T12" fmla="*/ 0 w 53"/>
              <a:gd name="T13" fmla="*/ 25 h 80"/>
              <a:gd name="T14" fmla="*/ 0 w 53"/>
              <a:gd name="T15" fmla="*/ 30 h 80"/>
              <a:gd name="T16" fmla="*/ 2 w 53"/>
              <a:gd name="T17" fmla="*/ 39 h 80"/>
              <a:gd name="T18" fmla="*/ 6 w 53"/>
              <a:gd name="T19" fmla="*/ 48 h 80"/>
              <a:gd name="T20" fmla="*/ 9 w 53"/>
              <a:gd name="T21" fmla="*/ 57 h 80"/>
              <a:gd name="T22" fmla="*/ 13 w 53"/>
              <a:gd name="T23" fmla="*/ 66 h 80"/>
              <a:gd name="T24" fmla="*/ 20 w 53"/>
              <a:gd name="T25" fmla="*/ 73 h 80"/>
              <a:gd name="T26" fmla="*/ 22 w 53"/>
              <a:gd name="T27" fmla="*/ 76 h 80"/>
              <a:gd name="T28" fmla="*/ 26 w 53"/>
              <a:gd name="T29" fmla="*/ 78 h 80"/>
              <a:gd name="T30" fmla="*/ 30 w 53"/>
              <a:gd name="T31" fmla="*/ 80 h 80"/>
              <a:gd name="T32" fmla="*/ 33 w 53"/>
              <a:gd name="T33" fmla="*/ 80 h 80"/>
              <a:gd name="T34" fmla="*/ 36 w 53"/>
              <a:gd name="T35" fmla="*/ 79 h 80"/>
              <a:gd name="T36" fmla="*/ 38 w 53"/>
              <a:gd name="T37" fmla="*/ 78 h 80"/>
              <a:gd name="T38" fmla="*/ 42 w 53"/>
              <a:gd name="T39" fmla="*/ 76 h 80"/>
              <a:gd name="T40" fmla="*/ 45 w 53"/>
              <a:gd name="T41" fmla="*/ 73 h 80"/>
              <a:gd name="T42" fmla="*/ 48 w 53"/>
              <a:gd name="T43" fmla="*/ 70 h 80"/>
              <a:gd name="T44" fmla="*/ 51 w 53"/>
              <a:gd name="T45" fmla="*/ 67 h 80"/>
              <a:gd name="T46" fmla="*/ 53 w 53"/>
              <a:gd name="T47" fmla="*/ 64 h 80"/>
              <a:gd name="T48" fmla="*/ 53 w 53"/>
              <a:gd name="T49" fmla="*/ 62 h 80"/>
              <a:gd name="T50" fmla="*/ 52 w 53"/>
              <a:gd name="T51" fmla="*/ 54 h 80"/>
              <a:gd name="T52" fmla="*/ 49 w 53"/>
              <a:gd name="T53" fmla="*/ 47 h 80"/>
              <a:gd name="T54" fmla="*/ 46 w 53"/>
              <a:gd name="T55" fmla="*/ 42 h 80"/>
              <a:gd name="T56" fmla="*/ 43 w 53"/>
              <a:gd name="T57" fmla="*/ 37 h 80"/>
              <a:gd name="T58" fmla="*/ 40 w 53"/>
              <a:gd name="T59" fmla="*/ 32 h 80"/>
              <a:gd name="T60" fmla="*/ 36 w 53"/>
              <a:gd name="T61" fmla="*/ 27 h 80"/>
              <a:gd name="T62" fmla="*/ 34 w 53"/>
              <a:gd name="T63" fmla="*/ 20 h 80"/>
              <a:gd name="T64" fmla="*/ 33 w 53"/>
              <a:gd name="T65" fmla="*/ 12 h 80"/>
              <a:gd name="T66" fmla="*/ 33 w 53"/>
              <a:gd name="T67" fmla="*/ 10 h 80"/>
              <a:gd name="T68" fmla="*/ 31 w 53"/>
              <a:gd name="T69" fmla="*/ 8 h 80"/>
              <a:gd name="T70" fmla="*/ 29 w 53"/>
              <a:gd name="T71" fmla="*/ 6 h 80"/>
              <a:gd name="T72" fmla="*/ 25 w 53"/>
              <a:gd name="T73" fmla="*/ 4 h 80"/>
              <a:gd name="T74" fmla="*/ 19 w 53"/>
              <a:gd name="T75" fmla="*/ 1 h 80"/>
              <a:gd name="T76" fmla="*/ 13 w 53"/>
              <a:gd name="T7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61" name="Freeform 205">
            <a:extLst>
              <a:ext uri="{FF2B5EF4-FFF2-40B4-BE49-F238E27FC236}">
                <a16:creationId xmlns="" xmlns:a16="http://schemas.microsoft.com/office/drawing/2014/main" id="{FAF76F49-7060-469A-9977-DDC3076B9F77}"/>
              </a:ext>
            </a:extLst>
          </p:cNvPr>
          <p:cNvSpPr>
            <a:spLocks/>
          </p:cNvSpPr>
          <p:nvPr>
            <p:custDataLst>
              <p:tags r:id="rId131"/>
            </p:custDataLst>
          </p:nvPr>
        </p:nvSpPr>
        <p:spPr bwMode="auto">
          <a:xfrm>
            <a:off x="2028911" y="5948026"/>
            <a:ext cx="21273" cy="55793"/>
          </a:xfrm>
          <a:custGeom>
            <a:avLst/>
            <a:gdLst>
              <a:gd name="T0" fmla="*/ 0 w 41"/>
              <a:gd name="T1" fmla="*/ 43 h 43"/>
              <a:gd name="T2" fmla="*/ 27 w 41"/>
              <a:gd name="T3" fmla="*/ 43 h 43"/>
              <a:gd name="T4" fmla="*/ 41 w 41"/>
              <a:gd name="T5" fmla="*/ 24 h 43"/>
              <a:gd name="T6" fmla="*/ 38 w 41"/>
              <a:gd name="T7" fmla="*/ 12 h 43"/>
              <a:gd name="T8" fmla="*/ 34 w 41"/>
              <a:gd name="T9" fmla="*/ 0 h 43"/>
              <a:gd name="T10" fmla="*/ 27 w 41"/>
              <a:gd name="T11" fmla="*/ 4 h 43"/>
              <a:gd name="T12" fmla="*/ 20 w 41"/>
              <a:gd name="T13" fmla="*/ 9 h 43"/>
              <a:gd name="T14" fmla="*/ 15 w 41"/>
              <a:gd name="T15" fmla="*/ 14 h 43"/>
              <a:gd name="T16" fmla="*/ 10 w 41"/>
              <a:gd name="T17" fmla="*/ 19 h 43"/>
              <a:gd name="T18" fmla="*/ 6 w 41"/>
              <a:gd name="T19" fmla="*/ 24 h 43"/>
              <a:gd name="T20" fmla="*/ 3 w 41"/>
              <a:gd name="T21" fmla="*/ 30 h 43"/>
              <a:gd name="T22" fmla="*/ 1 w 41"/>
              <a:gd name="T23" fmla="*/ 37 h 43"/>
              <a:gd name="T24" fmla="*/ 0 w 41"/>
              <a:gd name="T2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62" name="Freeform 206">
            <a:extLst>
              <a:ext uri="{FF2B5EF4-FFF2-40B4-BE49-F238E27FC236}">
                <a16:creationId xmlns="" xmlns:a16="http://schemas.microsoft.com/office/drawing/2014/main" id="{C179E5B6-6F34-40EF-A1E6-0B5AA5CDCDA1}"/>
              </a:ext>
            </a:extLst>
          </p:cNvPr>
          <p:cNvSpPr>
            <a:spLocks/>
          </p:cNvSpPr>
          <p:nvPr>
            <p:custDataLst>
              <p:tags r:id="rId132"/>
            </p:custDataLst>
          </p:nvPr>
        </p:nvSpPr>
        <p:spPr bwMode="auto">
          <a:xfrm>
            <a:off x="2034713" y="5971000"/>
            <a:ext cx="9669" cy="60715"/>
          </a:xfrm>
          <a:custGeom>
            <a:avLst/>
            <a:gdLst>
              <a:gd name="T0" fmla="*/ 20 w 20"/>
              <a:gd name="T1" fmla="*/ 0 h 24"/>
              <a:gd name="T2" fmla="*/ 0 w 20"/>
              <a:gd name="T3" fmla="*/ 0 h 24"/>
              <a:gd name="T4" fmla="*/ 1 w 20"/>
              <a:gd name="T5" fmla="*/ 5 h 24"/>
              <a:gd name="T6" fmla="*/ 2 w 20"/>
              <a:gd name="T7" fmla="*/ 9 h 24"/>
              <a:gd name="T8" fmla="*/ 4 w 20"/>
              <a:gd name="T9" fmla="*/ 13 h 24"/>
              <a:gd name="T10" fmla="*/ 7 w 20"/>
              <a:gd name="T11" fmla="*/ 17 h 24"/>
              <a:gd name="T12" fmla="*/ 10 w 20"/>
              <a:gd name="T13" fmla="*/ 20 h 24"/>
              <a:gd name="T14" fmla="*/ 14 w 20"/>
              <a:gd name="T15" fmla="*/ 22 h 24"/>
              <a:gd name="T16" fmla="*/ 17 w 20"/>
              <a:gd name="T17" fmla="*/ 24 h 24"/>
              <a:gd name="T18" fmla="*/ 20 w 20"/>
              <a:gd name="T19" fmla="*/ 24 h 24"/>
              <a:gd name="T20" fmla="*/ 20 w 20"/>
              <a:gd name="T2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63" name="Freeform 207">
            <a:extLst>
              <a:ext uri="{FF2B5EF4-FFF2-40B4-BE49-F238E27FC236}">
                <a16:creationId xmlns="" xmlns:a16="http://schemas.microsoft.com/office/drawing/2014/main" id="{213DCA34-2D39-4AE2-AABD-A541D02B7950}"/>
              </a:ext>
            </a:extLst>
          </p:cNvPr>
          <p:cNvSpPr>
            <a:spLocks/>
          </p:cNvSpPr>
          <p:nvPr>
            <p:custDataLst>
              <p:tags r:id="rId133"/>
            </p:custDataLst>
          </p:nvPr>
        </p:nvSpPr>
        <p:spPr bwMode="auto">
          <a:xfrm>
            <a:off x="2052117" y="6034998"/>
            <a:ext cx="21273" cy="62357"/>
          </a:xfrm>
          <a:custGeom>
            <a:avLst/>
            <a:gdLst>
              <a:gd name="T0" fmla="*/ 0 w 39"/>
              <a:gd name="T1" fmla="*/ 12 h 43"/>
              <a:gd name="T2" fmla="*/ 2 w 39"/>
              <a:gd name="T3" fmla="*/ 17 h 43"/>
              <a:gd name="T4" fmla="*/ 6 w 39"/>
              <a:gd name="T5" fmla="*/ 22 h 43"/>
              <a:gd name="T6" fmla="*/ 12 w 39"/>
              <a:gd name="T7" fmla="*/ 27 h 43"/>
              <a:gd name="T8" fmla="*/ 16 w 39"/>
              <a:gd name="T9" fmla="*/ 32 h 43"/>
              <a:gd name="T10" fmla="*/ 23 w 39"/>
              <a:gd name="T11" fmla="*/ 37 h 43"/>
              <a:gd name="T12" fmla="*/ 28 w 39"/>
              <a:gd name="T13" fmla="*/ 40 h 43"/>
              <a:gd name="T14" fmla="*/ 34 w 39"/>
              <a:gd name="T15" fmla="*/ 43 h 43"/>
              <a:gd name="T16" fmla="*/ 39 w 39"/>
              <a:gd name="T17" fmla="*/ 43 h 43"/>
              <a:gd name="T18" fmla="*/ 38 w 39"/>
              <a:gd name="T19" fmla="*/ 32 h 43"/>
              <a:gd name="T20" fmla="*/ 36 w 39"/>
              <a:gd name="T21" fmla="*/ 19 h 43"/>
              <a:gd name="T22" fmla="*/ 34 w 39"/>
              <a:gd name="T23" fmla="*/ 8 h 43"/>
              <a:gd name="T24" fmla="*/ 32 w 39"/>
              <a:gd name="T25" fmla="*/ 0 h 43"/>
              <a:gd name="T26" fmla="*/ 19 w 39"/>
              <a:gd name="T27" fmla="*/ 3 h 43"/>
              <a:gd name="T28" fmla="*/ 6 w 39"/>
              <a:gd name="T29" fmla="*/ 6 h 43"/>
              <a:gd name="T30" fmla="*/ 0 w 39"/>
              <a:gd name="T31"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64" name="Freeform 208">
            <a:extLst>
              <a:ext uri="{FF2B5EF4-FFF2-40B4-BE49-F238E27FC236}">
                <a16:creationId xmlns="" xmlns:a16="http://schemas.microsoft.com/office/drawing/2014/main" id="{9DA210F4-A256-4DC6-86BF-3F771CFFAD7B}"/>
              </a:ext>
            </a:extLst>
          </p:cNvPr>
          <p:cNvSpPr>
            <a:spLocks/>
          </p:cNvSpPr>
          <p:nvPr>
            <p:custDataLst>
              <p:tags r:id="rId134"/>
            </p:custDataLst>
          </p:nvPr>
        </p:nvSpPr>
        <p:spPr bwMode="auto">
          <a:xfrm>
            <a:off x="2036646" y="6048125"/>
            <a:ext cx="32876" cy="60716"/>
          </a:xfrm>
          <a:custGeom>
            <a:avLst/>
            <a:gdLst>
              <a:gd name="T0" fmla="*/ 29 w 55"/>
              <a:gd name="T1" fmla="*/ 26 h 62"/>
              <a:gd name="T2" fmla="*/ 8 w 55"/>
              <a:gd name="T3" fmla="*/ 0 h 62"/>
              <a:gd name="T4" fmla="*/ 4 w 55"/>
              <a:gd name="T5" fmla="*/ 5 h 62"/>
              <a:gd name="T6" fmla="*/ 1 w 55"/>
              <a:gd name="T7" fmla="*/ 11 h 62"/>
              <a:gd name="T8" fmla="*/ 0 w 55"/>
              <a:gd name="T9" fmla="*/ 16 h 62"/>
              <a:gd name="T10" fmla="*/ 0 w 55"/>
              <a:gd name="T11" fmla="*/ 21 h 62"/>
              <a:gd name="T12" fmla="*/ 2 w 55"/>
              <a:gd name="T13" fmla="*/ 26 h 62"/>
              <a:gd name="T14" fmla="*/ 4 w 55"/>
              <a:gd name="T15" fmla="*/ 31 h 62"/>
              <a:gd name="T16" fmla="*/ 8 w 55"/>
              <a:gd name="T17" fmla="*/ 36 h 62"/>
              <a:gd name="T18" fmla="*/ 11 w 55"/>
              <a:gd name="T19" fmla="*/ 41 h 62"/>
              <a:gd name="T20" fmla="*/ 16 w 55"/>
              <a:gd name="T21" fmla="*/ 45 h 62"/>
              <a:gd name="T22" fmla="*/ 21 w 55"/>
              <a:gd name="T23" fmla="*/ 49 h 62"/>
              <a:gd name="T24" fmla="*/ 26 w 55"/>
              <a:gd name="T25" fmla="*/ 53 h 62"/>
              <a:gd name="T26" fmla="*/ 33 w 55"/>
              <a:gd name="T27" fmla="*/ 56 h 62"/>
              <a:gd name="T28" fmla="*/ 38 w 55"/>
              <a:gd name="T29" fmla="*/ 58 h 62"/>
              <a:gd name="T30" fmla="*/ 44 w 55"/>
              <a:gd name="T31" fmla="*/ 60 h 62"/>
              <a:gd name="T32" fmla="*/ 49 w 55"/>
              <a:gd name="T33" fmla="*/ 61 h 62"/>
              <a:gd name="T34" fmla="*/ 55 w 55"/>
              <a:gd name="T35" fmla="*/ 62 h 62"/>
              <a:gd name="T36" fmla="*/ 54 w 55"/>
              <a:gd name="T37" fmla="*/ 53 h 62"/>
              <a:gd name="T38" fmla="*/ 53 w 55"/>
              <a:gd name="T39" fmla="*/ 46 h 62"/>
              <a:gd name="T40" fmla="*/ 49 w 55"/>
              <a:gd name="T41" fmla="*/ 40 h 62"/>
              <a:gd name="T42" fmla="*/ 46 w 55"/>
              <a:gd name="T43" fmla="*/ 35 h 62"/>
              <a:gd name="T44" fmla="*/ 43 w 55"/>
              <a:gd name="T45" fmla="*/ 31 h 62"/>
              <a:gd name="T46" fmla="*/ 38 w 55"/>
              <a:gd name="T47" fmla="*/ 28 h 62"/>
              <a:gd name="T48" fmla="*/ 33 w 55"/>
              <a:gd name="T49" fmla="*/ 26 h 62"/>
              <a:gd name="T50" fmla="*/ 29 w 55"/>
              <a:gd name="T51"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65" name="Freeform 209">
            <a:extLst>
              <a:ext uri="{FF2B5EF4-FFF2-40B4-BE49-F238E27FC236}">
                <a16:creationId xmlns="" xmlns:a16="http://schemas.microsoft.com/office/drawing/2014/main" id="{4E936DC0-DB11-4F43-BFE4-B7462212E86B}"/>
              </a:ext>
            </a:extLst>
          </p:cNvPr>
          <p:cNvSpPr>
            <a:spLocks/>
          </p:cNvSpPr>
          <p:nvPr>
            <p:custDataLst>
              <p:tags r:id="rId135"/>
            </p:custDataLst>
          </p:nvPr>
        </p:nvSpPr>
        <p:spPr bwMode="auto">
          <a:xfrm>
            <a:off x="2073391" y="6082586"/>
            <a:ext cx="13537" cy="60715"/>
          </a:xfrm>
          <a:custGeom>
            <a:avLst/>
            <a:gdLst>
              <a:gd name="T0" fmla="*/ 33 w 35"/>
              <a:gd name="T1" fmla="*/ 13 h 43"/>
              <a:gd name="T2" fmla="*/ 7 w 35"/>
              <a:gd name="T3" fmla="*/ 0 h 43"/>
              <a:gd name="T4" fmla="*/ 4 w 35"/>
              <a:gd name="T5" fmla="*/ 8 h 43"/>
              <a:gd name="T6" fmla="*/ 0 w 35"/>
              <a:gd name="T7" fmla="*/ 19 h 43"/>
              <a:gd name="T8" fmla="*/ 2 w 35"/>
              <a:gd name="T9" fmla="*/ 28 h 43"/>
              <a:gd name="T10" fmla="*/ 5 w 35"/>
              <a:gd name="T11" fmla="*/ 36 h 43"/>
              <a:gd name="T12" fmla="*/ 6 w 35"/>
              <a:gd name="T13" fmla="*/ 39 h 43"/>
              <a:gd name="T14" fmla="*/ 8 w 35"/>
              <a:gd name="T15" fmla="*/ 41 h 43"/>
              <a:gd name="T16" fmla="*/ 11 w 35"/>
              <a:gd name="T17" fmla="*/ 43 h 43"/>
              <a:gd name="T18" fmla="*/ 14 w 35"/>
              <a:gd name="T19" fmla="*/ 43 h 43"/>
              <a:gd name="T20" fmla="*/ 18 w 35"/>
              <a:gd name="T21" fmla="*/ 43 h 43"/>
              <a:gd name="T22" fmla="*/ 22 w 35"/>
              <a:gd name="T23" fmla="*/ 42 h 43"/>
              <a:gd name="T24" fmla="*/ 26 w 35"/>
              <a:gd name="T25" fmla="*/ 41 h 43"/>
              <a:gd name="T26" fmla="*/ 28 w 35"/>
              <a:gd name="T27" fmla="*/ 39 h 43"/>
              <a:gd name="T28" fmla="*/ 31 w 35"/>
              <a:gd name="T29" fmla="*/ 35 h 43"/>
              <a:gd name="T30" fmla="*/ 33 w 35"/>
              <a:gd name="T31" fmla="*/ 30 h 43"/>
              <a:gd name="T32" fmla="*/ 35 w 35"/>
              <a:gd name="T33" fmla="*/ 20 h 43"/>
              <a:gd name="T34" fmla="*/ 33 w 35"/>
              <a:gd name="T35" fmla="*/ 1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66" name="Freeform 210">
            <a:extLst>
              <a:ext uri="{FF2B5EF4-FFF2-40B4-BE49-F238E27FC236}">
                <a16:creationId xmlns="" xmlns:a16="http://schemas.microsoft.com/office/drawing/2014/main" id="{9F4E9524-B97A-4CD9-9D89-0C593DE05153}"/>
              </a:ext>
            </a:extLst>
          </p:cNvPr>
          <p:cNvSpPr>
            <a:spLocks/>
          </p:cNvSpPr>
          <p:nvPr>
            <p:custDataLst>
              <p:tags r:id="rId136"/>
            </p:custDataLst>
          </p:nvPr>
        </p:nvSpPr>
        <p:spPr bwMode="auto">
          <a:xfrm>
            <a:off x="2069522" y="6117046"/>
            <a:ext cx="25139" cy="57435"/>
          </a:xfrm>
          <a:custGeom>
            <a:avLst/>
            <a:gdLst>
              <a:gd name="T0" fmla="*/ 53 w 53"/>
              <a:gd name="T1" fmla="*/ 0 h 21"/>
              <a:gd name="T2" fmla="*/ 41 w 53"/>
              <a:gd name="T3" fmla="*/ 1 h 21"/>
              <a:gd name="T4" fmla="*/ 32 w 53"/>
              <a:gd name="T5" fmla="*/ 2 h 21"/>
              <a:gd name="T6" fmla="*/ 25 w 53"/>
              <a:gd name="T7" fmla="*/ 5 h 21"/>
              <a:gd name="T8" fmla="*/ 21 w 53"/>
              <a:gd name="T9" fmla="*/ 7 h 21"/>
              <a:gd name="T10" fmla="*/ 17 w 53"/>
              <a:gd name="T11" fmla="*/ 10 h 21"/>
              <a:gd name="T12" fmla="*/ 13 w 53"/>
              <a:gd name="T13" fmla="*/ 13 h 21"/>
              <a:gd name="T14" fmla="*/ 8 w 53"/>
              <a:gd name="T15" fmla="*/ 16 h 21"/>
              <a:gd name="T16" fmla="*/ 0 w 53"/>
              <a:gd name="T17" fmla="*/ 18 h 21"/>
              <a:gd name="T18" fmla="*/ 5 w 53"/>
              <a:gd name="T19" fmla="*/ 20 h 21"/>
              <a:gd name="T20" fmla="*/ 11 w 53"/>
              <a:gd name="T21" fmla="*/ 21 h 21"/>
              <a:gd name="T22" fmla="*/ 17 w 53"/>
              <a:gd name="T23" fmla="*/ 21 h 21"/>
              <a:gd name="T24" fmla="*/ 24 w 53"/>
              <a:gd name="T25" fmla="*/ 21 h 21"/>
              <a:gd name="T26" fmla="*/ 38 w 53"/>
              <a:gd name="T27" fmla="*/ 19 h 21"/>
              <a:gd name="T28" fmla="*/ 53 w 53"/>
              <a:gd name="T29" fmla="*/ 18 h 21"/>
              <a:gd name="T30" fmla="*/ 53 w 53"/>
              <a:gd name="T3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67" name="Freeform 211">
            <a:extLst>
              <a:ext uri="{FF2B5EF4-FFF2-40B4-BE49-F238E27FC236}">
                <a16:creationId xmlns="" xmlns:a16="http://schemas.microsoft.com/office/drawing/2014/main" id="{C5536C05-E45C-47D3-9D68-544D08EC0F4B}"/>
              </a:ext>
            </a:extLst>
          </p:cNvPr>
          <p:cNvSpPr>
            <a:spLocks/>
          </p:cNvSpPr>
          <p:nvPr>
            <p:custDataLst>
              <p:tags r:id="rId137"/>
            </p:custDataLst>
          </p:nvPr>
        </p:nvSpPr>
        <p:spPr bwMode="auto">
          <a:xfrm>
            <a:off x="2098530" y="6131816"/>
            <a:ext cx="21273" cy="59076"/>
          </a:xfrm>
          <a:custGeom>
            <a:avLst/>
            <a:gdLst>
              <a:gd name="T0" fmla="*/ 22 w 43"/>
              <a:gd name="T1" fmla="*/ 0 h 38"/>
              <a:gd name="T2" fmla="*/ 12 w 43"/>
              <a:gd name="T3" fmla="*/ 0 h 38"/>
              <a:gd name="T4" fmla="*/ 2 w 43"/>
              <a:gd name="T5" fmla="*/ 0 h 38"/>
              <a:gd name="T6" fmla="*/ 1 w 43"/>
              <a:gd name="T7" fmla="*/ 0 h 38"/>
              <a:gd name="T8" fmla="*/ 0 w 43"/>
              <a:gd name="T9" fmla="*/ 1 h 38"/>
              <a:gd name="T10" fmla="*/ 0 w 43"/>
              <a:gd name="T11" fmla="*/ 3 h 38"/>
              <a:gd name="T12" fmla="*/ 0 w 43"/>
              <a:gd name="T13" fmla="*/ 6 h 38"/>
              <a:gd name="T14" fmla="*/ 1 w 43"/>
              <a:gd name="T15" fmla="*/ 10 h 38"/>
              <a:gd name="T16" fmla="*/ 2 w 43"/>
              <a:gd name="T17" fmla="*/ 12 h 38"/>
              <a:gd name="T18" fmla="*/ 3 w 43"/>
              <a:gd name="T19" fmla="*/ 18 h 38"/>
              <a:gd name="T20" fmla="*/ 5 w 43"/>
              <a:gd name="T21" fmla="*/ 25 h 38"/>
              <a:gd name="T22" fmla="*/ 10 w 43"/>
              <a:gd name="T23" fmla="*/ 30 h 38"/>
              <a:gd name="T24" fmla="*/ 15 w 43"/>
              <a:gd name="T25" fmla="*/ 34 h 38"/>
              <a:gd name="T26" fmla="*/ 21 w 43"/>
              <a:gd name="T27" fmla="*/ 37 h 38"/>
              <a:gd name="T28" fmla="*/ 27 w 43"/>
              <a:gd name="T29" fmla="*/ 38 h 38"/>
              <a:gd name="T30" fmla="*/ 35 w 43"/>
              <a:gd name="T31" fmla="*/ 38 h 38"/>
              <a:gd name="T32" fmla="*/ 43 w 43"/>
              <a:gd name="T33" fmla="*/ 37 h 38"/>
              <a:gd name="T34" fmla="*/ 40 w 43"/>
              <a:gd name="T35" fmla="*/ 29 h 38"/>
              <a:gd name="T36" fmla="*/ 36 w 43"/>
              <a:gd name="T37" fmla="*/ 23 h 38"/>
              <a:gd name="T38" fmla="*/ 33 w 43"/>
              <a:gd name="T39" fmla="*/ 17 h 38"/>
              <a:gd name="T40" fmla="*/ 30 w 43"/>
              <a:gd name="T41" fmla="*/ 13 h 38"/>
              <a:gd name="T42" fmla="*/ 27 w 43"/>
              <a:gd name="T43" fmla="*/ 10 h 38"/>
              <a:gd name="T44" fmla="*/ 24 w 43"/>
              <a:gd name="T45" fmla="*/ 7 h 38"/>
              <a:gd name="T46" fmla="*/ 23 w 43"/>
              <a:gd name="T47" fmla="*/ 4 h 38"/>
              <a:gd name="T48" fmla="*/ 22 w 43"/>
              <a:gd name="T4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68" name="Freeform 212">
            <a:extLst>
              <a:ext uri="{FF2B5EF4-FFF2-40B4-BE49-F238E27FC236}">
                <a16:creationId xmlns="" xmlns:a16="http://schemas.microsoft.com/office/drawing/2014/main" id="{8F59CB28-0ABA-490F-9084-6DE034F15F5D}"/>
              </a:ext>
            </a:extLst>
          </p:cNvPr>
          <p:cNvSpPr>
            <a:spLocks/>
          </p:cNvSpPr>
          <p:nvPr>
            <p:custDataLst>
              <p:tags r:id="rId138"/>
            </p:custDataLst>
          </p:nvPr>
        </p:nvSpPr>
        <p:spPr bwMode="auto">
          <a:xfrm>
            <a:off x="2100464" y="6161353"/>
            <a:ext cx="7735" cy="59076"/>
          </a:xfrm>
          <a:custGeom>
            <a:avLst/>
            <a:gdLst>
              <a:gd name="T0" fmla="*/ 0 w 20"/>
              <a:gd name="T1" fmla="*/ 0 h 5"/>
              <a:gd name="T2" fmla="*/ 1 w 20"/>
              <a:gd name="T3" fmla="*/ 2 h 5"/>
              <a:gd name="T4" fmla="*/ 2 w 20"/>
              <a:gd name="T5" fmla="*/ 3 h 5"/>
              <a:gd name="T6" fmla="*/ 4 w 20"/>
              <a:gd name="T7" fmla="*/ 4 h 5"/>
              <a:gd name="T8" fmla="*/ 7 w 20"/>
              <a:gd name="T9" fmla="*/ 5 h 5"/>
              <a:gd name="T10" fmla="*/ 11 w 20"/>
              <a:gd name="T11" fmla="*/ 4 h 5"/>
              <a:gd name="T12" fmla="*/ 14 w 20"/>
              <a:gd name="T13" fmla="*/ 3 h 5"/>
              <a:gd name="T14" fmla="*/ 17 w 20"/>
              <a:gd name="T15" fmla="*/ 2 h 5"/>
              <a:gd name="T16" fmla="*/ 20 w 20"/>
              <a:gd name="T17" fmla="*/ 0 h 5"/>
              <a:gd name="T18" fmla="*/ 0 w 20"/>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69" name="Freeform 213">
            <a:extLst>
              <a:ext uri="{FF2B5EF4-FFF2-40B4-BE49-F238E27FC236}">
                <a16:creationId xmlns="" xmlns:a16="http://schemas.microsoft.com/office/drawing/2014/main" id="{8D50E9E1-6A8F-4471-A871-9BD1BBCF2144}"/>
              </a:ext>
            </a:extLst>
          </p:cNvPr>
          <p:cNvSpPr>
            <a:spLocks/>
          </p:cNvSpPr>
          <p:nvPr>
            <p:custDataLst>
              <p:tags r:id="rId139"/>
            </p:custDataLst>
          </p:nvPr>
        </p:nvSpPr>
        <p:spPr bwMode="auto">
          <a:xfrm>
            <a:off x="2191354" y="6233556"/>
            <a:ext cx="42544" cy="59076"/>
          </a:xfrm>
          <a:custGeom>
            <a:avLst/>
            <a:gdLst>
              <a:gd name="T0" fmla="*/ 40 w 73"/>
              <a:gd name="T1" fmla="*/ 0 h 22"/>
              <a:gd name="T2" fmla="*/ 32 w 73"/>
              <a:gd name="T3" fmla="*/ 1 h 22"/>
              <a:gd name="T4" fmla="*/ 26 w 73"/>
              <a:gd name="T5" fmla="*/ 2 h 22"/>
              <a:gd name="T6" fmla="*/ 20 w 73"/>
              <a:gd name="T7" fmla="*/ 5 h 22"/>
              <a:gd name="T8" fmla="*/ 15 w 73"/>
              <a:gd name="T9" fmla="*/ 8 h 22"/>
              <a:gd name="T10" fmla="*/ 6 w 73"/>
              <a:gd name="T11" fmla="*/ 14 h 22"/>
              <a:gd name="T12" fmla="*/ 0 w 73"/>
              <a:gd name="T13" fmla="*/ 19 h 22"/>
              <a:gd name="T14" fmla="*/ 20 w 73"/>
              <a:gd name="T15" fmla="*/ 20 h 22"/>
              <a:gd name="T16" fmla="*/ 39 w 73"/>
              <a:gd name="T17" fmla="*/ 22 h 22"/>
              <a:gd name="T18" fmla="*/ 49 w 73"/>
              <a:gd name="T19" fmla="*/ 22 h 22"/>
              <a:gd name="T20" fmla="*/ 57 w 73"/>
              <a:gd name="T21" fmla="*/ 22 h 22"/>
              <a:gd name="T22" fmla="*/ 65 w 73"/>
              <a:gd name="T23" fmla="*/ 21 h 22"/>
              <a:gd name="T24" fmla="*/ 73 w 73"/>
              <a:gd name="T25" fmla="*/ 19 h 22"/>
              <a:gd name="T26" fmla="*/ 64 w 73"/>
              <a:gd name="T27" fmla="*/ 14 h 22"/>
              <a:gd name="T28" fmla="*/ 56 w 73"/>
              <a:gd name="T29" fmla="*/ 8 h 22"/>
              <a:gd name="T30" fmla="*/ 53 w 73"/>
              <a:gd name="T31" fmla="*/ 5 h 22"/>
              <a:gd name="T32" fmla="*/ 49 w 73"/>
              <a:gd name="T33" fmla="*/ 2 h 22"/>
              <a:gd name="T34" fmla="*/ 44 w 73"/>
              <a:gd name="T35" fmla="*/ 1 h 22"/>
              <a:gd name="T36" fmla="*/ 40 w 73"/>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70" name="Freeform 214">
            <a:extLst>
              <a:ext uri="{FF2B5EF4-FFF2-40B4-BE49-F238E27FC236}">
                <a16:creationId xmlns="" xmlns:a16="http://schemas.microsoft.com/office/drawing/2014/main" id="{3A98852D-32F0-4AA2-9EDB-4137B44E7435}"/>
              </a:ext>
            </a:extLst>
          </p:cNvPr>
          <p:cNvSpPr>
            <a:spLocks/>
          </p:cNvSpPr>
          <p:nvPr>
            <p:custDataLst>
              <p:tags r:id="rId140"/>
            </p:custDataLst>
          </p:nvPr>
        </p:nvSpPr>
        <p:spPr bwMode="auto">
          <a:xfrm>
            <a:off x="2237767" y="6172839"/>
            <a:ext cx="150841" cy="103382"/>
          </a:xfrm>
          <a:custGeom>
            <a:avLst/>
            <a:gdLst>
              <a:gd name="T0" fmla="*/ 235 w 281"/>
              <a:gd name="T1" fmla="*/ 168 h 193"/>
              <a:gd name="T2" fmla="*/ 188 w 281"/>
              <a:gd name="T3" fmla="*/ 171 h 193"/>
              <a:gd name="T4" fmla="*/ 168 w 281"/>
              <a:gd name="T5" fmla="*/ 168 h 193"/>
              <a:gd name="T6" fmla="*/ 155 w 281"/>
              <a:gd name="T7" fmla="*/ 164 h 193"/>
              <a:gd name="T8" fmla="*/ 130 w 281"/>
              <a:gd name="T9" fmla="*/ 135 h 193"/>
              <a:gd name="T10" fmla="*/ 104 w 281"/>
              <a:gd name="T11" fmla="*/ 94 h 193"/>
              <a:gd name="T12" fmla="*/ 94 w 281"/>
              <a:gd name="T13" fmla="*/ 74 h 193"/>
              <a:gd name="T14" fmla="*/ 87 w 281"/>
              <a:gd name="T15" fmla="*/ 51 h 193"/>
              <a:gd name="T16" fmla="*/ 83 w 281"/>
              <a:gd name="T17" fmla="*/ 27 h 193"/>
              <a:gd name="T18" fmla="*/ 43 w 281"/>
              <a:gd name="T19" fmla="*/ 0 h 193"/>
              <a:gd name="T20" fmla="*/ 28 w 281"/>
              <a:gd name="T21" fmla="*/ 52 h 193"/>
              <a:gd name="T22" fmla="*/ 18 w 281"/>
              <a:gd name="T23" fmla="*/ 61 h 193"/>
              <a:gd name="T24" fmla="*/ 6 w 281"/>
              <a:gd name="T25" fmla="*/ 69 h 193"/>
              <a:gd name="T26" fmla="*/ 0 w 281"/>
              <a:gd name="T27" fmla="*/ 73 h 193"/>
              <a:gd name="T28" fmla="*/ 1 w 281"/>
              <a:gd name="T29" fmla="*/ 75 h 193"/>
              <a:gd name="T30" fmla="*/ 9 w 281"/>
              <a:gd name="T31" fmla="*/ 81 h 193"/>
              <a:gd name="T32" fmla="*/ 37 w 281"/>
              <a:gd name="T33" fmla="*/ 111 h 193"/>
              <a:gd name="T34" fmla="*/ 45 w 281"/>
              <a:gd name="T35" fmla="*/ 122 h 193"/>
              <a:gd name="T36" fmla="*/ 53 w 281"/>
              <a:gd name="T37" fmla="*/ 129 h 193"/>
              <a:gd name="T38" fmla="*/ 62 w 281"/>
              <a:gd name="T39" fmla="*/ 134 h 193"/>
              <a:gd name="T40" fmla="*/ 71 w 281"/>
              <a:gd name="T41" fmla="*/ 136 h 193"/>
              <a:gd name="T42" fmla="*/ 76 w 281"/>
              <a:gd name="T43" fmla="*/ 141 h 193"/>
              <a:gd name="T44" fmla="*/ 79 w 281"/>
              <a:gd name="T45" fmla="*/ 148 h 193"/>
              <a:gd name="T46" fmla="*/ 86 w 281"/>
              <a:gd name="T47" fmla="*/ 153 h 193"/>
              <a:gd name="T48" fmla="*/ 99 w 281"/>
              <a:gd name="T49" fmla="*/ 154 h 193"/>
              <a:gd name="T50" fmla="*/ 106 w 281"/>
              <a:gd name="T51" fmla="*/ 157 h 193"/>
              <a:gd name="T52" fmla="*/ 109 w 281"/>
              <a:gd name="T53" fmla="*/ 163 h 193"/>
              <a:gd name="T54" fmla="*/ 109 w 281"/>
              <a:gd name="T55" fmla="*/ 179 h 193"/>
              <a:gd name="T56" fmla="*/ 111 w 281"/>
              <a:gd name="T57" fmla="*/ 189 h 193"/>
              <a:gd name="T58" fmla="*/ 115 w 281"/>
              <a:gd name="T59" fmla="*/ 193 h 193"/>
              <a:gd name="T60" fmla="*/ 129 w 281"/>
              <a:gd name="T61" fmla="*/ 193 h 193"/>
              <a:gd name="T62" fmla="*/ 164 w 281"/>
              <a:gd name="T63" fmla="*/ 191 h 193"/>
              <a:gd name="T64" fmla="*/ 180 w 281"/>
              <a:gd name="T65" fmla="*/ 189 h 193"/>
              <a:gd name="T66" fmla="*/ 192 w 281"/>
              <a:gd name="T67" fmla="*/ 186 h 193"/>
              <a:gd name="T68" fmla="*/ 212 w 281"/>
              <a:gd name="T69" fmla="*/ 188 h 193"/>
              <a:gd name="T70" fmla="*/ 281 w 281"/>
              <a:gd name="T71" fmla="*/ 16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71" name="Freeform 215">
            <a:extLst>
              <a:ext uri="{FF2B5EF4-FFF2-40B4-BE49-F238E27FC236}">
                <a16:creationId xmlns="" xmlns:a16="http://schemas.microsoft.com/office/drawing/2014/main" id="{F2DCED16-FF5C-4408-A59F-7270B0B61DFB}"/>
              </a:ext>
            </a:extLst>
          </p:cNvPr>
          <p:cNvSpPr>
            <a:spLocks/>
          </p:cNvSpPr>
          <p:nvPr>
            <p:custDataLst>
              <p:tags r:id="rId141"/>
            </p:custDataLst>
          </p:nvPr>
        </p:nvSpPr>
        <p:spPr bwMode="auto">
          <a:xfrm>
            <a:off x="1692421" y="3863987"/>
            <a:ext cx="63818" cy="60715"/>
          </a:xfrm>
          <a:custGeom>
            <a:avLst/>
            <a:gdLst>
              <a:gd name="T0" fmla="*/ 0 w 120"/>
              <a:gd name="T1" fmla="*/ 18 h 56"/>
              <a:gd name="T2" fmla="*/ 4 w 120"/>
              <a:gd name="T3" fmla="*/ 26 h 56"/>
              <a:gd name="T4" fmla="*/ 10 w 120"/>
              <a:gd name="T5" fmla="*/ 33 h 56"/>
              <a:gd name="T6" fmla="*/ 15 w 120"/>
              <a:gd name="T7" fmla="*/ 37 h 56"/>
              <a:gd name="T8" fmla="*/ 21 w 120"/>
              <a:gd name="T9" fmla="*/ 41 h 56"/>
              <a:gd name="T10" fmla="*/ 27 w 120"/>
              <a:gd name="T11" fmla="*/ 44 h 56"/>
              <a:gd name="T12" fmla="*/ 35 w 120"/>
              <a:gd name="T13" fmla="*/ 46 h 56"/>
              <a:gd name="T14" fmla="*/ 43 w 120"/>
              <a:gd name="T15" fmla="*/ 48 h 56"/>
              <a:gd name="T16" fmla="*/ 51 w 120"/>
              <a:gd name="T17" fmla="*/ 49 h 56"/>
              <a:gd name="T18" fmla="*/ 67 w 120"/>
              <a:gd name="T19" fmla="*/ 50 h 56"/>
              <a:gd name="T20" fmla="*/ 85 w 120"/>
              <a:gd name="T21" fmla="*/ 51 h 56"/>
              <a:gd name="T22" fmla="*/ 102 w 120"/>
              <a:gd name="T23" fmla="*/ 52 h 56"/>
              <a:gd name="T24" fmla="*/ 120 w 120"/>
              <a:gd name="T25" fmla="*/ 56 h 56"/>
              <a:gd name="T26" fmla="*/ 120 w 120"/>
              <a:gd name="T27" fmla="*/ 37 h 56"/>
              <a:gd name="T28" fmla="*/ 111 w 120"/>
              <a:gd name="T29" fmla="*/ 34 h 56"/>
              <a:gd name="T30" fmla="*/ 102 w 120"/>
              <a:gd name="T31" fmla="*/ 30 h 56"/>
              <a:gd name="T32" fmla="*/ 94 w 120"/>
              <a:gd name="T33" fmla="*/ 24 h 56"/>
              <a:gd name="T34" fmla="*/ 88 w 120"/>
              <a:gd name="T35" fmla="*/ 18 h 56"/>
              <a:gd name="T36" fmla="*/ 81 w 120"/>
              <a:gd name="T37" fmla="*/ 13 h 56"/>
              <a:gd name="T38" fmla="*/ 75 w 120"/>
              <a:gd name="T39" fmla="*/ 7 h 56"/>
              <a:gd name="T40" fmla="*/ 67 w 120"/>
              <a:gd name="T41" fmla="*/ 3 h 56"/>
              <a:gd name="T42" fmla="*/ 60 w 120"/>
              <a:gd name="T43" fmla="*/ 0 h 56"/>
              <a:gd name="T44" fmla="*/ 55 w 120"/>
              <a:gd name="T45" fmla="*/ 1 h 56"/>
              <a:gd name="T46" fmla="*/ 48 w 120"/>
              <a:gd name="T47" fmla="*/ 3 h 56"/>
              <a:gd name="T48" fmla="*/ 41 w 120"/>
              <a:gd name="T49" fmla="*/ 6 h 56"/>
              <a:gd name="T50" fmla="*/ 33 w 120"/>
              <a:gd name="T51" fmla="*/ 9 h 56"/>
              <a:gd name="T52" fmla="*/ 24 w 120"/>
              <a:gd name="T53" fmla="*/ 13 h 56"/>
              <a:gd name="T54" fmla="*/ 16 w 120"/>
              <a:gd name="T55" fmla="*/ 15 h 56"/>
              <a:gd name="T56" fmla="*/ 8 w 120"/>
              <a:gd name="T57" fmla="*/ 18 h 56"/>
              <a:gd name="T58" fmla="*/ 0 w 120"/>
              <a:gd name="T59"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72" name="Freeform 216">
            <a:extLst>
              <a:ext uri="{FF2B5EF4-FFF2-40B4-BE49-F238E27FC236}">
                <a16:creationId xmlns="" xmlns:a16="http://schemas.microsoft.com/office/drawing/2014/main" id="{F5F806FF-CB4A-4FD4-973C-7AE1671013B2}"/>
              </a:ext>
            </a:extLst>
          </p:cNvPr>
          <p:cNvSpPr>
            <a:spLocks/>
          </p:cNvSpPr>
          <p:nvPr>
            <p:custDataLst>
              <p:tags r:id="rId142"/>
            </p:custDataLst>
          </p:nvPr>
        </p:nvSpPr>
        <p:spPr bwMode="auto">
          <a:xfrm>
            <a:off x="1518374" y="3721222"/>
            <a:ext cx="305549" cy="113228"/>
          </a:xfrm>
          <a:custGeom>
            <a:avLst/>
            <a:gdLst>
              <a:gd name="T0" fmla="*/ 127 w 574"/>
              <a:gd name="T1" fmla="*/ 1 h 204"/>
              <a:gd name="T2" fmla="*/ 95 w 574"/>
              <a:gd name="T3" fmla="*/ 6 h 204"/>
              <a:gd name="T4" fmla="*/ 66 w 574"/>
              <a:gd name="T5" fmla="*/ 16 h 204"/>
              <a:gd name="T6" fmla="*/ 43 w 574"/>
              <a:gd name="T7" fmla="*/ 26 h 204"/>
              <a:gd name="T8" fmla="*/ 30 w 574"/>
              <a:gd name="T9" fmla="*/ 35 h 204"/>
              <a:gd name="T10" fmla="*/ 16 w 574"/>
              <a:gd name="T11" fmla="*/ 51 h 204"/>
              <a:gd name="T12" fmla="*/ 4 w 574"/>
              <a:gd name="T13" fmla="*/ 71 h 204"/>
              <a:gd name="T14" fmla="*/ 0 w 574"/>
              <a:gd name="T15" fmla="*/ 82 h 204"/>
              <a:gd name="T16" fmla="*/ 1 w 574"/>
              <a:gd name="T17" fmla="*/ 86 h 204"/>
              <a:gd name="T18" fmla="*/ 13 w 574"/>
              <a:gd name="T19" fmla="*/ 86 h 204"/>
              <a:gd name="T20" fmla="*/ 29 w 574"/>
              <a:gd name="T21" fmla="*/ 83 h 204"/>
              <a:gd name="T22" fmla="*/ 52 w 574"/>
              <a:gd name="T23" fmla="*/ 75 h 204"/>
              <a:gd name="T24" fmla="*/ 80 w 574"/>
              <a:gd name="T25" fmla="*/ 58 h 204"/>
              <a:gd name="T26" fmla="*/ 102 w 574"/>
              <a:gd name="T27" fmla="*/ 46 h 204"/>
              <a:gd name="T28" fmla="*/ 119 w 574"/>
              <a:gd name="T29" fmla="*/ 40 h 204"/>
              <a:gd name="T30" fmla="*/ 175 w 574"/>
              <a:gd name="T31" fmla="*/ 37 h 204"/>
              <a:gd name="T32" fmla="*/ 176 w 574"/>
              <a:gd name="T33" fmla="*/ 48 h 204"/>
              <a:gd name="T34" fmla="*/ 180 w 574"/>
              <a:gd name="T35" fmla="*/ 55 h 204"/>
              <a:gd name="T36" fmla="*/ 184 w 574"/>
              <a:gd name="T37" fmla="*/ 59 h 204"/>
              <a:gd name="T38" fmla="*/ 190 w 574"/>
              <a:gd name="T39" fmla="*/ 61 h 204"/>
              <a:gd name="T40" fmla="*/ 229 w 574"/>
              <a:gd name="T41" fmla="*/ 61 h 204"/>
              <a:gd name="T42" fmla="*/ 269 w 574"/>
              <a:gd name="T43" fmla="*/ 78 h 204"/>
              <a:gd name="T44" fmla="*/ 302 w 574"/>
              <a:gd name="T45" fmla="*/ 95 h 204"/>
              <a:gd name="T46" fmla="*/ 336 w 574"/>
              <a:gd name="T47" fmla="*/ 111 h 204"/>
              <a:gd name="T48" fmla="*/ 375 w 574"/>
              <a:gd name="T49" fmla="*/ 123 h 204"/>
              <a:gd name="T50" fmla="*/ 376 w 574"/>
              <a:gd name="T51" fmla="*/ 134 h 204"/>
              <a:gd name="T52" fmla="*/ 382 w 574"/>
              <a:gd name="T53" fmla="*/ 142 h 204"/>
              <a:gd name="T54" fmla="*/ 396 w 574"/>
              <a:gd name="T55" fmla="*/ 152 h 204"/>
              <a:gd name="T56" fmla="*/ 428 w 574"/>
              <a:gd name="T57" fmla="*/ 166 h 204"/>
              <a:gd name="T58" fmla="*/ 402 w 574"/>
              <a:gd name="T59" fmla="*/ 191 h 204"/>
              <a:gd name="T60" fmla="*/ 407 w 574"/>
              <a:gd name="T61" fmla="*/ 197 h 204"/>
              <a:gd name="T62" fmla="*/ 414 w 574"/>
              <a:gd name="T63" fmla="*/ 201 h 204"/>
              <a:gd name="T64" fmla="*/ 429 w 574"/>
              <a:gd name="T65" fmla="*/ 204 h 204"/>
              <a:gd name="T66" fmla="*/ 461 w 574"/>
              <a:gd name="T67" fmla="*/ 204 h 204"/>
              <a:gd name="T68" fmla="*/ 555 w 574"/>
              <a:gd name="T69" fmla="*/ 189 h 204"/>
              <a:gd name="T70" fmla="*/ 559 w 574"/>
              <a:gd name="T71" fmla="*/ 183 h 204"/>
              <a:gd name="T72" fmla="*/ 565 w 574"/>
              <a:gd name="T73" fmla="*/ 177 h 204"/>
              <a:gd name="T74" fmla="*/ 572 w 574"/>
              <a:gd name="T75" fmla="*/ 173 h 204"/>
              <a:gd name="T76" fmla="*/ 574 w 574"/>
              <a:gd name="T77" fmla="*/ 161 h 204"/>
              <a:gd name="T78" fmla="*/ 561 w 574"/>
              <a:gd name="T79" fmla="*/ 153 h 204"/>
              <a:gd name="T80" fmla="*/ 532 w 574"/>
              <a:gd name="T81" fmla="*/ 148 h 204"/>
              <a:gd name="T82" fmla="*/ 504 w 574"/>
              <a:gd name="T83" fmla="*/ 138 h 204"/>
              <a:gd name="T84" fmla="*/ 475 w 574"/>
              <a:gd name="T85" fmla="*/ 124 h 204"/>
              <a:gd name="T86" fmla="*/ 433 w 574"/>
              <a:gd name="T87" fmla="*/ 100 h 204"/>
              <a:gd name="T88" fmla="*/ 383 w 574"/>
              <a:gd name="T89" fmla="*/ 68 h 204"/>
              <a:gd name="T90" fmla="*/ 358 w 574"/>
              <a:gd name="T91" fmla="*/ 54 h 204"/>
              <a:gd name="T92" fmla="*/ 348 w 574"/>
              <a:gd name="T93" fmla="*/ 52 h 204"/>
              <a:gd name="T94" fmla="*/ 330 w 574"/>
              <a:gd name="T95" fmla="*/ 52 h 204"/>
              <a:gd name="T96" fmla="*/ 312 w 574"/>
              <a:gd name="T97" fmla="*/ 51 h 204"/>
              <a:gd name="T98" fmla="*/ 302 w 574"/>
              <a:gd name="T99" fmla="*/ 49 h 204"/>
              <a:gd name="T100" fmla="*/ 294 w 574"/>
              <a:gd name="T101" fmla="*/ 43 h 204"/>
              <a:gd name="T102" fmla="*/ 290 w 574"/>
              <a:gd name="T103" fmla="*/ 32 h 204"/>
              <a:gd name="T104" fmla="*/ 142 w 574"/>
              <a:gd name="T10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73" name="Freeform 217">
            <a:extLst>
              <a:ext uri="{FF2B5EF4-FFF2-40B4-BE49-F238E27FC236}">
                <a16:creationId xmlns="" xmlns:a16="http://schemas.microsoft.com/office/drawing/2014/main" id="{8A9980F0-6723-4376-9093-C55A2BE8A773}"/>
              </a:ext>
            </a:extLst>
          </p:cNvPr>
          <p:cNvSpPr>
            <a:spLocks/>
          </p:cNvSpPr>
          <p:nvPr>
            <p:custDataLst>
              <p:tags r:id="rId143"/>
            </p:custDataLst>
          </p:nvPr>
        </p:nvSpPr>
        <p:spPr bwMode="auto">
          <a:xfrm>
            <a:off x="1889674" y="3827886"/>
            <a:ext cx="108295" cy="72203"/>
          </a:xfrm>
          <a:custGeom>
            <a:avLst/>
            <a:gdLst>
              <a:gd name="T0" fmla="*/ 41 w 207"/>
              <a:gd name="T1" fmla="*/ 129 h 129"/>
              <a:gd name="T2" fmla="*/ 50 w 207"/>
              <a:gd name="T3" fmla="*/ 121 h 129"/>
              <a:gd name="T4" fmla="*/ 60 w 207"/>
              <a:gd name="T5" fmla="*/ 115 h 129"/>
              <a:gd name="T6" fmla="*/ 70 w 207"/>
              <a:gd name="T7" fmla="*/ 110 h 129"/>
              <a:gd name="T8" fmla="*/ 81 w 207"/>
              <a:gd name="T9" fmla="*/ 105 h 129"/>
              <a:gd name="T10" fmla="*/ 105 w 207"/>
              <a:gd name="T11" fmla="*/ 99 h 129"/>
              <a:gd name="T12" fmla="*/ 129 w 207"/>
              <a:gd name="T13" fmla="*/ 92 h 129"/>
              <a:gd name="T14" fmla="*/ 152 w 207"/>
              <a:gd name="T15" fmla="*/ 87 h 129"/>
              <a:gd name="T16" fmla="*/ 173 w 207"/>
              <a:gd name="T17" fmla="*/ 81 h 129"/>
              <a:gd name="T18" fmla="*/ 182 w 207"/>
              <a:gd name="T19" fmla="*/ 77 h 129"/>
              <a:gd name="T20" fmla="*/ 191 w 207"/>
              <a:gd name="T21" fmla="*/ 73 h 129"/>
              <a:gd name="T22" fmla="*/ 200 w 207"/>
              <a:gd name="T23" fmla="*/ 67 h 129"/>
              <a:gd name="T24" fmla="*/ 207 w 207"/>
              <a:gd name="T25" fmla="*/ 61 h 129"/>
              <a:gd name="T26" fmla="*/ 198 w 207"/>
              <a:gd name="T27" fmla="*/ 54 h 129"/>
              <a:gd name="T28" fmla="*/ 188 w 207"/>
              <a:gd name="T29" fmla="*/ 47 h 129"/>
              <a:gd name="T30" fmla="*/ 179 w 207"/>
              <a:gd name="T31" fmla="*/ 42 h 129"/>
              <a:gd name="T32" fmla="*/ 169 w 207"/>
              <a:gd name="T33" fmla="*/ 36 h 129"/>
              <a:gd name="T34" fmla="*/ 150 w 207"/>
              <a:gd name="T35" fmla="*/ 29 h 129"/>
              <a:gd name="T36" fmla="*/ 129 w 207"/>
              <a:gd name="T37" fmla="*/ 23 h 129"/>
              <a:gd name="T38" fmla="*/ 107 w 207"/>
              <a:gd name="T39" fmla="*/ 18 h 129"/>
              <a:gd name="T40" fmla="*/ 85 w 207"/>
              <a:gd name="T41" fmla="*/ 13 h 129"/>
              <a:gd name="T42" fmla="*/ 63 w 207"/>
              <a:gd name="T43" fmla="*/ 7 h 129"/>
              <a:gd name="T44" fmla="*/ 41 w 207"/>
              <a:gd name="T45" fmla="*/ 0 h 129"/>
              <a:gd name="T46" fmla="*/ 0 w 207"/>
              <a:gd name="T47" fmla="*/ 0 h 129"/>
              <a:gd name="T48" fmla="*/ 1 w 207"/>
              <a:gd name="T49" fmla="*/ 6 h 129"/>
              <a:gd name="T50" fmla="*/ 2 w 207"/>
              <a:gd name="T51" fmla="*/ 13 h 129"/>
              <a:gd name="T52" fmla="*/ 4 w 207"/>
              <a:gd name="T53" fmla="*/ 19 h 129"/>
              <a:gd name="T54" fmla="*/ 6 w 207"/>
              <a:gd name="T55" fmla="*/ 25 h 129"/>
              <a:gd name="T56" fmla="*/ 10 w 207"/>
              <a:gd name="T57" fmla="*/ 35 h 129"/>
              <a:gd name="T58" fmla="*/ 13 w 207"/>
              <a:gd name="T59" fmla="*/ 46 h 129"/>
              <a:gd name="T60" fmla="*/ 17 w 207"/>
              <a:gd name="T61" fmla="*/ 54 h 129"/>
              <a:gd name="T62" fmla="*/ 18 w 207"/>
              <a:gd name="T63" fmla="*/ 62 h 129"/>
              <a:gd name="T64" fmla="*/ 17 w 207"/>
              <a:gd name="T65" fmla="*/ 65 h 129"/>
              <a:gd name="T66" fmla="*/ 14 w 207"/>
              <a:gd name="T67" fmla="*/ 68 h 129"/>
              <a:gd name="T68" fmla="*/ 11 w 207"/>
              <a:gd name="T69" fmla="*/ 71 h 129"/>
              <a:gd name="T70" fmla="*/ 7 w 207"/>
              <a:gd name="T71" fmla="*/ 73 h 129"/>
              <a:gd name="T72" fmla="*/ 0 w 207"/>
              <a:gd name="T73" fmla="*/ 104 h 129"/>
              <a:gd name="T74" fmla="*/ 4 w 207"/>
              <a:gd name="T75" fmla="*/ 106 h 129"/>
              <a:gd name="T76" fmla="*/ 13 w 207"/>
              <a:gd name="T77" fmla="*/ 110 h 129"/>
              <a:gd name="T78" fmla="*/ 19 w 207"/>
              <a:gd name="T79" fmla="*/ 113 h 129"/>
              <a:gd name="T80" fmla="*/ 25 w 207"/>
              <a:gd name="T81" fmla="*/ 117 h 129"/>
              <a:gd name="T82" fmla="*/ 33 w 207"/>
              <a:gd name="T83" fmla="*/ 122 h 129"/>
              <a:gd name="T84" fmla="*/ 41 w 207"/>
              <a:gd name="T85"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74" name="Freeform 218">
            <a:extLst>
              <a:ext uri="{FF2B5EF4-FFF2-40B4-BE49-F238E27FC236}">
                <a16:creationId xmlns="" xmlns:a16="http://schemas.microsoft.com/office/drawing/2014/main" id="{BDCB2022-572C-416E-B0A4-C948C3936D08}"/>
              </a:ext>
            </a:extLst>
          </p:cNvPr>
          <p:cNvSpPr>
            <a:spLocks/>
          </p:cNvSpPr>
          <p:nvPr>
            <p:custDataLst>
              <p:tags r:id="rId144"/>
            </p:custDataLst>
          </p:nvPr>
        </p:nvSpPr>
        <p:spPr bwMode="auto">
          <a:xfrm>
            <a:off x="1363666" y="3890243"/>
            <a:ext cx="40611" cy="86971"/>
          </a:xfrm>
          <a:custGeom>
            <a:avLst/>
            <a:gdLst>
              <a:gd name="T0" fmla="*/ 72 w 72"/>
              <a:gd name="T1" fmla="*/ 0 h 154"/>
              <a:gd name="T2" fmla="*/ 69 w 72"/>
              <a:gd name="T3" fmla="*/ 4 h 154"/>
              <a:gd name="T4" fmla="*/ 67 w 72"/>
              <a:gd name="T5" fmla="*/ 9 h 154"/>
              <a:gd name="T6" fmla="*/ 66 w 72"/>
              <a:gd name="T7" fmla="*/ 13 h 154"/>
              <a:gd name="T8" fmla="*/ 66 w 72"/>
              <a:gd name="T9" fmla="*/ 18 h 154"/>
              <a:gd name="T10" fmla="*/ 66 w 72"/>
              <a:gd name="T11" fmla="*/ 27 h 154"/>
              <a:gd name="T12" fmla="*/ 66 w 72"/>
              <a:gd name="T13" fmla="*/ 37 h 154"/>
              <a:gd name="T14" fmla="*/ 69 w 72"/>
              <a:gd name="T15" fmla="*/ 43 h 154"/>
              <a:gd name="T16" fmla="*/ 71 w 72"/>
              <a:gd name="T17" fmla="*/ 50 h 154"/>
              <a:gd name="T18" fmla="*/ 71 w 72"/>
              <a:gd name="T19" fmla="*/ 57 h 154"/>
              <a:gd name="T20" fmla="*/ 71 w 72"/>
              <a:gd name="T21" fmla="*/ 65 h 154"/>
              <a:gd name="T22" fmla="*/ 69 w 72"/>
              <a:gd name="T23" fmla="*/ 73 h 154"/>
              <a:gd name="T24" fmla="*/ 67 w 72"/>
              <a:gd name="T25" fmla="*/ 82 h 154"/>
              <a:gd name="T26" fmla="*/ 65 w 72"/>
              <a:gd name="T27" fmla="*/ 91 h 154"/>
              <a:gd name="T28" fmla="*/ 61 w 72"/>
              <a:gd name="T29" fmla="*/ 100 h 154"/>
              <a:gd name="T30" fmla="*/ 53 w 72"/>
              <a:gd name="T31" fmla="*/ 116 h 154"/>
              <a:gd name="T32" fmla="*/ 44 w 72"/>
              <a:gd name="T33" fmla="*/ 131 h 154"/>
              <a:gd name="T34" fmla="*/ 34 w 72"/>
              <a:gd name="T35" fmla="*/ 144 h 154"/>
              <a:gd name="T36" fmla="*/ 26 w 72"/>
              <a:gd name="T37" fmla="*/ 154 h 154"/>
              <a:gd name="T38" fmla="*/ 26 w 72"/>
              <a:gd name="T39" fmla="*/ 141 h 154"/>
              <a:gd name="T40" fmla="*/ 15 w 72"/>
              <a:gd name="T41" fmla="*/ 144 h 154"/>
              <a:gd name="T42" fmla="*/ 0 w 72"/>
              <a:gd name="T43" fmla="*/ 148 h 154"/>
              <a:gd name="T44" fmla="*/ 3 w 72"/>
              <a:gd name="T45" fmla="*/ 129 h 154"/>
              <a:gd name="T46" fmla="*/ 8 w 72"/>
              <a:gd name="T47" fmla="*/ 105 h 154"/>
              <a:gd name="T48" fmla="*/ 9 w 72"/>
              <a:gd name="T49" fmla="*/ 92 h 154"/>
              <a:gd name="T50" fmla="*/ 12 w 72"/>
              <a:gd name="T51" fmla="*/ 77 h 154"/>
              <a:gd name="T52" fmla="*/ 15 w 72"/>
              <a:gd name="T53" fmla="*/ 63 h 154"/>
              <a:gd name="T54" fmla="*/ 20 w 72"/>
              <a:gd name="T55" fmla="*/ 49 h 154"/>
              <a:gd name="T56" fmla="*/ 20 w 72"/>
              <a:gd name="T57" fmla="*/ 0 h 154"/>
              <a:gd name="T58" fmla="*/ 25 w 72"/>
              <a:gd name="T59" fmla="*/ 0 h 154"/>
              <a:gd name="T60" fmla="*/ 38 w 72"/>
              <a:gd name="T61" fmla="*/ 0 h 154"/>
              <a:gd name="T62" fmla="*/ 56 w 72"/>
              <a:gd name="T63" fmla="*/ 0 h 154"/>
              <a:gd name="T64" fmla="*/ 72 w 72"/>
              <a:gd name="T65"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275" name="Freeform 219">
            <a:extLst>
              <a:ext uri="{FF2B5EF4-FFF2-40B4-BE49-F238E27FC236}">
                <a16:creationId xmlns="" xmlns:a16="http://schemas.microsoft.com/office/drawing/2014/main" id="{F79F24FC-CDDD-4B90-866A-2679980C90CB}"/>
              </a:ext>
            </a:extLst>
          </p:cNvPr>
          <p:cNvSpPr>
            <a:spLocks/>
          </p:cNvSpPr>
          <p:nvPr>
            <p:custDataLst>
              <p:tags r:id="rId145"/>
            </p:custDataLst>
          </p:nvPr>
        </p:nvSpPr>
        <p:spPr bwMode="auto">
          <a:xfrm>
            <a:off x="1266974" y="3890243"/>
            <a:ext cx="114098" cy="150970"/>
          </a:xfrm>
          <a:custGeom>
            <a:avLst/>
            <a:gdLst>
              <a:gd name="T0" fmla="*/ 8 w 214"/>
              <a:gd name="T1" fmla="*/ 207 h 271"/>
              <a:gd name="T2" fmla="*/ 12 w 214"/>
              <a:gd name="T3" fmla="*/ 181 h 271"/>
              <a:gd name="T4" fmla="*/ 24 w 214"/>
              <a:gd name="T5" fmla="*/ 148 h 271"/>
              <a:gd name="T6" fmla="*/ 35 w 214"/>
              <a:gd name="T7" fmla="*/ 118 h 271"/>
              <a:gd name="T8" fmla="*/ 44 w 214"/>
              <a:gd name="T9" fmla="*/ 112 h 271"/>
              <a:gd name="T10" fmla="*/ 65 w 214"/>
              <a:gd name="T11" fmla="*/ 111 h 271"/>
              <a:gd name="T12" fmla="*/ 89 w 214"/>
              <a:gd name="T13" fmla="*/ 111 h 271"/>
              <a:gd name="T14" fmla="*/ 106 w 214"/>
              <a:gd name="T15" fmla="*/ 110 h 271"/>
              <a:gd name="T16" fmla="*/ 120 w 214"/>
              <a:gd name="T17" fmla="*/ 105 h 271"/>
              <a:gd name="T18" fmla="*/ 130 w 214"/>
              <a:gd name="T19" fmla="*/ 94 h 271"/>
              <a:gd name="T20" fmla="*/ 113 w 214"/>
              <a:gd name="T21" fmla="*/ 73 h 271"/>
              <a:gd name="T22" fmla="*/ 86 w 214"/>
              <a:gd name="T23" fmla="*/ 58 h 271"/>
              <a:gd name="T24" fmla="*/ 77 w 214"/>
              <a:gd name="T25" fmla="*/ 49 h 271"/>
              <a:gd name="T26" fmla="*/ 74 w 214"/>
              <a:gd name="T27" fmla="*/ 41 h 271"/>
              <a:gd name="T28" fmla="*/ 75 w 214"/>
              <a:gd name="T29" fmla="*/ 34 h 271"/>
              <a:gd name="T30" fmla="*/ 82 w 214"/>
              <a:gd name="T31" fmla="*/ 28 h 271"/>
              <a:gd name="T32" fmla="*/ 101 w 214"/>
              <a:gd name="T33" fmla="*/ 19 h 271"/>
              <a:gd name="T34" fmla="*/ 150 w 214"/>
              <a:gd name="T35" fmla="*/ 3 h 271"/>
              <a:gd name="T36" fmla="*/ 180 w 214"/>
              <a:gd name="T37" fmla="*/ 0 h 271"/>
              <a:gd name="T38" fmla="*/ 198 w 214"/>
              <a:gd name="T39" fmla="*/ 0 h 271"/>
              <a:gd name="T40" fmla="*/ 207 w 214"/>
              <a:gd name="T41" fmla="*/ 49 h 271"/>
              <a:gd name="T42" fmla="*/ 199 w 214"/>
              <a:gd name="T43" fmla="*/ 77 h 271"/>
              <a:gd name="T44" fmla="*/ 195 w 214"/>
              <a:gd name="T45" fmla="*/ 105 h 271"/>
              <a:gd name="T46" fmla="*/ 187 w 214"/>
              <a:gd name="T47" fmla="*/ 148 h 271"/>
              <a:gd name="T48" fmla="*/ 213 w 214"/>
              <a:gd name="T49" fmla="*/ 154 h 271"/>
              <a:gd name="T50" fmla="*/ 214 w 214"/>
              <a:gd name="T51" fmla="*/ 166 h 271"/>
              <a:gd name="T52" fmla="*/ 210 w 214"/>
              <a:gd name="T53" fmla="*/ 174 h 271"/>
              <a:gd name="T54" fmla="*/ 207 w 214"/>
              <a:gd name="T55" fmla="*/ 177 h 271"/>
              <a:gd name="T56" fmla="*/ 200 w 214"/>
              <a:gd name="T57" fmla="*/ 178 h 271"/>
              <a:gd name="T58" fmla="*/ 192 w 214"/>
              <a:gd name="T59" fmla="*/ 196 h 271"/>
              <a:gd name="T60" fmla="*/ 181 w 214"/>
              <a:gd name="T61" fmla="*/ 214 h 271"/>
              <a:gd name="T62" fmla="*/ 155 w 214"/>
              <a:gd name="T63" fmla="*/ 243 h 271"/>
              <a:gd name="T64" fmla="*/ 120 w 214"/>
              <a:gd name="T65" fmla="*/ 271 h 271"/>
              <a:gd name="T66" fmla="*/ 87 w 214"/>
              <a:gd name="T67" fmla="*/ 261 h 271"/>
              <a:gd name="T68" fmla="*/ 55 w 214"/>
              <a:gd name="T69" fmla="*/ 248 h 271"/>
              <a:gd name="T70" fmla="*/ 0 w 214"/>
              <a:gd name="T71" fmla="*/ 22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276" name="Freeform 220">
            <a:extLst>
              <a:ext uri="{FF2B5EF4-FFF2-40B4-BE49-F238E27FC236}">
                <a16:creationId xmlns="" xmlns:a16="http://schemas.microsoft.com/office/drawing/2014/main" id="{7D2A751F-D6AE-4415-A9AE-A58B1490CF7E}"/>
              </a:ext>
            </a:extLst>
          </p:cNvPr>
          <p:cNvSpPr>
            <a:spLocks/>
          </p:cNvSpPr>
          <p:nvPr>
            <p:custDataLst>
              <p:tags r:id="rId146"/>
            </p:custDataLst>
          </p:nvPr>
        </p:nvSpPr>
        <p:spPr bwMode="auto">
          <a:xfrm>
            <a:off x="1324989" y="4005112"/>
            <a:ext cx="87024" cy="59076"/>
          </a:xfrm>
          <a:custGeom>
            <a:avLst/>
            <a:gdLst>
              <a:gd name="T0" fmla="*/ 60 w 153"/>
              <a:gd name="T1" fmla="*/ 0 h 80"/>
              <a:gd name="T2" fmla="*/ 83 w 153"/>
              <a:gd name="T3" fmla="*/ 14 h 80"/>
              <a:gd name="T4" fmla="*/ 104 w 153"/>
              <a:gd name="T5" fmla="*/ 24 h 80"/>
              <a:gd name="T6" fmla="*/ 115 w 153"/>
              <a:gd name="T7" fmla="*/ 28 h 80"/>
              <a:gd name="T8" fmla="*/ 126 w 153"/>
              <a:gd name="T9" fmla="*/ 31 h 80"/>
              <a:gd name="T10" fmla="*/ 133 w 153"/>
              <a:gd name="T11" fmla="*/ 32 h 80"/>
              <a:gd name="T12" fmla="*/ 139 w 153"/>
              <a:gd name="T13" fmla="*/ 32 h 80"/>
              <a:gd name="T14" fmla="*/ 146 w 153"/>
              <a:gd name="T15" fmla="*/ 31 h 80"/>
              <a:gd name="T16" fmla="*/ 153 w 153"/>
              <a:gd name="T17" fmla="*/ 30 h 80"/>
              <a:gd name="T18" fmla="*/ 153 w 153"/>
              <a:gd name="T19" fmla="*/ 56 h 80"/>
              <a:gd name="T20" fmla="*/ 149 w 153"/>
              <a:gd name="T21" fmla="*/ 60 h 80"/>
              <a:gd name="T22" fmla="*/ 145 w 153"/>
              <a:gd name="T23" fmla="*/ 65 h 80"/>
              <a:gd name="T24" fmla="*/ 138 w 153"/>
              <a:gd name="T25" fmla="*/ 69 h 80"/>
              <a:gd name="T26" fmla="*/ 132 w 153"/>
              <a:gd name="T27" fmla="*/ 72 h 80"/>
              <a:gd name="T28" fmla="*/ 125 w 153"/>
              <a:gd name="T29" fmla="*/ 75 h 80"/>
              <a:gd name="T30" fmla="*/ 119 w 153"/>
              <a:gd name="T31" fmla="*/ 78 h 80"/>
              <a:gd name="T32" fmla="*/ 112 w 153"/>
              <a:gd name="T33" fmla="*/ 79 h 80"/>
              <a:gd name="T34" fmla="*/ 106 w 153"/>
              <a:gd name="T35" fmla="*/ 80 h 80"/>
              <a:gd name="T36" fmla="*/ 90 w 153"/>
              <a:gd name="T37" fmla="*/ 74 h 80"/>
              <a:gd name="T38" fmla="*/ 76 w 153"/>
              <a:gd name="T39" fmla="*/ 71 h 80"/>
              <a:gd name="T40" fmla="*/ 63 w 153"/>
              <a:gd name="T41" fmla="*/ 69 h 80"/>
              <a:gd name="T42" fmla="*/ 50 w 153"/>
              <a:gd name="T43" fmla="*/ 69 h 80"/>
              <a:gd name="T44" fmla="*/ 39 w 153"/>
              <a:gd name="T45" fmla="*/ 68 h 80"/>
              <a:gd name="T46" fmla="*/ 27 w 153"/>
              <a:gd name="T47" fmla="*/ 67 h 80"/>
              <a:gd name="T48" fmla="*/ 14 w 153"/>
              <a:gd name="T49" fmla="*/ 65 h 80"/>
              <a:gd name="T50" fmla="*/ 0 w 153"/>
              <a:gd name="T51" fmla="*/ 62 h 80"/>
              <a:gd name="T52" fmla="*/ 7 w 153"/>
              <a:gd name="T53" fmla="*/ 58 h 80"/>
              <a:gd name="T54" fmla="*/ 23 w 153"/>
              <a:gd name="T55" fmla="*/ 45 h 80"/>
              <a:gd name="T56" fmla="*/ 34 w 153"/>
              <a:gd name="T57" fmla="*/ 37 h 80"/>
              <a:gd name="T58" fmla="*/ 45 w 153"/>
              <a:gd name="T59" fmla="*/ 28 h 80"/>
              <a:gd name="T60" fmla="*/ 56 w 153"/>
              <a:gd name="T61" fmla="*/ 17 h 80"/>
              <a:gd name="T62" fmla="*/ 67 w 153"/>
              <a:gd name="T63" fmla="*/ 6 h 80"/>
              <a:gd name="T64" fmla="*/ 60 w 153"/>
              <a:gd name="T6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277" name="Freeform 221">
            <a:extLst>
              <a:ext uri="{FF2B5EF4-FFF2-40B4-BE49-F238E27FC236}">
                <a16:creationId xmlns="" xmlns:a16="http://schemas.microsoft.com/office/drawing/2014/main" id="{A0C77DEE-D2FD-411B-B6E4-4F0FA3FCCDC3}"/>
              </a:ext>
            </a:extLst>
          </p:cNvPr>
          <p:cNvSpPr>
            <a:spLocks/>
          </p:cNvSpPr>
          <p:nvPr>
            <p:custDataLst>
              <p:tags r:id="rId147"/>
            </p:custDataLst>
          </p:nvPr>
        </p:nvSpPr>
        <p:spPr bwMode="auto">
          <a:xfrm>
            <a:off x="1363666" y="3965728"/>
            <a:ext cx="174046" cy="90253"/>
          </a:xfrm>
          <a:custGeom>
            <a:avLst/>
            <a:gdLst>
              <a:gd name="T0" fmla="*/ 0 w 332"/>
              <a:gd name="T1" fmla="*/ 77 h 169"/>
              <a:gd name="T2" fmla="*/ 44 w 332"/>
              <a:gd name="T3" fmla="*/ 101 h 169"/>
              <a:gd name="T4" fmla="*/ 66 w 332"/>
              <a:gd name="T5" fmla="*/ 108 h 169"/>
              <a:gd name="T6" fmla="*/ 79 w 332"/>
              <a:gd name="T7" fmla="*/ 109 h 169"/>
              <a:gd name="T8" fmla="*/ 93 w 332"/>
              <a:gd name="T9" fmla="*/ 107 h 169"/>
              <a:gd name="T10" fmla="*/ 90 w 332"/>
              <a:gd name="T11" fmla="*/ 144 h 169"/>
              <a:gd name="T12" fmla="*/ 95 w 332"/>
              <a:gd name="T13" fmla="*/ 154 h 169"/>
              <a:gd name="T14" fmla="*/ 99 w 332"/>
              <a:gd name="T15" fmla="*/ 163 h 169"/>
              <a:gd name="T16" fmla="*/ 107 w 332"/>
              <a:gd name="T17" fmla="*/ 168 h 169"/>
              <a:gd name="T18" fmla="*/ 117 w 332"/>
              <a:gd name="T19" fmla="*/ 169 h 169"/>
              <a:gd name="T20" fmla="*/ 123 w 332"/>
              <a:gd name="T21" fmla="*/ 166 h 169"/>
              <a:gd name="T22" fmla="*/ 132 w 332"/>
              <a:gd name="T23" fmla="*/ 157 h 169"/>
              <a:gd name="T24" fmla="*/ 146 w 332"/>
              <a:gd name="T25" fmla="*/ 136 h 169"/>
              <a:gd name="T26" fmla="*/ 174 w 332"/>
              <a:gd name="T27" fmla="*/ 115 h 169"/>
              <a:gd name="T28" fmla="*/ 214 w 332"/>
              <a:gd name="T29" fmla="*/ 96 h 169"/>
              <a:gd name="T30" fmla="*/ 256 w 332"/>
              <a:gd name="T31" fmla="*/ 80 h 169"/>
              <a:gd name="T32" fmla="*/ 304 w 332"/>
              <a:gd name="T33" fmla="*/ 65 h 169"/>
              <a:gd name="T34" fmla="*/ 332 w 332"/>
              <a:gd name="T35" fmla="*/ 46 h 169"/>
              <a:gd name="T36" fmla="*/ 332 w 332"/>
              <a:gd name="T37" fmla="*/ 22 h 169"/>
              <a:gd name="T38" fmla="*/ 320 w 332"/>
              <a:gd name="T39" fmla="*/ 2 h 169"/>
              <a:gd name="T40" fmla="*/ 283 w 332"/>
              <a:gd name="T41" fmla="*/ 1 h 169"/>
              <a:gd name="T42" fmla="*/ 234 w 332"/>
              <a:gd name="T43" fmla="*/ 0 h 169"/>
              <a:gd name="T44" fmla="*/ 180 w 332"/>
              <a:gd name="T45" fmla="*/ 1 h 169"/>
              <a:gd name="T46" fmla="*/ 131 w 332"/>
              <a:gd name="T47" fmla="*/ 4 h 169"/>
              <a:gd name="T48" fmla="*/ 90 w 332"/>
              <a:gd name="T49" fmla="*/ 10 h 169"/>
              <a:gd name="T50" fmla="*/ 59 w 332"/>
              <a:gd name="T51" fmla="*/ 19 h 169"/>
              <a:gd name="T52" fmla="*/ 42 w 332"/>
              <a:gd name="T53" fmla="*/ 22 h 169"/>
              <a:gd name="T54" fmla="*/ 35 w 332"/>
              <a:gd name="T55" fmla="*/ 23 h 169"/>
              <a:gd name="T56" fmla="*/ 34 w 332"/>
              <a:gd name="T57" fmla="*/ 26 h 169"/>
              <a:gd name="T58" fmla="*/ 33 w 332"/>
              <a:gd name="T59" fmla="*/ 38 h 169"/>
              <a:gd name="T60" fmla="*/ 29 w 332"/>
              <a:gd name="T61" fmla="*/ 44 h 169"/>
              <a:gd name="T62" fmla="*/ 23 w 332"/>
              <a:gd name="T63" fmla="*/ 46 h 169"/>
              <a:gd name="T64" fmla="*/ 19 w 332"/>
              <a:gd name="T65" fmla="*/ 55 h 169"/>
              <a:gd name="T66" fmla="*/ 11 w 332"/>
              <a:gd name="T67" fmla="*/ 72 h 169"/>
              <a:gd name="T68" fmla="*/ 7 w 332"/>
              <a:gd name="T69" fmla="*/ 83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278" name="Freeform 222">
            <a:extLst>
              <a:ext uri="{FF2B5EF4-FFF2-40B4-BE49-F238E27FC236}">
                <a16:creationId xmlns="" xmlns:a16="http://schemas.microsoft.com/office/drawing/2014/main" id="{ACCC8892-6D8F-409F-8D4A-26B8CD23298C}"/>
              </a:ext>
            </a:extLst>
          </p:cNvPr>
          <p:cNvSpPr>
            <a:spLocks/>
          </p:cNvSpPr>
          <p:nvPr>
            <p:custDataLst>
              <p:tags r:id="rId148"/>
            </p:custDataLst>
          </p:nvPr>
        </p:nvSpPr>
        <p:spPr bwMode="auto">
          <a:xfrm>
            <a:off x="1384939" y="3996906"/>
            <a:ext cx="152774" cy="126355"/>
          </a:xfrm>
          <a:custGeom>
            <a:avLst/>
            <a:gdLst>
              <a:gd name="T0" fmla="*/ 44 w 286"/>
              <a:gd name="T1" fmla="*/ 86 h 235"/>
              <a:gd name="T2" fmla="*/ 49 w 286"/>
              <a:gd name="T3" fmla="*/ 96 h 235"/>
              <a:gd name="T4" fmla="*/ 53 w 286"/>
              <a:gd name="T5" fmla="*/ 105 h 235"/>
              <a:gd name="T6" fmla="*/ 61 w 286"/>
              <a:gd name="T7" fmla="*/ 110 h 235"/>
              <a:gd name="T8" fmla="*/ 71 w 286"/>
              <a:gd name="T9" fmla="*/ 111 h 235"/>
              <a:gd name="T10" fmla="*/ 77 w 286"/>
              <a:gd name="T11" fmla="*/ 108 h 235"/>
              <a:gd name="T12" fmla="*/ 86 w 286"/>
              <a:gd name="T13" fmla="*/ 99 h 235"/>
              <a:gd name="T14" fmla="*/ 100 w 286"/>
              <a:gd name="T15" fmla="*/ 78 h 235"/>
              <a:gd name="T16" fmla="*/ 128 w 286"/>
              <a:gd name="T17" fmla="*/ 57 h 235"/>
              <a:gd name="T18" fmla="*/ 168 w 286"/>
              <a:gd name="T19" fmla="*/ 38 h 235"/>
              <a:gd name="T20" fmla="*/ 210 w 286"/>
              <a:gd name="T21" fmla="*/ 22 h 235"/>
              <a:gd name="T22" fmla="*/ 258 w 286"/>
              <a:gd name="T23" fmla="*/ 7 h 235"/>
              <a:gd name="T24" fmla="*/ 286 w 286"/>
              <a:gd name="T25" fmla="*/ 11 h 235"/>
              <a:gd name="T26" fmla="*/ 282 w 286"/>
              <a:gd name="T27" fmla="*/ 32 h 235"/>
              <a:gd name="T28" fmla="*/ 272 w 286"/>
              <a:gd name="T29" fmla="*/ 70 h 235"/>
              <a:gd name="T30" fmla="*/ 254 w 286"/>
              <a:gd name="T31" fmla="*/ 128 h 235"/>
              <a:gd name="T32" fmla="*/ 244 w 286"/>
              <a:gd name="T33" fmla="*/ 174 h 235"/>
              <a:gd name="T34" fmla="*/ 240 w 286"/>
              <a:gd name="T35" fmla="*/ 206 h 235"/>
              <a:gd name="T36" fmla="*/ 146 w 286"/>
              <a:gd name="T37" fmla="*/ 216 h 235"/>
              <a:gd name="T38" fmla="*/ 138 w 286"/>
              <a:gd name="T39" fmla="*/ 218 h 235"/>
              <a:gd name="T40" fmla="*/ 132 w 286"/>
              <a:gd name="T41" fmla="*/ 223 h 235"/>
              <a:gd name="T42" fmla="*/ 127 w 286"/>
              <a:gd name="T43" fmla="*/ 235 h 235"/>
              <a:gd name="T44" fmla="*/ 109 w 286"/>
              <a:gd name="T45" fmla="*/ 217 h 235"/>
              <a:gd name="T46" fmla="*/ 94 w 286"/>
              <a:gd name="T47" fmla="*/ 199 h 235"/>
              <a:gd name="T48" fmla="*/ 69 w 286"/>
              <a:gd name="T49" fmla="*/ 160 h 235"/>
              <a:gd name="T50" fmla="*/ 55 w 286"/>
              <a:gd name="T51" fmla="*/ 142 h 235"/>
              <a:gd name="T52" fmla="*/ 41 w 286"/>
              <a:gd name="T53" fmla="*/ 125 h 235"/>
              <a:gd name="T54" fmla="*/ 22 w 286"/>
              <a:gd name="T55" fmla="*/ 110 h 235"/>
              <a:gd name="T56" fmla="*/ 0 w 286"/>
              <a:gd name="T57" fmla="*/ 99 h 235"/>
              <a:gd name="T58" fmla="*/ 13 w 286"/>
              <a:gd name="T59" fmla="*/ 97 h 235"/>
              <a:gd name="T60" fmla="*/ 26 w 286"/>
              <a:gd name="T61" fmla="*/ 91 h 235"/>
              <a:gd name="T62" fmla="*/ 39 w 286"/>
              <a:gd name="T63" fmla="*/ 84 h 235"/>
              <a:gd name="T64" fmla="*/ 47 w 286"/>
              <a:gd name="T65" fmla="*/ 7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279" name="Freeform 223">
            <a:extLst>
              <a:ext uri="{FF2B5EF4-FFF2-40B4-BE49-F238E27FC236}">
                <a16:creationId xmlns="" xmlns:a16="http://schemas.microsoft.com/office/drawing/2014/main" id="{7673F7C5-C95D-41B6-97DA-907665B080C9}"/>
              </a:ext>
            </a:extLst>
          </p:cNvPr>
          <p:cNvSpPr>
            <a:spLocks/>
          </p:cNvSpPr>
          <p:nvPr>
            <p:custDataLst>
              <p:tags r:id="rId149"/>
            </p:custDataLst>
          </p:nvPr>
        </p:nvSpPr>
        <p:spPr bwMode="auto">
          <a:xfrm>
            <a:off x="1446823" y="4113416"/>
            <a:ext cx="102494" cy="103381"/>
          </a:xfrm>
          <a:custGeom>
            <a:avLst/>
            <a:gdLst>
              <a:gd name="T0" fmla="*/ 188 w 205"/>
              <a:gd name="T1" fmla="*/ 185 h 191"/>
              <a:gd name="T2" fmla="*/ 175 w 205"/>
              <a:gd name="T3" fmla="*/ 185 h 191"/>
              <a:gd name="T4" fmla="*/ 158 w 205"/>
              <a:gd name="T5" fmla="*/ 185 h 191"/>
              <a:gd name="T6" fmla="*/ 144 w 205"/>
              <a:gd name="T7" fmla="*/ 180 h 191"/>
              <a:gd name="T8" fmla="*/ 136 w 205"/>
              <a:gd name="T9" fmla="*/ 173 h 191"/>
              <a:gd name="T10" fmla="*/ 129 w 205"/>
              <a:gd name="T11" fmla="*/ 163 h 191"/>
              <a:gd name="T12" fmla="*/ 120 w 205"/>
              <a:gd name="T13" fmla="*/ 147 h 191"/>
              <a:gd name="T14" fmla="*/ 110 w 205"/>
              <a:gd name="T15" fmla="*/ 131 h 191"/>
              <a:gd name="T16" fmla="*/ 99 w 205"/>
              <a:gd name="T17" fmla="*/ 121 h 191"/>
              <a:gd name="T18" fmla="*/ 93 w 205"/>
              <a:gd name="T19" fmla="*/ 126 h 191"/>
              <a:gd name="T20" fmla="*/ 90 w 205"/>
              <a:gd name="T21" fmla="*/ 135 h 191"/>
              <a:gd name="T22" fmla="*/ 84 w 205"/>
              <a:gd name="T23" fmla="*/ 130 h 191"/>
              <a:gd name="T24" fmla="*/ 72 w 205"/>
              <a:gd name="T25" fmla="*/ 113 h 191"/>
              <a:gd name="T26" fmla="*/ 56 w 205"/>
              <a:gd name="T27" fmla="*/ 87 h 191"/>
              <a:gd name="T28" fmla="*/ 41 w 205"/>
              <a:gd name="T29" fmla="*/ 67 h 191"/>
              <a:gd name="T30" fmla="*/ 31 w 205"/>
              <a:gd name="T31" fmla="*/ 58 h 191"/>
              <a:gd name="T32" fmla="*/ 26 w 205"/>
              <a:gd name="T33" fmla="*/ 60 h 191"/>
              <a:gd name="T34" fmla="*/ 29 w 205"/>
              <a:gd name="T35" fmla="*/ 69 h 191"/>
              <a:gd name="T36" fmla="*/ 34 w 205"/>
              <a:gd name="T37" fmla="*/ 78 h 191"/>
              <a:gd name="T38" fmla="*/ 41 w 205"/>
              <a:gd name="T39" fmla="*/ 84 h 191"/>
              <a:gd name="T40" fmla="*/ 46 w 205"/>
              <a:gd name="T41" fmla="*/ 105 h 191"/>
              <a:gd name="T42" fmla="*/ 13 w 205"/>
              <a:gd name="T43" fmla="*/ 98 h 191"/>
              <a:gd name="T44" fmla="*/ 4 w 205"/>
              <a:gd name="T45" fmla="*/ 84 h 191"/>
              <a:gd name="T46" fmla="*/ 0 w 205"/>
              <a:gd name="T47" fmla="*/ 60 h 191"/>
              <a:gd name="T48" fmla="*/ 0 w 205"/>
              <a:gd name="T49" fmla="*/ 38 h 191"/>
              <a:gd name="T50" fmla="*/ 3 w 205"/>
              <a:gd name="T51" fmla="*/ 28 h 191"/>
              <a:gd name="T52" fmla="*/ 8 w 205"/>
              <a:gd name="T53" fmla="*/ 22 h 191"/>
              <a:gd name="T54" fmla="*/ 14 w 205"/>
              <a:gd name="T55" fmla="*/ 13 h 191"/>
              <a:gd name="T56" fmla="*/ 20 w 205"/>
              <a:gd name="T57" fmla="*/ 4 h 191"/>
              <a:gd name="T58" fmla="*/ 28 w 205"/>
              <a:gd name="T59" fmla="*/ 0 h 191"/>
              <a:gd name="T60" fmla="*/ 126 w 205"/>
              <a:gd name="T61" fmla="*/ 6 h 191"/>
              <a:gd name="T62" fmla="*/ 127 w 205"/>
              <a:gd name="T63" fmla="*/ 21 h 191"/>
              <a:gd name="T64" fmla="*/ 130 w 205"/>
              <a:gd name="T65" fmla="*/ 37 h 191"/>
              <a:gd name="T66" fmla="*/ 143 w 205"/>
              <a:gd name="T67" fmla="*/ 70 h 191"/>
              <a:gd name="T68" fmla="*/ 165 w 205"/>
              <a:gd name="T69" fmla="*/ 102 h 191"/>
              <a:gd name="T70" fmla="*/ 177 w 205"/>
              <a:gd name="T71" fmla="*/ 117 h 191"/>
              <a:gd name="T72" fmla="*/ 192 w 205"/>
              <a:gd name="T73" fmla="*/ 130 h 191"/>
              <a:gd name="T74" fmla="*/ 189 w 205"/>
              <a:gd name="T75" fmla="*/ 143 h 191"/>
              <a:gd name="T76" fmla="*/ 189 w 205"/>
              <a:gd name="T77" fmla="*/ 156 h 191"/>
              <a:gd name="T78" fmla="*/ 192 w 205"/>
              <a:gd name="T79" fmla="*/ 191 h 191"/>
              <a:gd name="T80" fmla="*/ 205 w 205"/>
              <a:gd name="T81" fmla="*/ 18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280" name="Freeform 224">
            <a:extLst>
              <a:ext uri="{FF2B5EF4-FFF2-40B4-BE49-F238E27FC236}">
                <a16:creationId xmlns="" xmlns:a16="http://schemas.microsoft.com/office/drawing/2014/main" id="{3B6FDFA0-D7DC-4ED3-871F-013465252813}"/>
              </a:ext>
            </a:extLst>
          </p:cNvPr>
          <p:cNvSpPr>
            <a:spLocks/>
          </p:cNvSpPr>
          <p:nvPr>
            <p:custDataLst>
              <p:tags r:id="rId150"/>
            </p:custDataLst>
          </p:nvPr>
        </p:nvSpPr>
        <p:spPr bwMode="auto">
          <a:xfrm>
            <a:off x="1545448" y="4169209"/>
            <a:ext cx="174046" cy="82049"/>
          </a:xfrm>
          <a:custGeom>
            <a:avLst/>
            <a:gdLst>
              <a:gd name="T0" fmla="*/ 3 w 329"/>
              <a:gd name="T1" fmla="*/ 58 h 154"/>
              <a:gd name="T2" fmla="*/ 0 w 329"/>
              <a:gd name="T3" fmla="*/ 42 h 154"/>
              <a:gd name="T4" fmla="*/ 2 w 329"/>
              <a:gd name="T5" fmla="*/ 31 h 154"/>
              <a:gd name="T6" fmla="*/ 17 w 329"/>
              <a:gd name="T7" fmla="*/ 33 h 154"/>
              <a:gd name="T8" fmla="*/ 36 w 329"/>
              <a:gd name="T9" fmla="*/ 41 h 154"/>
              <a:gd name="T10" fmla="*/ 49 w 329"/>
              <a:gd name="T11" fmla="*/ 43 h 154"/>
              <a:gd name="T12" fmla="*/ 67 w 329"/>
              <a:gd name="T13" fmla="*/ 43 h 154"/>
              <a:gd name="T14" fmla="*/ 86 w 329"/>
              <a:gd name="T15" fmla="*/ 39 h 154"/>
              <a:gd name="T16" fmla="*/ 110 w 329"/>
              <a:gd name="T17" fmla="*/ 30 h 154"/>
              <a:gd name="T18" fmla="*/ 140 w 329"/>
              <a:gd name="T19" fmla="*/ 13 h 154"/>
              <a:gd name="T20" fmla="*/ 162 w 329"/>
              <a:gd name="T21" fmla="*/ 4 h 154"/>
              <a:gd name="T22" fmla="*/ 179 w 329"/>
              <a:gd name="T23" fmla="*/ 0 h 154"/>
              <a:gd name="T24" fmla="*/ 203 w 329"/>
              <a:gd name="T25" fmla="*/ 0 h 154"/>
              <a:gd name="T26" fmla="*/ 224 w 329"/>
              <a:gd name="T27" fmla="*/ 6 h 154"/>
              <a:gd name="T28" fmla="*/ 243 w 329"/>
              <a:gd name="T29" fmla="*/ 15 h 154"/>
              <a:gd name="T30" fmla="*/ 259 w 329"/>
              <a:gd name="T31" fmla="*/ 28 h 154"/>
              <a:gd name="T32" fmla="*/ 280 w 329"/>
              <a:gd name="T33" fmla="*/ 46 h 154"/>
              <a:gd name="T34" fmla="*/ 302 w 329"/>
              <a:gd name="T35" fmla="*/ 61 h 154"/>
              <a:gd name="T36" fmla="*/ 319 w 329"/>
              <a:gd name="T37" fmla="*/ 67 h 154"/>
              <a:gd name="T38" fmla="*/ 313 w 329"/>
              <a:gd name="T39" fmla="*/ 82 h 154"/>
              <a:gd name="T40" fmla="*/ 293 w 329"/>
              <a:gd name="T41" fmla="*/ 106 h 154"/>
              <a:gd name="T42" fmla="*/ 277 w 329"/>
              <a:gd name="T43" fmla="*/ 138 h 154"/>
              <a:gd name="T44" fmla="*/ 265 w 329"/>
              <a:gd name="T45" fmla="*/ 153 h 154"/>
              <a:gd name="T46" fmla="*/ 253 w 329"/>
              <a:gd name="T47" fmla="*/ 146 h 154"/>
              <a:gd name="T48" fmla="*/ 240 w 329"/>
              <a:gd name="T49" fmla="*/ 136 h 154"/>
              <a:gd name="T50" fmla="*/ 230 w 329"/>
              <a:gd name="T51" fmla="*/ 126 h 154"/>
              <a:gd name="T52" fmla="*/ 230 w 329"/>
              <a:gd name="T53" fmla="*/ 114 h 154"/>
              <a:gd name="T54" fmla="*/ 235 w 329"/>
              <a:gd name="T55" fmla="*/ 100 h 154"/>
              <a:gd name="T56" fmla="*/ 249 w 329"/>
              <a:gd name="T57" fmla="*/ 86 h 154"/>
              <a:gd name="T58" fmla="*/ 233 w 329"/>
              <a:gd name="T59" fmla="*/ 68 h 154"/>
              <a:gd name="T60" fmla="*/ 207 w 329"/>
              <a:gd name="T61" fmla="*/ 55 h 154"/>
              <a:gd name="T62" fmla="*/ 195 w 329"/>
              <a:gd name="T63" fmla="*/ 41 h 154"/>
              <a:gd name="T64" fmla="*/ 179 w 329"/>
              <a:gd name="T65" fmla="*/ 34 h 154"/>
              <a:gd name="T66" fmla="*/ 163 w 329"/>
              <a:gd name="T67" fmla="*/ 41 h 154"/>
              <a:gd name="T68" fmla="*/ 150 w 329"/>
              <a:gd name="T69" fmla="*/ 50 h 154"/>
              <a:gd name="T70" fmla="*/ 140 w 329"/>
              <a:gd name="T71" fmla="*/ 61 h 154"/>
              <a:gd name="T72" fmla="*/ 132 w 329"/>
              <a:gd name="T73" fmla="*/ 74 h 154"/>
              <a:gd name="T74" fmla="*/ 128 w 329"/>
              <a:gd name="T75" fmla="*/ 88 h 154"/>
              <a:gd name="T76" fmla="*/ 123 w 329"/>
              <a:gd name="T77" fmla="*/ 109 h 154"/>
              <a:gd name="T78" fmla="*/ 122 w 329"/>
              <a:gd name="T79" fmla="*/ 125 h 154"/>
              <a:gd name="T80" fmla="*/ 118 w 329"/>
              <a:gd name="T81" fmla="*/ 129 h 154"/>
              <a:gd name="T82" fmla="*/ 108 w 329"/>
              <a:gd name="T83" fmla="*/ 135 h 154"/>
              <a:gd name="T84" fmla="*/ 96 w 329"/>
              <a:gd name="T85" fmla="*/ 135 h 154"/>
              <a:gd name="T86" fmla="*/ 83 w 329"/>
              <a:gd name="T87" fmla="*/ 129 h 154"/>
              <a:gd name="T88" fmla="*/ 66 w 329"/>
              <a:gd name="T89" fmla="*/ 116 h 154"/>
              <a:gd name="T90" fmla="*/ 48 w 329"/>
              <a:gd name="T91" fmla="*/ 94 h 154"/>
              <a:gd name="T92" fmla="*/ 33 w 329"/>
              <a:gd name="T93" fmla="*/ 80 h 154"/>
              <a:gd name="T94" fmla="*/ 22 w 329"/>
              <a:gd name="T95" fmla="*/ 74 h 154"/>
              <a:gd name="T96" fmla="*/ 3 w 329"/>
              <a:gd name="T97"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281" name="Freeform 225">
            <a:extLst>
              <a:ext uri="{FF2B5EF4-FFF2-40B4-BE49-F238E27FC236}">
                <a16:creationId xmlns="" xmlns:a16="http://schemas.microsoft.com/office/drawing/2014/main" id="{E09B456E-BB4F-431E-98CB-A9B94E5832C1}"/>
              </a:ext>
            </a:extLst>
          </p:cNvPr>
          <p:cNvSpPr>
            <a:spLocks/>
          </p:cNvSpPr>
          <p:nvPr>
            <p:custDataLst>
              <p:tags r:id="rId151"/>
            </p:custDataLst>
          </p:nvPr>
        </p:nvSpPr>
        <p:spPr bwMode="auto">
          <a:xfrm>
            <a:off x="2375071" y="5465579"/>
            <a:ext cx="162444" cy="160816"/>
          </a:xfrm>
          <a:custGeom>
            <a:avLst/>
            <a:gdLst>
              <a:gd name="T0" fmla="*/ 297 w 306"/>
              <a:gd name="T1" fmla="*/ 181 h 293"/>
              <a:gd name="T2" fmla="*/ 296 w 306"/>
              <a:gd name="T3" fmla="*/ 185 h 293"/>
              <a:gd name="T4" fmla="*/ 291 w 306"/>
              <a:gd name="T5" fmla="*/ 194 h 293"/>
              <a:gd name="T6" fmla="*/ 282 w 306"/>
              <a:gd name="T7" fmla="*/ 199 h 293"/>
              <a:gd name="T8" fmla="*/ 272 w 306"/>
              <a:gd name="T9" fmla="*/ 201 h 293"/>
              <a:gd name="T10" fmla="*/ 263 w 306"/>
              <a:gd name="T11" fmla="*/ 207 h 293"/>
              <a:gd name="T12" fmla="*/ 253 w 306"/>
              <a:gd name="T13" fmla="*/ 229 h 293"/>
              <a:gd name="T14" fmla="*/ 242 w 306"/>
              <a:gd name="T15" fmla="*/ 254 h 293"/>
              <a:gd name="T16" fmla="*/ 231 w 306"/>
              <a:gd name="T17" fmla="*/ 267 h 293"/>
              <a:gd name="T18" fmla="*/ 221 w 306"/>
              <a:gd name="T19" fmla="*/ 273 h 293"/>
              <a:gd name="T20" fmla="*/ 200 w 306"/>
              <a:gd name="T21" fmla="*/ 281 h 293"/>
              <a:gd name="T22" fmla="*/ 164 w 306"/>
              <a:gd name="T23" fmla="*/ 290 h 293"/>
              <a:gd name="T24" fmla="*/ 139 w 306"/>
              <a:gd name="T25" fmla="*/ 293 h 293"/>
              <a:gd name="T26" fmla="*/ 123 w 306"/>
              <a:gd name="T27" fmla="*/ 293 h 293"/>
              <a:gd name="T28" fmla="*/ 106 w 306"/>
              <a:gd name="T29" fmla="*/ 290 h 293"/>
              <a:gd name="T30" fmla="*/ 92 w 306"/>
              <a:gd name="T31" fmla="*/ 286 h 293"/>
              <a:gd name="T32" fmla="*/ 80 w 306"/>
              <a:gd name="T33" fmla="*/ 278 h 293"/>
              <a:gd name="T34" fmla="*/ 71 w 306"/>
              <a:gd name="T35" fmla="*/ 268 h 293"/>
              <a:gd name="T36" fmla="*/ 1 w 306"/>
              <a:gd name="T37" fmla="*/ 236 h 293"/>
              <a:gd name="T38" fmla="*/ 0 w 306"/>
              <a:gd name="T39" fmla="*/ 88 h 293"/>
              <a:gd name="T40" fmla="*/ 1 w 306"/>
              <a:gd name="T41" fmla="*/ 49 h 293"/>
              <a:gd name="T42" fmla="*/ 4 w 306"/>
              <a:gd name="T43" fmla="*/ 35 h 293"/>
              <a:gd name="T44" fmla="*/ 11 w 306"/>
              <a:gd name="T45" fmla="*/ 21 h 293"/>
              <a:gd name="T46" fmla="*/ 20 w 306"/>
              <a:gd name="T47" fmla="*/ 8 h 293"/>
              <a:gd name="T48" fmla="*/ 41 w 306"/>
              <a:gd name="T49" fmla="*/ 2 h 293"/>
              <a:gd name="T50" fmla="*/ 53 w 306"/>
              <a:gd name="T51" fmla="*/ 0 h 293"/>
              <a:gd name="T52" fmla="*/ 72 w 306"/>
              <a:gd name="T53" fmla="*/ 6 h 293"/>
              <a:gd name="T54" fmla="*/ 80 w 306"/>
              <a:gd name="T55" fmla="*/ 7 h 293"/>
              <a:gd name="T56" fmla="*/ 84 w 306"/>
              <a:gd name="T57" fmla="*/ 4 h 293"/>
              <a:gd name="T58" fmla="*/ 87 w 306"/>
              <a:gd name="T59" fmla="*/ 5 h 293"/>
              <a:gd name="T60" fmla="*/ 90 w 306"/>
              <a:gd name="T61" fmla="*/ 11 h 293"/>
              <a:gd name="T62" fmla="*/ 99 w 306"/>
              <a:gd name="T63" fmla="*/ 19 h 293"/>
              <a:gd name="T64" fmla="*/ 121 w 306"/>
              <a:gd name="T65" fmla="*/ 31 h 293"/>
              <a:gd name="T66" fmla="*/ 148 w 306"/>
              <a:gd name="T67" fmla="*/ 41 h 293"/>
              <a:gd name="T68" fmla="*/ 182 w 306"/>
              <a:gd name="T69" fmla="*/ 59 h 293"/>
              <a:gd name="T70" fmla="*/ 210 w 306"/>
              <a:gd name="T71" fmla="*/ 79 h 293"/>
              <a:gd name="T72" fmla="*/ 241 w 306"/>
              <a:gd name="T73" fmla="*/ 102 h 293"/>
              <a:gd name="T74" fmla="*/ 261 w 306"/>
              <a:gd name="T75" fmla="*/ 117 h 293"/>
              <a:gd name="T76" fmla="*/ 266 w 306"/>
              <a:gd name="T77" fmla="*/ 124 h 293"/>
              <a:gd name="T78" fmla="*/ 280 w 306"/>
              <a:gd name="T79" fmla="*/ 135 h 293"/>
              <a:gd name="T80" fmla="*/ 299 w 306"/>
              <a:gd name="T81" fmla="*/ 151 h 293"/>
              <a:gd name="T82" fmla="*/ 306 w 306"/>
              <a:gd name="T83" fmla="*/ 161 h 293"/>
              <a:gd name="T84" fmla="*/ 304 w 306"/>
              <a:gd name="T85" fmla="*/ 16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282" name="Freeform 226">
            <a:extLst>
              <a:ext uri="{FF2B5EF4-FFF2-40B4-BE49-F238E27FC236}">
                <a16:creationId xmlns="" xmlns:a16="http://schemas.microsoft.com/office/drawing/2014/main" id="{6B727D66-5C46-4CCE-81D1-D042AF74EDCF}"/>
              </a:ext>
            </a:extLst>
          </p:cNvPr>
          <p:cNvSpPr>
            <a:spLocks/>
          </p:cNvSpPr>
          <p:nvPr>
            <p:custDataLst>
              <p:tags r:id="rId152"/>
            </p:custDataLst>
          </p:nvPr>
        </p:nvSpPr>
        <p:spPr bwMode="auto">
          <a:xfrm>
            <a:off x="4258643" y="1968660"/>
            <a:ext cx="288143" cy="95176"/>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283" name="Freeform 227">
            <a:extLst>
              <a:ext uri="{FF2B5EF4-FFF2-40B4-BE49-F238E27FC236}">
                <a16:creationId xmlns="" xmlns:a16="http://schemas.microsoft.com/office/drawing/2014/main" id="{F8677527-A789-46F0-93F6-7D6ED24DBB6F}"/>
              </a:ext>
            </a:extLst>
          </p:cNvPr>
          <p:cNvSpPr>
            <a:spLocks/>
          </p:cNvSpPr>
          <p:nvPr>
            <p:custDataLst>
              <p:tags r:id="rId153"/>
            </p:custDataLst>
          </p:nvPr>
        </p:nvSpPr>
        <p:spPr bwMode="auto">
          <a:xfrm>
            <a:off x="4169686" y="2206603"/>
            <a:ext cx="547279" cy="374142"/>
          </a:xfrm>
          <a:custGeom>
            <a:avLst/>
            <a:gdLst>
              <a:gd name="T0" fmla="*/ 240 w 1037"/>
              <a:gd name="T1" fmla="*/ 622 h 690"/>
              <a:gd name="T2" fmla="*/ 155 w 1037"/>
              <a:gd name="T3" fmla="*/ 683 h 690"/>
              <a:gd name="T4" fmla="*/ 32 w 1037"/>
              <a:gd name="T5" fmla="*/ 654 h 690"/>
              <a:gd name="T6" fmla="*/ 67 w 1037"/>
              <a:gd name="T7" fmla="*/ 634 h 690"/>
              <a:gd name="T8" fmla="*/ 18 w 1037"/>
              <a:gd name="T9" fmla="*/ 596 h 690"/>
              <a:gd name="T10" fmla="*/ 44 w 1037"/>
              <a:gd name="T11" fmla="*/ 595 h 690"/>
              <a:gd name="T12" fmla="*/ 67 w 1037"/>
              <a:gd name="T13" fmla="*/ 567 h 690"/>
              <a:gd name="T14" fmla="*/ 8 w 1037"/>
              <a:gd name="T15" fmla="*/ 546 h 690"/>
              <a:gd name="T16" fmla="*/ 74 w 1037"/>
              <a:gd name="T17" fmla="*/ 523 h 690"/>
              <a:gd name="T18" fmla="*/ 0 w 1037"/>
              <a:gd name="T19" fmla="*/ 499 h 690"/>
              <a:gd name="T20" fmla="*/ 20 w 1037"/>
              <a:gd name="T21" fmla="*/ 456 h 690"/>
              <a:gd name="T22" fmla="*/ 37 w 1037"/>
              <a:gd name="T23" fmla="*/ 461 h 690"/>
              <a:gd name="T24" fmla="*/ 77 w 1037"/>
              <a:gd name="T25" fmla="*/ 449 h 690"/>
              <a:gd name="T26" fmla="*/ 92 w 1037"/>
              <a:gd name="T27" fmla="*/ 424 h 690"/>
              <a:gd name="T28" fmla="*/ 130 w 1037"/>
              <a:gd name="T29" fmla="*/ 409 h 690"/>
              <a:gd name="T30" fmla="*/ 220 w 1037"/>
              <a:gd name="T31" fmla="*/ 382 h 690"/>
              <a:gd name="T32" fmla="*/ 227 w 1037"/>
              <a:gd name="T33" fmla="*/ 339 h 690"/>
              <a:gd name="T34" fmla="*/ 283 w 1037"/>
              <a:gd name="T35" fmla="*/ 325 h 690"/>
              <a:gd name="T36" fmla="*/ 282 w 1037"/>
              <a:gd name="T37" fmla="*/ 310 h 690"/>
              <a:gd name="T38" fmla="*/ 298 w 1037"/>
              <a:gd name="T39" fmla="*/ 285 h 690"/>
              <a:gd name="T40" fmla="*/ 335 w 1037"/>
              <a:gd name="T41" fmla="*/ 243 h 690"/>
              <a:gd name="T42" fmla="*/ 343 w 1037"/>
              <a:gd name="T43" fmla="*/ 226 h 690"/>
              <a:gd name="T44" fmla="*/ 390 w 1037"/>
              <a:gd name="T45" fmla="*/ 200 h 690"/>
              <a:gd name="T46" fmla="*/ 387 w 1037"/>
              <a:gd name="T47" fmla="*/ 157 h 690"/>
              <a:gd name="T48" fmla="*/ 373 w 1037"/>
              <a:gd name="T49" fmla="*/ 142 h 690"/>
              <a:gd name="T50" fmla="*/ 334 w 1037"/>
              <a:gd name="T51" fmla="*/ 154 h 690"/>
              <a:gd name="T52" fmla="*/ 390 w 1037"/>
              <a:gd name="T53" fmla="*/ 103 h 690"/>
              <a:gd name="T54" fmla="*/ 411 w 1037"/>
              <a:gd name="T55" fmla="*/ 96 h 690"/>
              <a:gd name="T56" fmla="*/ 463 w 1037"/>
              <a:gd name="T57" fmla="*/ 114 h 690"/>
              <a:gd name="T58" fmla="*/ 466 w 1037"/>
              <a:gd name="T59" fmla="*/ 91 h 690"/>
              <a:gd name="T60" fmla="*/ 558 w 1037"/>
              <a:gd name="T61" fmla="*/ 61 h 690"/>
              <a:gd name="T62" fmla="*/ 591 w 1037"/>
              <a:gd name="T63" fmla="*/ 63 h 690"/>
              <a:gd name="T64" fmla="*/ 645 w 1037"/>
              <a:gd name="T65" fmla="*/ 55 h 690"/>
              <a:gd name="T66" fmla="*/ 645 w 1037"/>
              <a:gd name="T67" fmla="*/ 33 h 690"/>
              <a:gd name="T68" fmla="*/ 699 w 1037"/>
              <a:gd name="T69" fmla="*/ 13 h 690"/>
              <a:gd name="T70" fmla="*/ 705 w 1037"/>
              <a:gd name="T71" fmla="*/ 29 h 690"/>
              <a:gd name="T72" fmla="*/ 712 w 1037"/>
              <a:gd name="T73" fmla="*/ 40 h 690"/>
              <a:gd name="T74" fmla="*/ 758 w 1037"/>
              <a:gd name="T75" fmla="*/ 12 h 690"/>
              <a:gd name="T76" fmla="*/ 817 w 1037"/>
              <a:gd name="T77" fmla="*/ 6 h 690"/>
              <a:gd name="T78" fmla="*/ 844 w 1037"/>
              <a:gd name="T79" fmla="*/ 8 h 690"/>
              <a:gd name="T80" fmla="*/ 862 w 1037"/>
              <a:gd name="T81" fmla="*/ 11 h 690"/>
              <a:gd name="T82" fmla="*/ 924 w 1037"/>
              <a:gd name="T83" fmla="*/ 6 h 690"/>
              <a:gd name="T84" fmla="*/ 1037 w 1037"/>
              <a:gd name="T85" fmla="*/ 43 h 690"/>
              <a:gd name="T86" fmla="*/ 1005 w 1037"/>
              <a:gd name="T87" fmla="*/ 79 h 690"/>
              <a:gd name="T88" fmla="*/ 930 w 1037"/>
              <a:gd name="T89" fmla="*/ 55 h 690"/>
              <a:gd name="T90" fmla="*/ 873 w 1037"/>
              <a:gd name="T91" fmla="*/ 74 h 690"/>
              <a:gd name="T92" fmla="*/ 848 w 1037"/>
              <a:gd name="T93" fmla="*/ 116 h 690"/>
              <a:gd name="T94" fmla="*/ 811 w 1037"/>
              <a:gd name="T95" fmla="*/ 111 h 690"/>
              <a:gd name="T96" fmla="*/ 745 w 1037"/>
              <a:gd name="T97" fmla="*/ 128 h 690"/>
              <a:gd name="T98" fmla="*/ 694 w 1037"/>
              <a:gd name="T99" fmla="*/ 92 h 690"/>
              <a:gd name="T100" fmla="*/ 620 w 1037"/>
              <a:gd name="T101" fmla="*/ 112 h 690"/>
              <a:gd name="T102" fmla="*/ 534 w 1037"/>
              <a:gd name="T103" fmla="*/ 134 h 690"/>
              <a:gd name="T104" fmla="*/ 486 w 1037"/>
              <a:gd name="T105" fmla="*/ 210 h 690"/>
              <a:gd name="T106" fmla="*/ 430 w 1037"/>
              <a:gd name="T107" fmla="*/ 279 h 690"/>
              <a:gd name="T108" fmla="*/ 399 w 1037"/>
              <a:gd name="T109" fmla="*/ 364 h 690"/>
              <a:gd name="T110" fmla="*/ 333 w 1037"/>
              <a:gd name="T111" fmla="*/ 425 h 690"/>
              <a:gd name="T112" fmla="*/ 355 w 1037"/>
              <a:gd name="T113" fmla="*/ 497 h 690"/>
              <a:gd name="T114" fmla="*/ 354 w 1037"/>
              <a:gd name="T115" fmla="*/ 558 h 690"/>
              <a:gd name="T116" fmla="*/ 331 w 1037"/>
              <a:gd name="T117" fmla="*/ 615 h 690"/>
              <a:gd name="T118" fmla="*/ 295 w 1037"/>
              <a:gd name="T119" fmla="*/ 645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284" name="Freeform 228">
            <a:extLst>
              <a:ext uri="{FF2B5EF4-FFF2-40B4-BE49-F238E27FC236}">
                <a16:creationId xmlns="" xmlns:a16="http://schemas.microsoft.com/office/drawing/2014/main" id="{69A871BF-D6E7-48FD-A3C0-FB37848F2E68}"/>
              </a:ext>
            </a:extLst>
          </p:cNvPr>
          <p:cNvSpPr>
            <a:spLocks/>
          </p:cNvSpPr>
          <p:nvPr>
            <p:custDataLst>
              <p:tags r:id="rId154"/>
            </p:custDataLst>
          </p:nvPr>
        </p:nvSpPr>
        <p:spPr bwMode="auto">
          <a:xfrm>
            <a:off x="4583531" y="3076319"/>
            <a:ext cx="59948" cy="93535"/>
          </a:xfrm>
          <a:custGeom>
            <a:avLst/>
            <a:gdLst>
              <a:gd name="T0" fmla="*/ 120 w 120"/>
              <a:gd name="T1" fmla="*/ 99 h 173"/>
              <a:gd name="T2" fmla="*/ 92 w 120"/>
              <a:gd name="T3" fmla="*/ 60 h 173"/>
              <a:gd name="T4" fmla="*/ 70 w 120"/>
              <a:gd name="T5" fmla="*/ 28 h 173"/>
              <a:gd name="T6" fmla="*/ 60 w 120"/>
              <a:gd name="T7" fmla="*/ 16 h 173"/>
              <a:gd name="T8" fmla="*/ 53 w 120"/>
              <a:gd name="T9" fmla="*/ 8 h 173"/>
              <a:gd name="T10" fmla="*/ 48 w 120"/>
              <a:gd name="T11" fmla="*/ 4 h 173"/>
              <a:gd name="T12" fmla="*/ 45 w 120"/>
              <a:gd name="T13" fmla="*/ 2 h 173"/>
              <a:gd name="T14" fmla="*/ 43 w 120"/>
              <a:gd name="T15" fmla="*/ 1 h 173"/>
              <a:gd name="T16" fmla="*/ 39 w 120"/>
              <a:gd name="T17" fmla="*/ 0 h 173"/>
              <a:gd name="T18" fmla="*/ 33 w 120"/>
              <a:gd name="T19" fmla="*/ 0 h 173"/>
              <a:gd name="T20" fmla="*/ 27 w 120"/>
              <a:gd name="T21" fmla="*/ 1 h 173"/>
              <a:gd name="T22" fmla="*/ 24 w 120"/>
              <a:gd name="T23" fmla="*/ 3 h 173"/>
              <a:gd name="T24" fmla="*/ 21 w 120"/>
              <a:gd name="T25" fmla="*/ 5 h 173"/>
              <a:gd name="T26" fmla="*/ 19 w 120"/>
              <a:gd name="T27" fmla="*/ 8 h 173"/>
              <a:gd name="T28" fmla="*/ 16 w 120"/>
              <a:gd name="T29" fmla="*/ 12 h 173"/>
              <a:gd name="T30" fmla="*/ 15 w 120"/>
              <a:gd name="T31" fmla="*/ 15 h 173"/>
              <a:gd name="T32" fmla="*/ 15 w 120"/>
              <a:gd name="T33" fmla="*/ 20 h 173"/>
              <a:gd name="T34" fmla="*/ 14 w 120"/>
              <a:gd name="T35" fmla="*/ 30 h 173"/>
              <a:gd name="T36" fmla="*/ 12 w 120"/>
              <a:gd name="T37" fmla="*/ 42 h 173"/>
              <a:gd name="T38" fmla="*/ 10 w 120"/>
              <a:gd name="T39" fmla="*/ 48 h 173"/>
              <a:gd name="T40" fmla="*/ 8 w 120"/>
              <a:gd name="T41" fmla="*/ 54 h 173"/>
              <a:gd name="T42" fmla="*/ 4 w 120"/>
              <a:gd name="T43" fmla="*/ 61 h 173"/>
              <a:gd name="T44" fmla="*/ 0 w 120"/>
              <a:gd name="T45" fmla="*/ 68 h 173"/>
              <a:gd name="T46" fmla="*/ 5 w 120"/>
              <a:gd name="T47" fmla="*/ 82 h 173"/>
              <a:gd name="T48" fmla="*/ 10 w 120"/>
              <a:gd name="T49" fmla="*/ 99 h 173"/>
              <a:gd name="T50" fmla="*/ 15 w 120"/>
              <a:gd name="T51" fmla="*/ 115 h 173"/>
              <a:gd name="T52" fmla="*/ 20 w 120"/>
              <a:gd name="T53" fmla="*/ 129 h 173"/>
              <a:gd name="T54" fmla="*/ 24 w 120"/>
              <a:gd name="T55" fmla="*/ 134 h 173"/>
              <a:gd name="T56" fmla="*/ 30 w 120"/>
              <a:gd name="T57" fmla="*/ 139 h 173"/>
              <a:gd name="T58" fmla="*/ 37 w 120"/>
              <a:gd name="T59" fmla="*/ 145 h 173"/>
              <a:gd name="T60" fmla="*/ 46 w 120"/>
              <a:gd name="T61" fmla="*/ 151 h 173"/>
              <a:gd name="T62" fmla="*/ 54 w 120"/>
              <a:gd name="T63" fmla="*/ 157 h 173"/>
              <a:gd name="T64" fmla="*/ 60 w 120"/>
              <a:gd name="T65" fmla="*/ 163 h 173"/>
              <a:gd name="T66" fmla="*/ 62 w 120"/>
              <a:gd name="T67" fmla="*/ 165 h 173"/>
              <a:gd name="T68" fmla="*/ 65 w 120"/>
              <a:gd name="T69" fmla="*/ 168 h 173"/>
              <a:gd name="T70" fmla="*/ 66 w 120"/>
              <a:gd name="T71" fmla="*/ 170 h 173"/>
              <a:gd name="T72" fmla="*/ 67 w 120"/>
              <a:gd name="T73" fmla="*/ 173 h 173"/>
              <a:gd name="T74" fmla="*/ 76 w 120"/>
              <a:gd name="T75" fmla="*/ 167 h 173"/>
              <a:gd name="T76" fmla="*/ 86 w 120"/>
              <a:gd name="T77" fmla="*/ 160 h 173"/>
              <a:gd name="T78" fmla="*/ 93 w 120"/>
              <a:gd name="T79" fmla="*/ 152 h 173"/>
              <a:gd name="T80" fmla="*/ 101 w 120"/>
              <a:gd name="T81" fmla="*/ 142 h 173"/>
              <a:gd name="T82" fmla="*/ 106 w 120"/>
              <a:gd name="T83" fmla="*/ 132 h 173"/>
              <a:gd name="T84" fmla="*/ 112 w 120"/>
              <a:gd name="T85" fmla="*/ 121 h 173"/>
              <a:gd name="T86" fmla="*/ 116 w 120"/>
              <a:gd name="T87" fmla="*/ 110 h 173"/>
              <a:gd name="T88" fmla="*/ 120 w 120"/>
              <a:gd name="T89" fmla="*/ 99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85" name="Freeform 229">
            <a:extLst>
              <a:ext uri="{FF2B5EF4-FFF2-40B4-BE49-F238E27FC236}">
                <a16:creationId xmlns="" xmlns:a16="http://schemas.microsoft.com/office/drawing/2014/main" id="{526431ED-3504-4189-BC3B-9D7A22E4E23B}"/>
              </a:ext>
            </a:extLst>
          </p:cNvPr>
          <p:cNvSpPr>
            <a:spLocks/>
          </p:cNvSpPr>
          <p:nvPr>
            <p:custDataLst>
              <p:tags r:id="rId155"/>
            </p:custDataLst>
          </p:nvPr>
        </p:nvSpPr>
        <p:spPr bwMode="auto">
          <a:xfrm>
            <a:off x="4227702" y="2910581"/>
            <a:ext cx="102494" cy="60716"/>
          </a:xfrm>
          <a:custGeom>
            <a:avLst/>
            <a:gdLst>
              <a:gd name="T0" fmla="*/ 200 w 200"/>
              <a:gd name="T1" fmla="*/ 55 h 98"/>
              <a:gd name="T2" fmla="*/ 195 w 200"/>
              <a:gd name="T3" fmla="*/ 56 h 98"/>
              <a:gd name="T4" fmla="*/ 186 w 200"/>
              <a:gd name="T5" fmla="*/ 60 h 98"/>
              <a:gd name="T6" fmla="*/ 177 w 200"/>
              <a:gd name="T7" fmla="*/ 65 h 98"/>
              <a:gd name="T8" fmla="*/ 166 w 200"/>
              <a:gd name="T9" fmla="*/ 73 h 98"/>
              <a:gd name="T10" fmla="*/ 155 w 200"/>
              <a:gd name="T11" fmla="*/ 80 h 98"/>
              <a:gd name="T12" fmla="*/ 145 w 200"/>
              <a:gd name="T13" fmla="*/ 87 h 98"/>
              <a:gd name="T14" fmla="*/ 137 w 200"/>
              <a:gd name="T15" fmla="*/ 93 h 98"/>
              <a:gd name="T16" fmla="*/ 133 w 200"/>
              <a:gd name="T17" fmla="*/ 98 h 98"/>
              <a:gd name="T18" fmla="*/ 127 w 200"/>
              <a:gd name="T19" fmla="*/ 98 h 98"/>
              <a:gd name="T20" fmla="*/ 122 w 200"/>
              <a:gd name="T21" fmla="*/ 98 h 98"/>
              <a:gd name="T22" fmla="*/ 116 w 200"/>
              <a:gd name="T23" fmla="*/ 97 h 98"/>
              <a:gd name="T24" fmla="*/ 111 w 200"/>
              <a:gd name="T25" fmla="*/ 95 h 98"/>
              <a:gd name="T26" fmla="*/ 106 w 200"/>
              <a:gd name="T27" fmla="*/ 93 h 98"/>
              <a:gd name="T28" fmla="*/ 103 w 200"/>
              <a:gd name="T29" fmla="*/ 88 h 98"/>
              <a:gd name="T30" fmla="*/ 101 w 200"/>
              <a:gd name="T31" fmla="*/ 82 h 98"/>
              <a:gd name="T32" fmla="*/ 100 w 200"/>
              <a:gd name="T33" fmla="*/ 74 h 98"/>
              <a:gd name="T34" fmla="*/ 91 w 200"/>
              <a:gd name="T35" fmla="*/ 80 h 98"/>
              <a:gd name="T36" fmla="*/ 82 w 200"/>
              <a:gd name="T37" fmla="*/ 86 h 98"/>
              <a:gd name="T38" fmla="*/ 78 w 200"/>
              <a:gd name="T39" fmla="*/ 90 h 98"/>
              <a:gd name="T40" fmla="*/ 72 w 200"/>
              <a:gd name="T41" fmla="*/ 93 h 98"/>
              <a:gd name="T42" fmla="*/ 67 w 200"/>
              <a:gd name="T43" fmla="*/ 96 h 98"/>
              <a:gd name="T44" fmla="*/ 60 w 200"/>
              <a:gd name="T45" fmla="*/ 98 h 98"/>
              <a:gd name="T46" fmla="*/ 39 w 200"/>
              <a:gd name="T47" fmla="*/ 98 h 98"/>
              <a:gd name="T48" fmla="*/ 34 w 200"/>
              <a:gd name="T49" fmla="*/ 98 h 98"/>
              <a:gd name="T50" fmla="*/ 28 w 200"/>
              <a:gd name="T51" fmla="*/ 95 h 98"/>
              <a:gd name="T52" fmla="*/ 22 w 200"/>
              <a:gd name="T53" fmla="*/ 92 h 98"/>
              <a:gd name="T54" fmla="*/ 15 w 200"/>
              <a:gd name="T55" fmla="*/ 89 h 98"/>
              <a:gd name="T56" fmla="*/ 9 w 200"/>
              <a:gd name="T57" fmla="*/ 85 h 98"/>
              <a:gd name="T58" fmla="*/ 4 w 200"/>
              <a:gd name="T59" fmla="*/ 81 h 98"/>
              <a:gd name="T60" fmla="*/ 1 w 200"/>
              <a:gd name="T61" fmla="*/ 77 h 98"/>
              <a:gd name="T62" fmla="*/ 0 w 200"/>
              <a:gd name="T63" fmla="*/ 74 h 98"/>
              <a:gd name="T64" fmla="*/ 5 w 200"/>
              <a:gd name="T65" fmla="*/ 71 h 98"/>
              <a:gd name="T66" fmla="*/ 10 w 200"/>
              <a:gd name="T67" fmla="*/ 67 h 98"/>
              <a:gd name="T68" fmla="*/ 14 w 200"/>
              <a:gd name="T69" fmla="*/ 60 h 98"/>
              <a:gd name="T70" fmla="*/ 20 w 200"/>
              <a:gd name="T71" fmla="*/ 53 h 98"/>
              <a:gd name="T72" fmla="*/ 23 w 200"/>
              <a:gd name="T73" fmla="*/ 45 h 98"/>
              <a:gd name="T74" fmla="*/ 27 w 200"/>
              <a:gd name="T75" fmla="*/ 37 h 98"/>
              <a:gd name="T76" fmla="*/ 30 w 200"/>
              <a:gd name="T77" fmla="*/ 28 h 98"/>
              <a:gd name="T78" fmla="*/ 33 w 200"/>
              <a:gd name="T79" fmla="*/ 19 h 98"/>
              <a:gd name="T80" fmla="*/ 66 w 200"/>
              <a:gd name="T81" fmla="*/ 14 h 98"/>
              <a:gd name="T82" fmla="*/ 103 w 200"/>
              <a:gd name="T83" fmla="*/ 9 h 98"/>
              <a:gd name="T84" fmla="*/ 145 w 200"/>
              <a:gd name="T85" fmla="*/ 4 h 98"/>
              <a:gd name="T86" fmla="*/ 193 w 200"/>
              <a:gd name="T87" fmla="*/ 0 h 98"/>
              <a:gd name="T88" fmla="*/ 166 w 200"/>
              <a:gd name="T89" fmla="*/ 31 h 98"/>
              <a:gd name="T90" fmla="*/ 166 w 200"/>
              <a:gd name="T91" fmla="*/ 34 h 98"/>
              <a:gd name="T92" fmla="*/ 164 w 200"/>
              <a:gd name="T93" fmla="*/ 37 h 98"/>
              <a:gd name="T94" fmla="*/ 162 w 200"/>
              <a:gd name="T95" fmla="*/ 39 h 98"/>
              <a:gd name="T96" fmla="*/ 161 w 200"/>
              <a:gd name="T97" fmla="*/ 41 h 98"/>
              <a:gd name="T98" fmla="*/ 157 w 200"/>
              <a:gd name="T99" fmla="*/ 45 h 98"/>
              <a:gd name="T100" fmla="*/ 156 w 200"/>
              <a:gd name="T101" fmla="*/ 47 h 98"/>
              <a:gd name="T102" fmla="*/ 156 w 200"/>
              <a:gd name="T103" fmla="*/ 49 h 98"/>
              <a:gd name="T104" fmla="*/ 157 w 200"/>
              <a:gd name="T105" fmla="*/ 50 h 98"/>
              <a:gd name="T106" fmla="*/ 159 w 200"/>
              <a:gd name="T107" fmla="*/ 50 h 98"/>
              <a:gd name="T108" fmla="*/ 163 w 200"/>
              <a:gd name="T109" fmla="*/ 51 h 98"/>
              <a:gd name="T110" fmla="*/ 177 w 200"/>
              <a:gd name="T111" fmla="*/ 53 h 98"/>
              <a:gd name="T112" fmla="*/ 200 w 200"/>
              <a:gd name="T113"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chemeClr val="accent2"/>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000" b="1" dirty="0"/>
          </a:p>
        </p:txBody>
      </p:sp>
      <p:sp>
        <p:nvSpPr>
          <p:cNvPr id="286" name="Freeform 230">
            <a:extLst>
              <a:ext uri="{FF2B5EF4-FFF2-40B4-BE49-F238E27FC236}">
                <a16:creationId xmlns="" xmlns:a16="http://schemas.microsoft.com/office/drawing/2014/main" id="{C26011B4-D90D-4FF2-A41F-0496EB2E3252}"/>
              </a:ext>
            </a:extLst>
          </p:cNvPr>
          <p:cNvSpPr>
            <a:spLocks/>
          </p:cNvSpPr>
          <p:nvPr>
            <p:custDataLst>
              <p:tags r:id="rId156"/>
            </p:custDataLst>
          </p:nvPr>
        </p:nvSpPr>
        <p:spPr bwMode="auto">
          <a:xfrm>
            <a:off x="4152281" y="2723509"/>
            <a:ext cx="102495" cy="75485"/>
          </a:xfrm>
          <a:custGeom>
            <a:avLst/>
            <a:gdLst>
              <a:gd name="T0" fmla="*/ 0 w 186"/>
              <a:gd name="T1" fmla="*/ 112 h 142"/>
              <a:gd name="T2" fmla="*/ 2 w 186"/>
              <a:gd name="T3" fmla="*/ 116 h 142"/>
              <a:gd name="T4" fmla="*/ 3 w 186"/>
              <a:gd name="T5" fmla="*/ 107 h 142"/>
              <a:gd name="T6" fmla="*/ 3 w 186"/>
              <a:gd name="T7" fmla="*/ 93 h 142"/>
              <a:gd name="T8" fmla="*/ 9 w 186"/>
              <a:gd name="T9" fmla="*/ 82 h 142"/>
              <a:gd name="T10" fmla="*/ 17 w 186"/>
              <a:gd name="T11" fmla="*/ 69 h 142"/>
              <a:gd name="T12" fmla="*/ 20 w 186"/>
              <a:gd name="T13" fmla="*/ 56 h 142"/>
              <a:gd name="T14" fmla="*/ 23 w 186"/>
              <a:gd name="T15" fmla="*/ 46 h 142"/>
              <a:gd name="T16" fmla="*/ 28 w 186"/>
              <a:gd name="T17" fmla="*/ 37 h 142"/>
              <a:gd name="T18" fmla="*/ 35 w 186"/>
              <a:gd name="T19" fmla="*/ 32 h 142"/>
              <a:gd name="T20" fmla="*/ 41 w 186"/>
              <a:gd name="T21" fmla="*/ 38 h 142"/>
              <a:gd name="T22" fmla="*/ 43 w 186"/>
              <a:gd name="T23" fmla="*/ 49 h 142"/>
              <a:gd name="T24" fmla="*/ 47 w 186"/>
              <a:gd name="T25" fmla="*/ 58 h 142"/>
              <a:gd name="T26" fmla="*/ 55 w 186"/>
              <a:gd name="T27" fmla="*/ 65 h 142"/>
              <a:gd name="T28" fmla="*/ 87 w 186"/>
              <a:gd name="T29" fmla="*/ 67 h 142"/>
              <a:gd name="T30" fmla="*/ 79 w 186"/>
              <a:gd name="T31" fmla="*/ 41 h 142"/>
              <a:gd name="T32" fmla="*/ 69 w 186"/>
              <a:gd name="T33" fmla="*/ 36 h 142"/>
              <a:gd name="T34" fmla="*/ 63 w 186"/>
              <a:gd name="T35" fmla="*/ 30 h 142"/>
              <a:gd name="T36" fmla="*/ 61 w 186"/>
              <a:gd name="T37" fmla="*/ 23 h 142"/>
              <a:gd name="T38" fmla="*/ 70 w 186"/>
              <a:gd name="T39" fmla="*/ 17 h 142"/>
              <a:gd name="T40" fmla="*/ 87 w 186"/>
              <a:gd name="T41" fmla="*/ 14 h 142"/>
              <a:gd name="T42" fmla="*/ 98 w 186"/>
              <a:gd name="T43" fmla="*/ 10 h 142"/>
              <a:gd name="T44" fmla="*/ 111 w 186"/>
              <a:gd name="T45" fmla="*/ 6 h 142"/>
              <a:gd name="T46" fmla="*/ 130 w 186"/>
              <a:gd name="T47" fmla="*/ 3 h 142"/>
              <a:gd name="T48" fmla="*/ 147 w 186"/>
              <a:gd name="T49" fmla="*/ 1 h 142"/>
              <a:gd name="T50" fmla="*/ 159 w 186"/>
              <a:gd name="T51" fmla="*/ 2 h 142"/>
              <a:gd name="T52" fmla="*/ 176 w 186"/>
              <a:gd name="T53" fmla="*/ 1 h 142"/>
              <a:gd name="T54" fmla="*/ 183 w 186"/>
              <a:gd name="T55" fmla="*/ 10 h 142"/>
              <a:gd name="T56" fmla="*/ 178 w 186"/>
              <a:gd name="T57" fmla="*/ 26 h 142"/>
              <a:gd name="T58" fmla="*/ 169 w 186"/>
              <a:gd name="T59" fmla="*/ 40 h 142"/>
              <a:gd name="T60" fmla="*/ 159 w 186"/>
              <a:gd name="T61" fmla="*/ 51 h 142"/>
              <a:gd name="T62" fmla="*/ 155 w 186"/>
              <a:gd name="T63" fmla="*/ 63 h 142"/>
              <a:gd name="T64" fmla="*/ 153 w 186"/>
              <a:gd name="T65" fmla="*/ 76 h 142"/>
              <a:gd name="T66" fmla="*/ 120 w 186"/>
              <a:gd name="T67" fmla="*/ 142 h 142"/>
              <a:gd name="T68" fmla="*/ 80 w 186"/>
              <a:gd name="T69" fmla="*/ 122 h 142"/>
              <a:gd name="T70" fmla="*/ 35 w 186"/>
              <a:gd name="T71" fmla="*/ 117 h 142"/>
              <a:gd name="T72" fmla="*/ 8 w 186"/>
              <a:gd name="T73" fmla="*/ 11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solidFill>
                <a:schemeClr val="tx1"/>
              </a:solidFill>
            </a:endParaRPr>
          </a:p>
        </p:txBody>
      </p:sp>
      <p:sp>
        <p:nvSpPr>
          <p:cNvPr id="287" name="Freeform 231">
            <a:extLst>
              <a:ext uri="{FF2B5EF4-FFF2-40B4-BE49-F238E27FC236}">
                <a16:creationId xmlns="" xmlns:a16="http://schemas.microsoft.com/office/drawing/2014/main" id="{AC8C25F2-E230-46F0-B12A-677D88B4A9A6}"/>
              </a:ext>
            </a:extLst>
          </p:cNvPr>
          <p:cNvSpPr>
            <a:spLocks/>
          </p:cNvSpPr>
          <p:nvPr>
            <p:custDataLst>
              <p:tags r:id="rId157"/>
            </p:custDataLst>
          </p:nvPr>
        </p:nvSpPr>
        <p:spPr bwMode="auto">
          <a:xfrm>
            <a:off x="4129075" y="2789148"/>
            <a:ext cx="102495" cy="59076"/>
          </a:xfrm>
          <a:custGeom>
            <a:avLst/>
            <a:gdLst>
              <a:gd name="T0" fmla="*/ 192 w 192"/>
              <a:gd name="T1" fmla="*/ 61 h 105"/>
              <a:gd name="T2" fmla="*/ 189 w 192"/>
              <a:gd name="T3" fmla="*/ 62 h 105"/>
              <a:gd name="T4" fmla="*/ 184 w 192"/>
              <a:gd name="T5" fmla="*/ 63 h 105"/>
              <a:gd name="T6" fmla="*/ 180 w 192"/>
              <a:gd name="T7" fmla="*/ 64 h 105"/>
              <a:gd name="T8" fmla="*/ 177 w 192"/>
              <a:gd name="T9" fmla="*/ 67 h 105"/>
              <a:gd name="T10" fmla="*/ 168 w 192"/>
              <a:gd name="T11" fmla="*/ 72 h 105"/>
              <a:gd name="T12" fmla="*/ 160 w 192"/>
              <a:gd name="T13" fmla="*/ 79 h 105"/>
              <a:gd name="T14" fmla="*/ 154 w 192"/>
              <a:gd name="T15" fmla="*/ 86 h 105"/>
              <a:gd name="T16" fmla="*/ 147 w 192"/>
              <a:gd name="T17" fmla="*/ 93 h 105"/>
              <a:gd name="T18" fmla="*/ 143 w 192"/>
              <a:gd name="T19" fmla="*/ 99 h 105"/>
              <a:gd name="T20" fmla="*/ 139 w 192"/>
              <a:gd name="T21" fmla="*/ 105 h 105"/>
              <a:gd name="T22" fmla="*/ 120 w 192"/>
              <a:gd name="T23" fmla="*/ 97 h 105"/>
              <a:gd name="T24" fmla="*/ 102 w 192"/>
              <a:gd name="T25" fmla="*/ 89 h 105"/>
              <a:gd name="T26" fmla="*/ 86 w 192"/>
              <a:gd name="T27" fmla="*/ 80 h 105"/>
              <a:gd name="T28" fmla="*/ 69 w 192"/>
              <a:gd name="T29" fmla="*/ 71 h 105"/>
              <a:gd name="T30" fmla="*/ 53 w 192"/>
              <a:gd name="T31" fmla="*/ 61 h 105"/>
              <a:gd name="T32" fmla="*/ 36 w 192"/>
              <a:gd name="T33" fmla="*/ 53 h 105"/>
              <a:gd name="T34" fmla="*/ 19 w 192"/>
              <a:gd name="T35" fmla="*/ 44 h 105"/>
              <a:gd name="T36" fmla="*/ 0 w 192"/>
              <a:gd name="T37" fmla="*/ 37 h 105"/>
              <a:gd name="T38" fmla="*/ 0 w 192"/>
              <a:gd name="T39" fmla="*/ 13 h 105"/>
              <a:gd name="T40" fmla="*/ 7 w 192"/>
              <a:gd name="T41" fmla="*/ 7 h 105"/>
              <a:gd name="T42" fmla="*/ 16 w 192"/>
              <a:gd name="T43" fmla="*/ 4 h 105"/>
              <a:gd name="T44" fmla="*/ 29 w 192"/>
              <a:gd name="T45" fmla="*/ 1 h 105"/>
              <a:gd name="T46" fmla="*/ 40 w 192"/>
              <a:gd name="T47" fmla="*/ 0 h 105"/>
              <a:gd name="T48" fmla="*/ 60 w 192"/>
              <a:gd name="T49" fmla="*/ 2 h 105"/>
              <a:gd name="T50" fmla="*/ 93 w 192"/>
              <a:gd name="T51" fmla="*/ 5 h 105"/>
              <a:gd name="T52" fmla="*/ 111 w 192"/>
              <a:gd name="T53" fmla="*/ 7 h 105"/>
              <a:gd name="T54" fmla="*/ 128 w 192"/>
              <a:gd name="T55" fmla="*/ 7 h 105"/>
              <a:gd name="T56" fmla="*/ 143 w 192"/>
              <a:gd name="T57" fmla="*/ 7 h 105"/>
              <a:gd name="T58" fmla="*/ 153 w 192"/>
              <a:gd name="T59" fmla="*/ 6 h 105"/>
              <a:gd name="T60" fmla="*/ 155 w 192"/>
              <a:gd name="T61" fmla="*/ 11 h 105"/>
              <a:gd name="T62" fmla="*/ 159 w 192"/>
              <a:gd name="T63" fmla="*/ 17 h 105"/>
              <a:gd name="T64" fmla="*/ 161 w 192"/>
              <a:gd name="T65" fmla="*/ 20 h 105"/>
              <a:gd name="T66" fmla="*/ 164 w 192"/>
              <a:gd name="T67" fmla="*/ 23 h 105"/>
              <a:gd name="T68" fmla="*/ 165 w 192"/>
              <a:gd name="T69" fmla="*/ 27 h 105"/>
              <a:gd name="T70" fmla="*/ 166 w 192"/>
              <a:gd name="T71" fmla="*/ 31 h 105"/>
              <a:gd name="T72" fmla="*/ 170 w 192"/>
              <a:gd name="T73" fmla="*/ 32 h 105"/>
              <a:gd name="T74" fmla="*/ 177 w 192"/>
              <a:gd name="T75" fmla="*/ 33 h 105"/>
              <a:gd name="T76" fmla="*/ 180 w 192"/>
              <a:gd name="T77" fmla="*/ 34 h 105"/>
              <a:gd name="T78" fmla="*/ 183 w 192"/>
              <a:gd name="T79" fmla="*/ 34 h 105"/>
              <a:gd name="T80" fmla="*/ 188 w 192"/>
              <a:gd name="T81" fmla="*/ 33 h 105"/>
              <a:gd name="T82" fmla="*/ 192 w 192"/>
              <a:gd name="T83" fmla="*/ 31 h 105"/>
              <a:gd name="T84" fmla="*/ 192 w 192"/>
              <a:gd name="T85" fmla="*/ 6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000" b="1" dirty="0"/>
          </a:p>
        </p:txBody>
      </p:sp>
      <p:sp>
        <p:nvSpPr>
          <p:cNvPr id="288" name="Freeform 232">
            <a:extLst>
              <a:ext uri="{FF2B5EF4-FFF2-40B4-BE49-F238E27FC236}">
                <a16:creationId xmlns="" xmlns:a16="http://schemas.microsoft.com/office/drawing/2014/main" id="{A94D22D4-F906-4EB3-8E54-8EFA4EA3279F}"/>
              </a:ext>
            </a:extLst>
          </p:cNvPr>
          <p:cNvSpPr>
            <a:spLocks/>
          </p:cNvSpPr>
          <p:nvPr>
            <p:custDataLst>
              <p:tags r:id="rId158"/>
            </p:custDataLst>
          </p:nvPr>
        </p:nvSpPr>
        <p:spPr bwMode="auto">
          <a:xfrm>
            <a:off x="5055390" y="3361849"/>
            <a:ext cx="40610" cy="136200"/>
          </a:xfrm>
          <a:custGeom>
            <a:avLst/>
            <a:gdLst>
              <a:gd name="T0" fmla="*/ 33 w 80"/>
              <a:gd name="T1" fmla="*/ 0 h 254"/>
              <a:gd name="T2" fmla="*/ 37 w 80"/>
              <a:gd name="T3" fmla="*/ 2 h 254"/>
              <a:gd name="T4" fmla="*/ 40 w 80"/>
              <a:gd name="T5" fmla="*/ 4 h 254"/>
              <a:gd name="T6" fmla="*/ 43 w 80"/>
              <a:gd name="T7" fmla="*/ 7 h 254"/>
              <a:gd name="T8" fmla="*/ 46 w 80"/>
              <a:gd name="T9" fmla="*/ 10 h 254"/>
              <a:gd name="T10" fmla="*/ 52 w 80"/>
              <a:gd name="T11" fmla="*/ 18 h 254"/>
              <a:gd name="T12" fmla="*/ 56 w 80"/>
              <a:gd name="T13" fmla="*/ 25 h 254"/>
              <a:gd name="T14" fmla="*/ 62 w 80"/>
              <a:gd name="T15" fmla="*/ 32 h 254"/>
              <a:gd name="T16" fmla="*/ 67 w 80"/>
              <a:gd name="T17" fmla="*/ 38 h 254"/>
              <a:gd name="T18" fmla="*/ 70 w 80"/>
              <a:gd name="T19" fmla="*/ 40 h 254"/>
              <a:gd name="T20" fmla="*/ 73 w 80"/>
              <a:gd name="T21" fmla="*/ 42 h 254"/>
              <a:gd name="T22" fmla="*/ 76 w 80"/>
              <a:gd name="T23" fmla="*/ 43 h 254"/>
              <a:gd name="T24" fmla="*/ 80 w 80"/>
              <a:gd name="T25" fmla="*/ 44 h 254"/>
              <a:gd name="T26" fmla="*/ 80 w 80"/>
              <a:gd name="T27" fmla="*/ 53 h 254"/>
              <a:gd name="T28" fmla="*/ 80 w 80"/>
              <a:gd name="T29" fmla="*/ 62 h 254"/>
              <a:gd name="T30" fmla="*/ 53 w 80"/>
              <a:gd name="T31" fmla="*/ 254 h 254"/>
              <a:gd name="T32" fmla="*/ 0 w 80"/>
              <a:gd name="T33" fmla="*/ 93 h 254"/>
              <a:gd name="T34" fmla="*/ 4 w 80"/>
              <a:gd name="T35" fmla="*/ 88 h 254"/>
              <a:gd name="T36" fmla="*/ 11 w 80"/>
              <a:gd name="T37" fmla="*/ 71 h 254"/>
              <a:gd name="T38" fmla="*/ 17 w 80"/>
              <a:gd name="T39" fmla="*/ 57 h 254"/>
              <a:gd name="T40" fmla="*/ 22 w 80"/>
              <a:gd name="T41" fmla="*/ 41 h 254"/>
              <a:gd name="T42" fmla="*/ 28 w 80"/>
              <a:gd name="T43" fmla="*/ 23 h 254"/>
              <a:gd name="T44" fmla="*/ 33 w 80"/>
              <a:gd name="T45"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89" name="Freeform 233">
            <a:extLst>
              <a:ext uri="{FF2B5EF4-FFF2-40B4-BE49-F238E27FC236}">
                <a16:creationId xmlns="" xmlns:a16="http://schemas.microsoft.com/office/drawing/2014/main" id="{B6C56F65-43E4-4B79-93AC-D49890EECA93}"/>
              </a:ext>
            </a:extLst>
          </p:cNvPr>
          <p:cNvSpPr>
            <a:spLocks/>
          </p:cNvSpPr>
          <p:nvPr>
            <p:custDataLst>
              <p:tags r:id="rId159"/>
            </p:custDataLst>
          </p:nvPr>
        </p:nvSpPr>
        <p:spPr bwMode="auto">
          <a:xfrm>
            <a:off x="4993508" y="3416000"/>
            <a:ext cx="85089" cy="134560"/>
          </a:xfrm>
          <a:custGeom>
            <a:avLst/>
            <a:gdLst>
              <a:gd name="T0" fmla="*/ 114 w 167"/>
              <a:gd name="T1" fmla="*/ 0 h 259"/>
              <a:gd name="T2" fmla="*/ 167 w 167"/>
              <a:gd name="T3" fmla="*/ 155 h 259"/>
              <a:gd name="T4" fmla="*/ 121 w 167"/>
              <a:gd name="T5" fmla="*/ 259 h 259"/>
              <a:gd name="T6" fmla="*/ 113 w 167"/>
              <a:gd name="T7" fmla="*/ 259 h 259"/>
              <a:gd name="T8" fmla="*/ 107 w 167"/>
              <a:gd name="T9" fmla="*/ 257 h 259"/>
              <a:gd name="T10" fmla="*/ 100 w 167"/>
              <a:gd name="T11" fmla="*/ 254 h 259"/>
              <a:gd name="T12" fmla="*/ 95 w 167"/>
              <a:gd name="T13" fmla="*/ 251 h 259"/>
              <a:gd name="T14" fmla="*/ 89 w 167"/>
              <a:gd name="T15" fmla="*/ 245 h 259"/>
              <a:gd name="T16" fmla="*/ 85 w 167"/>
              <a:gd name="T17" fmla="*/ 240 h 259"/>
              <a:gd name="T18" fmla="*/ 80 w 167"/>
              <a:gd name="T19" fmla="*/ 235 h 259"/>
              <a:gd name="T20" fmla="*/ 76 w 167"/>
              <a:gd name="T21" fmla="*/ 229 h 259"/>
              <a:gd name="T22" fmla="*/ 69 w 167"/>
              <a:gd name="T23" fmla="*/ 217 h 259"/>
              <a:gd name="T24" fmla="*/ 65 w 167"/>
              <a:gd name="T25" fmla="*/ 205 h 259"/>
              <a:gd name="T26" fmla="*/ 62 w 167"/>
              <a:gd name="T27" fmla="*/ 194 h 259"/>
              <a:gd name="T28" fmla="*/ 62 w 167"/>
              <a:gd name="T29" fmla="*/ 185 h 259"/>
              <a:gd name="T30" fmla="*/ 55 w 167"/>
              <a:gd name="T31" fmla="*/ 184 h 259"/>
              <a:gd name="T32" fmla="*/ 51 w 167"/>
              <a:gd name="T33" fmla="*/ 183 h 259"/>
              <a:gd name="T34" fmla="*/ 45 w 167"/>
              <a:gd name="T35" fmla="*/ 182 h 259"/>
              <a:gd name="T36" fmla="*/ 42 w 167"/>
              <a:gd name="T37" fmla="*/ 180 h 259"/>
              <a:gd name="T38" fmla="*/ 39 w 167"/>
              <a:gd name="T39" fmla="*/ 177 h 259"/>
              <a:gd name="T40" fmla="*/ 36 w 167"/>
              <a:gd name="T41" fmla="*/ 174 h 259"/>
              <a:gd name="T42" fmla="*/ 34 w 167"/>
              <a:gd name="T43" fmla="*/ 170 h 259"/>
              <a:gd name="T44" fmla="*/ 32 w 167"/>
              <a:gd name="T45" fmla="*/ 167 h 259"/>
              <a:gd name="T46" fmla="*/ 30 w 167"/>
              <a:gd name="T47" fmla="*/ 158 h 259"/>
              <a:gd name="T48" fmla="*/ 29 w 167"/>
              <a:gd name="T49" fmla="*/ 149 h 259"/>
              <a:gd name="T50" fmla="*/ 28 w 167"/>
              <a:gd name="T51" fmla="*/ 140 h 259"/>
              <a:gd name="T52" fmla="*/ 28 w 167"/>
              <a:gd name="T53" fmla="*/ 129 h 259"/>
              <a:gd name="T54" fmla="*/ 21 w 167"/>
              <a:gd name="T55" fmla="*/ 129 h 259"/>
              <a:gd name="T56" fmla="*/ 16 w 167"/>
              <a:gd name="T57" fmla="*/ 127 h 259"/>
              <a:gd name="T58" fmla="*/ 11 w 167"/>
              <a:gd name="T59" fmla="*/ 125 h 259"/>
              <a:gd name="T60" fmla="*/ 7 w 167"/>
              <a:gd name="T61" fmla="*/ 121 h 259"/>
              <a:gd name="T62" fmla="*/ 5 w 167"/>
              <a:gd name="T63" fmla="*/ 117 h 259"/>
              <a:gd name="T64" fmla="*/ 2 w 167"/>
              <a:gd name="T65" fmla="*/ 112 h 259"/>
              <a:gd name="T66" fmla="*/ 0 w 167"/>
              <a:gd name="T67" fmla="*/ 107 h 259"/>
              <a:gd name="T68" fmla="*/ 0 w 167"/>
              <a:gd name="T69" fmla="*/ 101 h 259"/>
              <a:gd name="T70" fmla="*/ 0 w 167"/>
              <a:gd name="T71" fmla="*/ 75 h 259"/>
              <a:gd name="T72" fmla="*/ 1 w 167"/>
              <a:gd name="T73" fmla="*/ 50 h 259"/>
              <a:gd name="T74" fmla="*/ 12 w 167"/>
              <a:gd name="T75" fmla="*/ 52 h 259"/>
              <a:gd name="T76" fmla="*/ 22 w 167"/>
              <a:gd name="T77" fmla="*/ 53 h 259"/>
              <a:gd name="T78" fmla="*/ 32 w 167"/>
              <a:gd name="T79" fmla="*/ 53 h 259"/>
              <a:gd name="T80" fmla="*/ 42 w 167"/>
              <a:gd name="T81" fmla="*/ 52 h 259"/>
              <a:gd name="T82" fmla="*/ 50 w 167"/>
              <a:gd name="T83" fmla="*/ 51 h 259"/>
              <a:gd name="T84" fmla="*/ 58 w 167"/>
              <a:gd name="T85" fmla="*/ 49 h 259"/>
              <a:gd name="T86" fmla="*/ 66 w 167"/>
              <a:gd name="T87" fmla="*/ 47 h 259"/>
              <a:gd name="T88" fmla="*/ 73 w 167"/>
              <a:gd name="T89" fmla="*/ 44 h 259"/>
              <a:gd name="T90" fmla="*/ 79 w 167"/>
              <a:gd name="T91" fmla="*/ 40 h 259"/>
              <a:gd name="T92" fmla="*/ 86 w 167"/>
              <a:gd name="T93" fmla="*/ 36 h 259"/>
              <a:gd name="T94" fmla="*/ 91 w 167"/>
              <a:gd name="T95" fmla="*/ 31 h 259"/>
              <a:gd name="T96" fmla="*/ 97 w 167"/>
              <a:gd name="T97" fmla="*/ 26 h 259"/>
              <a:gd name="T98" fmla="*/ 107 w 167"/>
              <a:gd name="T99" fmla="*/ 13 h 259"/>
              <a:gd name="T100" fmla="*/ 114 w 167"/>
              <a:gd name="T101"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90" name="Freeform 234">
            <a:extLst>
              <a:ext uri="{FF2B5EF4-FFF2-40B4-BE49-F238E27FC236}">
                <a16:creationId xmlns="" xmlns:a16="http://schemas.microsoft.com/office/drawing/2014/main" id="{97FACA5E-B2AB-4D38-A81E-73275A497A5C}"/>
              </a:ext>
            </a:extLst>
          </p:cNvPr>
          <p:cNvSpPr>
            <a:spLocks/>
          </p:cNvSpPr>
          <p:nvPr>
            <p:custDataLst>
              <p:tags r:id="rId160"/>
            </p:custDataLst>
          </p:nvPr>
        </p:nvSpPr>
        <p:spPr bwMode="auto">
          <a:xfrm>
            <a:off x="3777114" y="2644742"/>
            <a:ext cx="117966" cy="149329"/>
          </a:xfrm>
          <a:custGeom>
            <a:avLst/>
            <a:gdLst>
              <a:gd name="T0" fmla="*/ 185 w 225"/>
              <a:gd name="T1" fmla="*/ 67 h 273"/>
              <a:gd name="T2" fmla="*/ 173 w 225"/>
              <a:gd name="T3" fmla="*/ 78 h 273"/>
              <a:gd name="T4" fmla="*/ 159 w 225"/>
              <a:gd name="T5" fmla="*/ 82 h 273"/>
              <a:gd name="T6" fmla="*/ 163 w 225"/>
              <a:gd name="T7" fmla="*/ 93 h 273"/>
              <a:gd name="T8" fmla="*/ 174 w 225"/>
              <a:gd name="T9" fmla="*/ 101 h 273"/>
              <a:gd name="T10" fmla="*/ 195 w 225"/>
              <a:gd name="T11" fmla="*/ 105 h 273"/>
              <a:gd name="T12" fmla="*/ 225 w 225"/>
              <a:gd name="T13" fmla="*/ 106 h 273"/>
              <a:gd name="T14" fmla="*/ 225 w 225"/>
              <a:gd name="T15" fmla="*/ 152 h 273"/>
              <a:gd name="T16" fmla="*/ 224 w 225"/>
              <a:gd name="T17" fmla="*/ 176 h 273"/>
              <a:gd name="T18" fmla="*/ 215 w 225"/>
              <a:gd name="T19" fmla="*/ 187 h 273"/>
              <a:gd name="T20" fmla="*/ 197 w 225"/>
              <a:gd name="T21" fmla="*/ 205 h 273"/>
              <a:gd name="T22" fmla="*/ 192 w 225"/>
              <a:gd name="T23" fmla="*/ 214 h 273"/>
              <a:gd name="T24" fmla="*/ 179 w 225"/>
              <a:gd name="T25" fmla="*/ 218 h 273"/>
              <a:gd name="T26" fmla="*/ 164 w 225"/>
              <a:gd name="T27" fmla="*/ 225 h 273"/>
              <a:gd name="T28" fmla="*/ 159 w 225"/>
              <a:gd name="T29" fmla="*/ 236 h 273"/>
              <a:gd name="T30" fmla="*/ 140 w 225"/>
              <a:gd name="T31" fmla="*/ 242 h 273"/>
              <a:gd name="T32" fmla="*/ 128 w 225"/>
              <a:gd name="T33" fmla="*/ 252 h 273"/>
              <a:gd name="T34" fmla="*/ 101 w 225"/>
              <a:gd name="T35" fmla="*/ 255 h 273"/>
              <a:gd name="T36" fmla="*/ 60 w 225"/>
              <a:gd name="T37" fmla="*/ 261 h 273"/>
              <a:gd name="T38" fmla="*/ 19 w 225"/>
              <a:gd name="T39" fmla="*/ 261 h 273"/>
              <a:gd name="T40" fmla="*/ 0 w 225"/>
              <a:gd name="T41" fmla="*/ 217 h 273"/>
              <a:gd name="T42" fmla="*/ 21 w 225"/>
              <a:gd name="T43" fmla="*/ 212 h 273"/>
              <a:gd name="T44" fmla="*/ 26 w 225"/>
              <a:gd name="T45" fmla="*/ 205 h 273"/>
              <a:gd name="T46" fmla="*/ 60 w 225"/>
              <a:gd name="T47" fmla="*/ 202 h 273"/>
              <a:gd name="T48" fmla="*/ 72 w 225"/>
              <a:gd name="T49" fmla="*/ 193 h 273"/>
              <a:gd name="T50" fmla="*/ 48 w 225"/>
              <a:gd name="T51" fmla="*/ 198 h 273"/>
              <a:gd name="T52" fmla="*/ 40 w 225"/>
              <a:gd name="T53" fmla="*/ 197 h 273"/>
              <a:gd name="T54" fmla="*/ 39 w 225"/>
              <a:gd name="T55" fmla="*/ 188 h 273"/>
              <a:gd name="T56" fmla="*/ 46 w 225"/>
              <a:gd name="T57" fmla="*/ 173 h 273"/>
              <a:gd name="T58" fmla="*/ 39 w 225"/>
              <a:gd name="T59" fmla="*/ 160 h 273"/>
              <a:gd name="T60" fmla="*/ 14 w 225"/>
              <a:gd name="T61" fmla="*/ 150 h 273"/>
              <a:gd name="T62" fmla="*/ 6 w 225"/>
              <a:gd name="T63" fmla="*/ 130 h 273"/>
              <a:gd name="T64" fmla="*/ 22 w 225"/>
              <a:gd name="T65" fmla="*/ 115 h 273"/>
              <a:gd name="T66" fmla="*/ 35 w 225"/>
              <a:gd name="T67" fmla="*/ 102 h 273"/>
              <a:gd name="T68" fmla="*/ 68 w 225"/>
              <a:gd name="T69" fmla="*/ 94 h 273"/>
              <a:gd name="T70" fmla="*/ 90 w 225"/>
              <a:gd name="T71" fmla="*/ 94 h 273"/>
              <a:gd name="T72" fmla="*/ 100 w 225"/>
              <a:gd name="T73" fmla="*/ 88 h 273"/>
              <a:gd name="T74" fmla="*/ 108 w 225"/>
              <a:gd name="T75" fmla="*/ 52 h 273"/>
              <a:gd name="T76" fmla="*/ 120 w 225"/>
              <a:gd name="T77" fmla="*/ 31 h 273"/>
              <a:gd name="T78" fmla="*/ 130 w 225"/>
              <a:gd name="T79" fmla="*/ 20 h 273"/>
              <a:gd name="T80" fmla="*/ 141 w 225"/>
              <a:gd name="T81" fmla="*/ 7 h 273"/>
              <a:gd name="T82" fmla="*/ 155 w 225"/>
              <a:gd name="T83" fmla="*/ 1 h 273"/>
              <a:gd name="T84" fmla="*/ 179 w 225"/>
              <a:gd name="T85" fmla="*/ 3 h 273"/>
              <a:gd name="T86" fmla="*/ 195 w 225"/>
              <a:gd name="T87" fmla="*/ 38 h 273"/>
              <a:gd name="T88" fmla="*/ 196 w 225"/>
              <a:gd name="T89" fmla="*/ 47 h 273"/>
              <a:gd name="T90" fmla="*/ 190 w 225"/>
              <a:gd name="T91" fmla="*/ 5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291" name="Freeform 235">
            <a:extLst>
              <a:ext uri="{FF2B5EF4-FFF2-40B4-BE49-F238E27FC236}">
                <a16:creationId xmlns="" xmlns:a16="http://schemas.microsoft.com/office/drawing/2014/main" id="{0470195C-D931-49E3-A3AD-158EA1F2C94E}"/>
              </a:ext>
            </a:extLst>
          </p:cNvPr>
          <p:cNvSpPr>
            <a:spLocks/>
          </p:cNvSpPr>
          <p:nvPr>
            <p:custDataLst>
              <p:tags r:id="rId161"/>
            </p:custDataLst>
          </p:nvPr>
        </p:nvSpPr>
        <p:spPr bwMode="auto">
          <a:xfrm>
            <a:off x="3548920" y="3586662"/>
            <a:ext cx="373234" cy="403680"/>
          </a:xfrm>
          <a:custGeom>
            <a:avLst/>
            <a:gdLst>
              <a:gd name="T0" fmla="*/ 94 w 232"/>
              <a:gd name="T1" fmla="*/ 246 h 248"/>
              <a:gd name="T2" fmla="*/ 96 w 232"/>
              <a:gd name="T3" fmla="*/ 243 h 248"/>
              <a:gd name="T4" fmla="*/ 98 w 232"/>
              <a:gd name="T5" fmla="*/ 238 h 248"/>
              <a:gd name="T6" fmla="*/ 100 w 232"/>
              <a:gd name="T7" fmla="*/ 232 h 248"/>
              <a:gd name="T8" fmla="*/ 103 w 232"/>
              <a:gd name="T9" fmla="*/ 231 h 248"/>
              <a:gd name="T10" fmla="*/ 104 w 232"/>
              <a:gd name="T11" fmla="*/ 238 h 248"/>
              <a:gd name="T12" fmla="*/ 106 w 232"/>
              <a:gd name="T13" fmla="*/ 241 h 248"/>
              <a:gd name="T14" fmla="*/ 108 w 232"/>
              <a:gd name="T15" fmla="*/ 242 h 248"/>
              <a:gd name="T16" fmla="*/ 110 w 232"/>
              <a:gd name="T17" fmla="*/ 242 h 248"/>
              <a:gd name="T18" fmla="*/ 113 w 232"/>
              <a:gd name="T19" fmla="*/ 241 h 248"/>
              <a:gd name="T20" fmla="*/ 116 w 232"/>
              <a:gd name="T21" fmla="*/ 238 h 248"/>
              <a:gd name="T22" fmla="*/ 216 w 232"/>
              <a:gd name="T23" fmla="*/ 234 h 248"/>
              <a:gd name="T24" fmla="*/ 213 w 232"/>
              <a:gd name="T25" fmla="*/ 204 h 248"/>
              <a:gd name="T26" fmla="*/ 207 w 232"/>
              <a:gd name="T27" fmla="*/ 138 h 248"/>
              <a:gd name="T28" fmla="*/ 201 w 232"/>
              <a:gd name="T29" fmla="*/ 73 h 248"/>
              <a:gd name="T30" fmla="*/ 198 w 232"/>
              <a:gd name="T31" fmla="*/ 43 h 248"/>
              <a:gd name="T32" fmla="*/ 215 w 232"/>
              <a:gd name="T33" fmla="*/ 44 h 248"/>
              <a:gd name="T34" fmla="*/ 232 w 232"/>
              <a:gd name="T35" fmla="*/ 46 h 248"/>
              <a:gd name="T36" fmla="*/ 161 w 232"/>
              <a:gd name="T37" fmla="*/ 2 h 248"/>
              <a:gd name="T38" fmla="*/ 160 w 232"/>
              <a:gd name="T39" fmla="*/ 8 h 248"/>
              <a:gd name="T40" fmla="*/ 161 w 232"/>
              <a:gd name="T41" fmla="*/ 18 h 248"/>
              <a:gd name="T42" fmla="*/ 98 w 232"/>
              <a:gd name="T43" fmla="*/ 24 h 248"/>
              <a:gd name="T44" fmla="*/ 98 w 232"/>
              <a:gd name="T45" fmla="*/ 74 h 248"/>
              <a:gd name="T46" fmla="*/ 95 w 232"/>
              <a:gd name="T47" fmla="*/ 76 h 248"/>
              <a:gd name="T48" fmla="*/ 87 w 232"/>
              <a:gd name="T49" fmla="*/ 78 h 248"/>
              <a:gd name="T50" fmla="*/ 72 w 232"/>
              <a:gd name="T51" fmla="*/ 82 h 248"/>
              <a:gd name="T52" fmla="*/ 74 w 232"/>
              <a:gd name="T53" fmla="*/ 88 h 248"/>
              <a:gd name="T54" fmla="*/ 78 w 232"/>
              <a:gd name="T55" fmla="*/ 96 h 248"/>
              <a:gd name="T56" fmla="*/ 80 w 232"/>
              <a:gd name="T57" fmla="*/ 105 h 248"/>
              <a:gd name="T58" fmla="*/ 81 w 232"/>
              <a:gd name="T59" fmla="*/ 115 h 248"/>
              <a:gd name="T60" fmla="*/ 9 w 232"/>
              <a:gd name="T61" fmla="*/ 119 h 248"/>
              <a:gd name="T62" fmla="*/ 5 w 232"/>
              <a:gd name="T63" fmla="*/ 130 h 248"/>
              <a:gd name="T64" fmla="*/ 6 w 232"/>
              <a:gd name="T65" fmla="*/ 143 h 248"/>
              <a:gd name="T66" fmla="*/ 8 w 232"/>
              <a:gd name="T67" fmla="*/ 155 h 248"/>
              <a:gd name="T68" fmla="*/ 9 w 232"/>
              <a:gd name="T69" fmla="*/ 168 h 248"/>
              <a:gd name="T70" fmla="*/ 9 w 232"/>
              <a:gd name="T71" fmla="*/ 182 h 248"/>
              <a:gd name="T72" fmla="*/ 8 w 232"/>
              <a:gd name="T73" fmla="*/ 194 h 248"/>
              <a:gd name="T74" fmla="*/ 6 w 232"/>
              <a:gd name="T75" fmla="*/ 206 h 248"/>
              <a:gd name="T76" fmla="*/ 2 w 232"/>
              <a:gd name="T77" fmla="*/ 216 h 248"/>
              <a:gd name="T78" fmla="*/ 2 w 232"/>
              <a:gd name="T79" fmla="*/ 219 h 248"/>
              <a:gd name="T80" fmla="*/ 3 w 232"/>
              <a:gd name="T81" fmla="*/ 220 h 248"/>
              <a:gd name="T82" fmla="*/ 3 w 232"/>
              <a:gd name="T83" fmla="*/ 222 h 248"/>
              <a:gd name="T84" fmla="*/ 7 w 232"/>
              <a:gd name="T85" fmla="*/ 217 h 248"/>
              <a:gd name="T86" fmla="*/ 18 w 232"/>
              <a:gd name="T87" fmla="*/ 213 h 248"/>
              <a:gd name="T88" fmla="*/ 36 w 232"/>
              <a:gd name="T89" fmla="*/ 207 h 248"/>
              <a:gd name="T90" fmla="*/ 45 w 232"/>
              <a:gd name="T91" fmla="*/ 208 h 248"/>
              <a:gd name="T92" fmla="*/ 51 w 232"/>
              <a:gd name="T93" fmla="*/ 212 h 248"/>
              <a:gd name="T94" fmla="*/ 56 w 232"/>
              <a:gd name="T95" fmla="*/ 214 h 248"/>
              <a:gd name="T96" fmla="*/ 62 w 232"/>
              <a:gd name="T97" fmla="*/ 215 h 248"/>
              <a:gd name="T98" fmla="*/ 66 w 232"/>
              <a:gd name="T99" fmla="*/ 219 h 248"/>
              <a:gd name="T100" fmla="*/ 67 w 232"/>
              <a:gd name="T101" fmla="*/ 225 h 248"/>
              <a:gd name="T102" fmla="*/ 70 w 232"/>
              <a:gd name="T103" fmla="*/ 231 h 248"/>
              <a:gd name="T104" fmla="*/ 74 w 232"/>
              <a:gd name="T105" fmla="*/ 235 h 248"/>
              <a:gd name="T106" fmla="*/ 85 w 232"/>
              <a:gd name="T107" fmla="*/ 24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92" name="Freeform 236">
            <a:extLst>
              <a:ext uri="{FF2B5EF4-FFF2-40B4-BE49-F238E27FC236}">
                <a16:creationId xmlns="" xmlns:a16="http://schemas.microsoft.com/office/drawing/2014/main" id="{1A814625-5E93-4C12-99DD-F3897F4C7BE8}"/>
              </a:ext>
            </a:extLst>
          </p:cNvPr>
          <p:cNvSpPr>
            <a:spLocks/>
          </p:cNvSpPr>
          <p:nvPr>
            <p:custDataLst>
              <p:tags r:id="rId162"/>
            </p:custDataLst>
          </p:nvPr>
        </p:nvSpPr>
        <p:spPr bwMode="auto">
          <a:xfrm>
            <a:off x="3690091" y="3649019"/>
            <a:ext cx="504735" cy="484088"/>
          </a:xfrm>
          <a:custGeom>
            <a:avLst/>
            <a:gdLst>
              <a:gd name="T0" fmla="*/ 90 w 948"/>
              <a:gd name="T1" fmla="*/ 788 h 893"/>
              <a:gd name="T2" fmla="*/ 121 w 948"/>
              <a:gd name="T3" fmla="*/ 788 h 893"/>
              <a:gd name="T4" fmla="*/ 146 w 948"/>
              <a:gd name="T5" fmla="*/ 783 h 893"/>
              <a:gd name="T6" fmla="*/ 186 w 948"/>
              <a:gd name="T7" fmla="*/ 776 h 893"/>
              <a:gd name="T8" fmla="*/ 197 w 948"/>
              <a:gd name="T9" fmla="*/ 813 h 893"/>
              <a:gd name="T10" fmla="*/ 212 w 948"/>
              <a:gd name="T11" fmla="*/ 835 h 893"/>
              <a:gd name="T12" fmla="*/ 226 w 948"/>
              <a:gd name="T13" fmla="*/ 846 h 893"/>
              <a:gd name="T14" fmla="*/ 246 w 948"/>
              <a:gd name="T15" fmla="*/ 850 h 893"/>
              <a:gd name="T16" fmla="*/ 246 w 948"/>
              <a:gd name="T17" fmla="*/ 881 h 893"/>
              <a:gd name="T18" fmla="*/ 326 w 948"/>
              <a:gd name="T19" fmla="*/ 889 h 893"/>
              <a:gd name="T20" fmla="*/ 334 w 948"/>
              <a:gd name="T21" fmla="*/ 876 h 893"/>
              <a:gd name="T22" fmla="*/ 347 w 948"/>
              <a:gd name="T23" fmla="*/ 871 h 893"/>
              <a:gd name="T24" fmla="*/ 348 w 948"/>
              <a:gd name="T25" fmla="*/ 888 h 893"/>
              <a:gd name="T26" fmla="*/ 358 w 948"/>
              <a:gd name="T27" fmla="*/ 893 h 893"/>
              <a:gd name="T28" fmla="*/ 385 w 948"/>
              <a:gd name="T29" fmla="*/ 893 h 893"/>
              <a:gd name="T30" fmla="*/ 401 w 948"/>
              <a:gd name="T31" fmla="*/ 854 h 893"/>
              <a:gd name="T32" fmla="*/ 412 w 948"/>
              <a:gd name="T33" fmla="*/ 788 h 893"/>
              <a:gd name="T34" fmla="*/ 424 w 948"/>
              <a:gd name="T35" fmla="*/ 771 h 893"/>
              <a:gd name="T36" fmla="*/ 452 w 948"/>
              <a:gd name="T37" fmla="*/ 754 h 893"/>
              <a:gd name="T38" fmla="*/ 485 w 948"/>
              <a:gd name="T39" fmla="*/ 743 h 893"/>
              <a:gd name="T40" fmla="*/ 501 w 948"/>
              <a:gd name="T41" fmla="*/ 729 h 893"/>
              <a:gd name="T42" fmla="*/ 515 w 948"/>
              <a:gd name="T43" fmla="*/ 702 h 893"/>
              <a:gd name="T44" fmla="*/ 535 w 948"/>
              <a:gd name="T45" fmla="*/ 668 h 893"/>
              <a:gd name="T46" fmla="*/ 547 w 948"/>
              <a:gd name="T47" fmla="*/ 660 h 893"/>
              <a:gd name="T48" fmla="*/ 572 w 948"/>
              <a:gd name="T49" fmla="*/ 659 h 893"/>
              <a:gd name="T50" fmla="*/ 605 w 948"/>
              <a:gd name="T51" fmla="*/ 644 h 893"/>
              <a:gd name="T52" fmla="*/ 639 w 948"/>
              <a:gd name="T53" fmla="*/ 624 h 893"/>
              <a:gd name="T54" fmla="*/ 674 w 948"/>
              <a:gd name="T55" fmla="*/ 613 h 893"/>
              <a:gd name="T56" fmla="*/ 724 w 948"/>
              <a:gd name="T57" fmla="*/ 610 h 893"/>
              <a:gd name="T58" fmla="*/ 788 w 948"/>
              <a:gd name="T59" fmla="*/ 602 h 893"/>
              <a:gd name="T60" fmla="*/ 815 w 948"/>
              <a:gd name="T61" fmla="*/ 594 h 893"/>
              <a:gd name="T62" fmla="*/ 863 w 948"/>
              <a:gd name="T63" fmla="*/ 590 h 893"/>
              <a:gd name="T64" fmla="*/ 901 w 948"/>
              <a:gd name="T65" fmla="*/ 583 h 893"/>
              <a:gd name="T66" fmla="*/ 913 w 948"/>
              <a:gd name="T67" fmla="*/ 574 h 893"/>
              <a:gd name="T68" fmla="*/ 931 w 948"/>
              <a:gd name="T69" fmla="*/ 544 h 893"/>
              <a:gd name="T70" fmla="*/ 943 w 948"/>
              <a:gd name="T71" fmla="*/ 504 h 893"/>
              <a:gd name="T72" fmla="*/ 948 w 948"/>
              <a:gd name="T73" fmla="*/ 461 h 893"/>
              <a:gd name="T74" fmla="*/ 947 w 948"/>
              <a:gd name="T75" fmla="*/ 421 h 893"/>
              <a:gd name="T76" fmla="*/ 943 w 948"/>
              <a:gd name="T77" fmla="*/ 363 h 893"/>
              <a:gd name="T78" fmla="*/ 922 w 948"/>
              <a:gd name="T79" fmla="*/ 356 h 893"/>
              <a:gd name="T80" fmla="*/ 862 w 948"/>
              <a:gd name="T81" fmla="*/ 322 h 893"/>
              <a:gd name="T82" fmla="*/ 794 w 948"/>
              <a:gd name="T83" fmla="*/ 278 h 893"/>
              <a:gd name="T84" fmla="*/ 738 w 948"/>
              <a:gd name="T85" fmla="*/ 216 h 893"/>
              <a:gd name="T86" fmla="*/ 412 w 948"/>
              <a:gd name="T87" fmla="*/ 12 h 893"/>
              <a:gd name="T88" fmla="*/ 348 w 948"/>
              <a:gd name="T89" fmla="*/ 102 h 893"/>
              <a:gd name="T90" fmla="*/ 379 w 948"/>
              <a:gd name="T91" fmla="*/ 405 h 893"/>
              <a:gd name="T92" fmla="*/ 392 w 948"/>
              <a:gd name="T93" fmla="*/ 565 h 893"/>
              <a:gd name="T94" fmla="*/ 93 w 948"/>
              <a:gd name="T95" fmla="*/ 591 h 893"/>
              <a:gd name="T96" fmla="*/ 79 w 948"/>
              <a:gd name="T97" fmla="*/ 606 h 893"/>
              <a:gd name="T98" fmla="*/ 67 w 948"/>
              <a:gd name="T99" fmla="*/ 610 h 893"/>
              <a:gd name="T100" fmla="*/ 57 w 948"/>
              <a:gd name="T101" fmla="*/ 607 h 893"/>
              <a:gd name="T102" fmla="*/ 49 w 948"/>
              <a:gd name="T103" fmla="*/ 591 h 893"/>
              <a:gd name="T104" fmla="*/ 40 w 948"/>
              <a:gd name="T105" fmla="*/ 581 h 893"/>
              <a:gd name="T106" fmla="*/ 29 w 948"/>
              <a:gd name="T107" fmla="*/ 605 h 893"/>
              <a:gd name="T108" fmla="*/ 15 w 948"/>
              <a:gd name="T109" fmla="*/ 623 h 893"/>
              <a:gd name="T110" fmla="*/ 67 w 948"/>
              <a:gd name="T111" fmla="*/ 733 h 893"/>
              <a:gd name="T112" fmla="*/ 61 w 948"/>
              <a:gd name="T113" fmla="*/ 748 h 893"/>
              <a:gd name="T114" fmla="*/ 62 w 948"/>
              <a:gd name="T115" fmla="*/ 760 h 893"/>
              <a:gd name="T116" fmla="*/ 54 w 948"/>
              <a:gd name="T117" fmla="*/ 788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93" name="Freeform 237">
            <a:extLst>
              <a:ext uri="{FF2B5EF4-FFF2-40B4-BE49-F238E27FC236}">
                <a16:creationId xmlns="" xmlns:a16="http://schemas.microsoft.com/office/drawing/2014/main" id="{76A4268F-97F0-46B0-BE42-304F041BB307}"/>
              </a:ext>
            </a:extLst>
          </p:cNvPr>
          <p:cNvSpPr>
            <a:spLocks/>
          </p:cNvSpPr>
          <p:nvPr>
            <p:custDataLst>
              <p:tags r:id="rId163"/>
            </p:custDataLst>
          </p:nvPr>
        </p:nvSpPr>
        <p:spPr bwMode="auto">
          <a:xfrm>
            <a:off x="3809990" y="3242057"/>
            <a:ext cx="601427" cy="598957"/>
          </a:xfrm>
          <a:custGeom>
            <a:avLst/>
            <a:gdLst>
              <a:gd name="T0" fmla="*/ 238 w 373"/>
              <a:gd name="T1" fmla="*/ 367 h 370"/>
              <a:gd name="T2" fmla="*/ 244 w 373"/>
              <a:gd name="T3" fmla="*/ 365 h 370"/>
              <a:gd name="T4" fmla="*/ 255 w 373"/>
              <a:gd name="T5" fmla="*/ 368 h 370"/>
              <a:gd name="T6" fmla="*/ 372 w 373"/>
              <a:gd name="T7" fmla="*/ 277 h 370"/>
              <a:gd name="T8" fmla="*/ 369 w 373"/>
              <a:gd name="T9" fmla="*/ 270 h 370"/>
              <a:gd name="T10" fmla="*/ 361 w 373"/>
              <a:gd name="T11" fmla="*/ 264 h 370"/>
              <a:gd name="T12" fmla="*/ 347 w 373"/>
              <a:gd name="T13" fmla="*/ 259 h 370"/>
              <a:gd name="T14" fmla="*/ 339 w 373"/>
              <a:gd name="T15" fmla="*/ 254 h 370"/>
              <a:gd name="T16" fmla="*/ 336 w 373"/>
              <a:gd name="T17" fmla="*/ 247 h 370"/>
              <a:gd name="T18" fmla="*/ 337 w 373"/>
              <a:gd name="T19" fmla="*/ 228 h 370"/>
              <a:gd name="T20" fmla="*/ 337 w 373"/>
              <a:gd name="T21" fmla="*/ 196 h 370"/>
              <a:gd name="T22" fmla="*/ 334 w 373"/>
              <a:gd name="T23" fmla="*/ 168 h 370"/>
              <a:gd name="T24" fmla="*/ 329 w 373"/>
              <a:gd name="T25" fmla="*/ 155 h 370"/>
              <a:gd name="T26" fmla="*/ 323 w 373"/>
              <a:gd name="T27" fmla="*/ 142 h 370"/>
              <a:gd name="T28" fmla="*/ 315 w 373"/>
              <a:gd name="T29" fmla="*/ 109 h 370"/>
              <a:gd name="T30" fmla="*/ 306 w 373"/>
              <a:gd name="T31" fmla="*/ 90 h 370"/>
              <a:gd name="T32" fmla="*/ 297 w 373"/>
              <a:gd name="T33" fmla="*/ 78 h 370"/>
              <a:gd name="T34" fmla="*/ 300 w 373"/>
              <a:gd name="T35" fmla="*/ 63 h 370"/>
              <a:gd name="T36" fmla="*/ 301 w 373"/>
              <a:gd name="T37" fmla="*/ 43 h 370"/>
              <a:gd name="T38" fmla="*/ 302 w 373"/>
              <a:gd name="T39" fmla="*/ 23 h 370"/>
              <a:gd name="T40" fmla="*/ 310 w 373"/>
              <a:gd name="T41" fmla="*/ 7 h 370"/>
              <a:gd name="T42" fmla="*/ 302 w 373"/>
              <a:gd name="T43" fmla="*/ 6 h 370"/>
              <a:gd name="T44" fmla="*/ 278 w 373"/>
              <a:gd name="T45" fmla="*/ 12 h 370"/>
              <a:gd name="T46" fmla="*/ 245 w 373"/>
              <a:gd name="T47" fmla="*/ 12 h 370"/>
              <a:gd name="T48" fmla="*/ 206 w 373"/>
              <a:gd name="T49" fmla="*/ 14 h 370"/>
              <a:gd name="T50" fmla="*/ 168 w 373"/>
              <a:gd name="T51" fmla="*/ 24 h 370"/>
              <a:gd name="T52" fmla="*/ 145 w 373"/>
              <a:gd name="T53" fmla="*/ 32 h 370"/>
              <a:gd name="T54" fmla="*/ 124 w 373"/>
              <a:gd name="T55" fmla="*/ 44 h 370"/>
              <a:gd name="T56" fmla="*/ 123 w 373"/>
              <a:gd name="T57" fmla="*/ 52 h 370"/>
              <a:gd name="T58" fmla="*/ 131 w 373"/>
              <a:gd name="T59" fmla="*/ 89 h 370"/>
              <a:gd name="T60" fmla="*/ 134 w 373"/>
              <a:gd name="T61" fmla="*/ 93 h 370"/>
              <a:gd name="T62" fmla="*/ 141 w 373"/>
              <a:gd name="T63" fmla="*/ 98 h 370"/>
              <a:gd name="T64" fmla="*/ 142 w 373"/>
              <a:gd name="T65" fmla="*/ 102 h 370"/>
              <a:gd name="T66" fmla="*/ 139 w 373"/>
              <a:gd name="T67" fmla="*/ 107 h 370"/>
              <a:gd name="T68" fmla="*/ 128 w 373"/>
              <a:gd name="T69" fmla="*/ 107 h 370"/>
              <a:gd name="T70" fmla="*/ 106 w 373"/>
              <a:gd name="T71" fmla="*/ 113 h 370"/>
              <a:gd name="T72" fmla="*/ 95 w 373"/>
              <a:gd name="T73" fmla="*/ 122 h 370"/>
              <a:gd name="T74" fmla="*/ 90 w 373"/>
              <a:gd name="T75" fmla="*/ 131 h 370"/>
              <a:gd name="T76" fmla="*/ 82 w 373"/>
              <a:gd name="T77" fmla="*/ 137 h 370"/>
              <a:gd name="T78" fmla="*/ 66 w 373"/>
              <a:gd name="T79" fmla="*/ 150 h 370"/>
              <a:gd name="T80" fmla="*/ 51 w 373"/>
              <a:gd name="T81" fmla="*/ 158 h 370"/>
              <a:gd name="T82" fmla="*/ 31 w 373"/>
              <a:gd name="T83" fmla="*/ 160 h 370"/>
              <a:gd name="T84" fmla="*/ 20 w 373"/>
              <a:gd name="T85" fmla="*/ 164 h 370"/>
              <a:gd name="T86" fmla="*/ 8 w 373"/>
              <a:gd name="T87" fmla="*/ 174 h 370"/>
              <a:gd name="T88" fmla="*/ 0 w 373"/>
              <a:gd name="T89" fmla="*/ 200 h 370"/>
              <a:gd name="T90" fmla="*/ 179 w 373"/>
              <a:gd name="T91" fmla="*/ 331 h 370"/>
              <a:gd name="T92" fmla="*/ 201 w 373"/>
              <a:gd name="T93" fmla="*/ 352 h 370"/>
              <a:gd name="T94" fmla="*/ 229 w 373"/>
              <a:gd name="T95" fmla="*/ 368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3" h="370">
                <a:moveTo>
                  <a:pt x="235" y="370"/>
                </a:moveTo>
                <a:lnTo>
                  <a:pt x="237" y="369"/>
                </a:lnTo>
                <a:lnTo>
                  <a:pt x="238" y="367"/>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94" name="Freeform 238">
            <a:extLst>
              <a:ext uri="{FF2B5EF4-FFF2-40B4-BE49-F238E27FC236}">
                <a16:creationId xmlns="" xmlns:a16="http://schemas.microsoft.com/office/drawing/2014/main" id="{9C8DDE7E-AC46-40AB-9A09-D91B5D38E393}"/>
              </a:ext>
            </a:extLst>
          </p:cNvPr>
          <p:cNvSpPr>
            <a:spLocks/>
          </p:cNvSpPr>
          <p:nvPr>
            <p:custDataLst>
              <p:tags r:id="rId164"/>
            </p:custDataLst>
          </p:nvPr>
        </p:nvSpPr>
        <p:spPr bwMode="auto">
          <a:xfrm>
            <a:off x="4341798" y="3381541"/>
            <a:ext cx="467993" cy="451268"/>
          </a:xfrm>
          <a:custGeom>
            <a:avLst/>
            <a:gdLst>
              <a:gd name="T0" fmla="*/ 36 w 877"/>
              <a:gd name="T1" fmla="*/ 141 h 826"/>
              <a:gd name="T2" fmla="*/ 46 w 877"/>
              <a:gd name="T3" fmla="*/ 109 h 826"/>
              <a:gd name="T4" fmla="*/ 46 w 877"/>
              <a:gd name="T5" fmla="*/ 70 h 826"/>
              <a:gd name="T6" fmla="*/ 61 w 877"/>
              <a:gd name="T7" fmla="*/ 64 h 826"/>
              <a:gd name="T8" fmla="*/ 89 w 877"/>
              <a:gd name="T9" fmla="*/ 55 h 826"/>
              <a:gd name="T10" fmla="*/ 99 w 877"/>
              <a:gd name="T11" fmla="*/ 20 h 826"/>
              <a:gd name="T12" fmla="*/ 168 w 877"/>
              <a:gd name="T13" fmla="*/ 6 h 826"/>
              <a:gd name="T14" fmla="*/ 242 w 877"/>
              <a:gd name="T15" fmla="*/ 24 h 826"/>
              <a:gd name="T16" fmla="*/ 273 w 877"/>
              <a:gd name="T17" fmla="*/ 43 h 826"/>
              <a:gd name="T18" fmla="*/ 285 w 877"/>
              <a:gd name="T19" fmla="*/ 78 h 826"/>
              <a:gd name="T20" fmla="*/ 295 w 877"/>
              <a:gd name="T21" fmla="*/ 101 h 826"/>
              <a:gd name="T22" fmla="*/ 325 w 877"/>
              <a:gd name="T23" fmla="*/ 110 h 826"/>
              <a:gd name="T24" fmla="*/ 363 w 877"/>
              <a:gd name="T25" fmla="*/ 109 h 826"/>
              <a:gd name="T26" fmla="*/ 421 w 877"/>
              <a:gd name="T27" fmla="*/ 133 h 826"/>
              <a:gd name="T28" fmla="*/ 478 w 877"/>
              <a:gd name="T29" fmla="*/ 162 h 826"/>
              <a:gd name="T30" fmla="*/ 513 w 877"/>
              <a:gd name="T31" fmla="*/ 166 h 826"/>
              <a:gd name="T32" fmla="*/ 538 w 877"/>
              <a:gd name="T33" fmla="*/ 158 h 826"/>
              <a:gd name="T34" fmla="*/ 549 w 877"/>
              <a:gd name="T35" fmla="*/ 126 h 826"/>
              <a:gd name="T36" fmla="*/ 544 w 877"/>
              <a:gd name="T37" fmla="*/ 103 h 826"/>
              <a:gd name="T38" fmla="*/ 531 w 877"/>
              <a:gd name="T39" fmla="*/ 81 h 826"/>
              <a:gd name="T40" fmla="*/ 539 w 877"/>
              <a:gd name="T41" fmla="*/ 49 h 826"/>
              <a:gd name="T42" fmla="*/ 574 w 877"/>
              <a:gd name="T43" fmla="*/ 34 h 826"/>
              <a:gd name="T44" fmla="*/ 617 w 877"/>
              <a:gd name="T45" fmla="*/ 4 h 826"/>
              <a:gd name="T46" fmla="*/ 650 w 877"/>
              <a:gd name="T47" fmla="*/ 0 h 826"/>
              <a:gd name="T48" fmla="*/ 681 w 877"/>
              <a:gd name="T49" fmla="*/ 6 h 826"/>
              <a:gd name="T50" fmla="*/ 695 w 877"/>
              <a:gd name="T51" fmla="*/ 24 h 826"/>
              <a:gd name="T52" fmla="*/ 706 w 877"/>
              <a:gd name="T53" fmla="*/ 50 h 826"/>
              <a:gd name="T54" fmla="*/ 728 w 877"/>
              <a:gd name="T55" fmla="*/ 63 h 826"/>
              <a:gd name="T56" fmla="*/ 798 w 877"/>
              <a:gd name="T57" fmla="*/ 71 h 826"/>
              <a:gd name="T58" fmla="*/ 830 w 877"/>
              <a:gd name="T59" fmla="*/ 97 h 826"/>
              <a:gd name="T60" fmla="*/ 834 w 877"/>
              <a:gd name="T61" fmla="*/ 117 h 826"/>
              <a:gd name="T62" fmla="*/ 843 w 877"/>
              <a:gd name="T63" fmla="*/ 140 h 826"/>
              <a:gd name="T64" fmla="*/ 836 w 877"/>
              <a:gd name="T65" fmla="*/ 159 h 826"/>
              <a:gd name="T66" fmla="*/ 824 w 877"/>
              <a:gd name="T67" fmla="*/ 170 h 826"/>
              <a:gd name="T68" fmla="*/ 829 w 877"/>
              <a:gd name="T69" fmla="*/ 207 h 826"/>
              <a:gd name="T70" fmla="*/ 858 w 877"/>
              <a:gd name="T71" fmla="*/ 245 h 826"/>
              <a:gd name="T72" fmla="*/ 876 w 877"/>
              <a:gd name="T73" fmla="*/ 687 h 826"/>
              <a:gd name="T74" fmla="*/ 877 w 877"/>
              <a:gd name="T75" fmla="*/ 741 h 826"/>
              <a:gd name="T76" fmla="*/ 870 w 877"/>
              <a:gd name="T77" fmla="*/ 775 h 826"/>
              <a:gd name="T78" fmla="*/ 848 w 877"/>
              <a:gd name="T79" fmla="*/ 783 h 826"/>
              <a:gd name="T80" fmla="*/ 830 w 877"/>
              <a:gd name="T81" fmla="*/ 804 h 826"/>
              <a:gd name="T82" fmla="*/ 366 w 877"/>
              <a:gd name="T83" fmla="*/ 593 h 826"/>
              <a:gd name="T84" fmla="*/ 331 w 877"/>
              <a:gd name="T85" fmla="*/ 607 h 826"/>
              <a:gd name="T86" fmla="*/ 292 w 877"/>
              <a:gd name="T87" fmla="*/ 626 h 826"/>
              <a:gd name="T88" fmla="*/ 263 w 877"/>
              <a:gd name="T89" fmla="*/ 627 h 826"/>
              <a:gd name="T90" fmla="*/ 230 w 877"/>
              <a:gd name="T91" fmla="*/ 609 h 826"/>
              <a:gd name="T92" fmla="*/ 193 w 877"/>
              <a:gd name="T93" fmla="*/ 586 h 826"/>
              <a:gd name="T94" fmla="*/ 152 w 877"/>
              <a:gd name="T95" fmla="*/ 578 h 826"/>
              <a:gd name="T96" fmla="*/ 138 w 877"/>
              <a:gd name="T97" fmla="*/ 577 h 826"/>
              <a:gd name="T98" fmla="*/ 130 w 877"/>
              <a:gd name="T99" fmla="*/ 553 h 826"/>
              <a:gd name="T100" fmla="*/ 109 w 877"/>
              <a:gd name="T101" fmla="*/ 535 h 826"/>
              <a:gd name="T102" fmla="*/ 63 w 877"/>
              <a:gd name="T103" fmla="*/ 517 h 826"/>
              <a:gd name="T104" fmla="*/ 28 w 877"/>
              <a:gd name="T105" fmla="*/ 499 h 826"/>
              <a:gd name="T106" fmla="*/ 16 w 877"/>
              <a:gd name="T107" fmla="*/ 482 h 826"/>
              <a:gd name="T108" fmla="*/ 14 w 877"/>
              <a:gd name="T109" fmla="*/ 439 h 826"/>
              <a:gd name="T110" fmla="*/ 19 w 877"/>
              <a:gd name="T111" fmla="*/ 352 h 826"/>
              <a:gd name="T112" fmla="*/ 17 w 877"/>
              <a:gd name="T113" fmla="*/ 258 h 826"/>
              <a:gd name="T114" fmla="*/ 4 w 877"/>
              <a:gd name="T115" fmla="*/ 202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95" name="Freeform 239">
            <a:extLst>
              <a:ext uri="{FF2B5EF4-FFF2-40B4-BE49-F238E27FC236}">
                <a16:creationId xmlns="" xmlns:a16="http://schemas.microsoft.com/office/drawing/2014/main" id="{46A3C139-C50D-4082-A019-ACC572DE3710}"/>
              </a:ext>
            </a:extLst>
          </p:cNvPr>
          <p:cNvSpPr>
            <a:spLocks/>
          </p:cNvSpPr>
          <p:nvPr>
            <p:custDataLst>
              <p:tags r:id="rId165"/>
            </p:custDataLst>
          </p:nvPr>
        </p:nvSpPr>
        <p:spPr bwMode="auto">
          <a:xfrm>
            <a:off x="4283783" y="3242057"/>
            <a:ext cx="114098" cy="244506"/>
          </a:xfrm>
          <a:custGeom>
            <a:avLst/>
            <a:gdLst>
              <a:gd name="T0" fmla="*/ 103 w 206"/>
              <a:gd name="T1" fmla="*/ 441 h 455"/>
              <a:gd name="T2" fmla="*/ 125 w 206"/>
              <a:gd name="T3" fmla="*/ 420 h 455"/>
              <a:gd name="T4" fmla="*/ 140 w 206"/>
              <a:gd name="T5" fmla="*/ 404 h 455"/>
              <a:gd name="T6" fmla="*/ 147 w 206"/>
              <a:gd name="T7" fmla="*/ 390 h 455"/>
              <a:gd name="T8" fmla="*/ 152 w 206"/>
              <a:gd name="T9" fmla="*/ 373 h 455"/>
              <a:gd name="T10" fmla="*/ 154 w 206"/>
              <a:gd name="T11" fmla="*/ 352 h 455"/>
              <a:gd name="T12" fmla="*/ 153 w 206"/>
              <a:gd name="T13" fmla="*/ 335 h 455"/>
              <a:gd name="T14" fmla="*/ 156 w 206"/>
              <a:gd name="T15" fmla="*/ 331 h 455"/>
              <a:gd name="T16" fmla="*/ 168 w 206"/>
              <a:gd name="T17" fmla="*/ 329 h 455"/>
              <a:gd name="T18" fmla="*/ 185 w 206"/>
              <a:gd name="T19" fmla="*/ 325 h 455"/>
              <a:gd name="T20" fmla="*/ 196 w 206"/>
              <a:gd name="T21" fmla="*/ 318 h 455"/>
              <a:gd name="T22" fmla="*/ 203 w 206"/>
              <a:gd name="T23" fmla="*/ 304 h 455"/>
              <a:gd name="T24" fmla="*/ 206 w 206"/>
              <a:gd name="T25" fmla="*/ 280 h 455"/>
              <a:gd name="T26" fmla="*/ 202 w 206"/>
              <a:gd name="T27" fmla="*/ 265 h 455"/>
              <a:gd name="T28" fmla="*/ 193 w 206"/>
              <a:gd name="T29" fmla="*/ 264 h 455"/>
              <a:gd name="T30" fmla="*/ 177 w 206"/>
              <a:gd name="T31" fmla="*/ 256 h 455"/>
              <a:gd name="T32" fmla="*/ 155 w 206"/>
              <a:gd name="T33" fmla="*/ 242 h 455"/>
              <a:gd name="T34" fmla="*/ 140 w 206"/>
              <a:gd name="T35" fmla="*/ 231 h 455"/>
              <a:gd name="T36" fmla="*/ 130 w 206"/>
              <a:gd name="T37" fmla="*/ 228 h 455"/>
              <a:gd name="T38" fmla="*/ 119 w 206"/>
              <a:gd name="T39" fmla="*/ 222 h 455"/>
              <a:gd name="T40" fmla="*/ 101 w 206"/>
              <a:gd name="T41" fmla="*/ 212 h 455"/>
              <a:gd name="T42" fmla="*/ 95 w 206"/>
              <a:gd name="T43" fmla="*/ 206 h 455"/>
              <a:gd name="T44" fmla="*/ 95 w 206"/>
              <a:gd name="T45" fmla="*/ 199 h 455"/>
              <a:gd name="T46" fmla="*/ 104 w 206"/>
              <a:gd name="T47" fmla="*/ 181 h 455"/>
              <a:gd name="T48" fmla="*/ 119 w 206"/>
              <a:gd name="T49" fmla="*/ 158 h 455"/>
              <a:gd name="T50" fmla="*/ 134 w 206"/>
              <a:gd name="T51" fmla="*/ 140 h 455"/>
              <a:gd name="T52" fmla="*/ 136 w 206"/>
              <a:gd name="T53" fmla="*/ 129 h 455"/>
              <a:gd name="T54" fmla="*/ 126 w 206"/>
              <a:gd name="T55" fmla="*/ 116 h 455"/>
              <a:gd name="T56" fmla="*/ 115 w 206"/>
              <a:gd name="T57" fmla="*/ 105 h 455"/>
              <a:gd name="T58" fmla="*/ 108 w 206"/>
              <a:gd name="T59" fmla="*/ 93 h 455"/>
              <a:gd name="T60" fmla="*/ 107 w 206"/>
              <a:gd name="T61" fmla="*/ 84 h 455"/>
              <a:gd name="T62" fmla="*/ 111 w 206"/>
              <a:gd name="T63" fmla="*/ 78 h 455"/>
              <a:gd name="T64" fmla="*/ 116 w 206"/>
              <a:gd name="T65" fmla="*/ 72 h 455"/>
              <a:gd name="T66" fmla="*/ 123 w 206"/>
              <a:gd name="T67" fmla="*/ 69 h 455"/>
              <a:gd name="T68" fmla="*/ 126 w 206"/>
              <a:gd name="T69" fmla="*/ 37 h 455"/>
              <a:gd name="T70" fmla="*/ 110 w 206"/>
              <a:gd name="T71" fmla="*/ 32 h 455"/>
              <a:gd name="T72" fmla="*/ 87 w 206"/>
              <a:gd name="T73" fmla="*/ 21 h 455"/>
              <a:gd name="T74" fmla="*/ 53 w 206"/>
              <a:gd name="T75" fmla="*/ 0 h 455"/>
              <a:gd name="T76" fmla="*/ 47 w 206"/>
              <a:gd name="T77" fmla="*/ 11 h 455"/>
              <a:gd name="T78" fmla="*/ 34 w 206"/>
              <a:gd name="T79" fmla="*/ 44 h 455"/>
              <a:gd name="T80" fmla="*/ 28 w 206"/>
              <a:gd name="T81" fmla="*/ 70 h 455"/>
              <a:gd name="T82" fmla="*/ 22 w 206"/>
              <a:gd name="T83" fmla="*/ 99 h 455"/>
              <a:gd name="T84" fmla="*/ 20 w 206"/>
              <a:gd name="T85" fmla="*/ 133 h 455"/>
              <a:gd name="T86" fmla="*/ 20 w 206"/>
              <a:gd name="T87" fmla="*/ 172 h 455"/>
              <a:gd name="T88" fmla="*/ 12 w 206"/>
              <a:gd name="T89" fmla="*/ 188 h 455"/>
              <a:gd name="T90" fmla="*/ 8 w 206"/>
              <a:gd name="T91" fmla="*/ 206 h 455"/>
              <a:gd name="T92" fmla="*/ 0 w 206"/>
              <a:gd name="T93" fmla="*/ 235 h 455"/>
              <a:gd name="T94" fmla="*/ 22 w 206"/>
              <a:gd name="T95" fmla="*/ 259 h 455"/>
              <a:gd name="T96" fmla="*/ 41 w 206"/>
              <a:gd name="T97" fmla="*/ 281 h 455"/>
              <a:gd name="T98" fmla="*/ 55 w 206"/>
              <a:gd name="T99" fmla="*/ 305 h 455"/>
              <a:gd name="T100" fmla="*/ 66 w 206"/>
              <a:gd name="T101" fmla="*/ 329 h 455"/>
              <a:gd name="T102" fmla="*/ 75 w 206"/>
              <a:gd name="T103" fmla="*/ 355 h 455"/>
              <a:gd name="T104" fmla="*/ 82 w 206"/>
              <a:gd name="T105" fmla="*/ 384 h 455"/>
              <a:gd name="T106" fmla="*/ 93 w 20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96" name="Freeform 240">
            <a:extLst>
              <a:ext uri="{FF2B5EF4-FFF2-40B4-BE49-F238E27FC236}">
                <a16:creationId xmlns="" xmlns:a16="http://schemas.microsoft.com/office/drawing/2014/main" id="{6E5E6999-3CD5-4270-B9BB-4F118FF52172}"/>
              </a:ext>
            </a:extLst>
          </p:cNvPr>
          <p:cNvSpPr>
            <a:spLocks/>
          </p:cNvSpPr>
          <p:nvPr>
            <p:custDataLst>
              <p:tags r:id="rId166"/>
            </p:custDataLst>
          </p:nvPr>
        </p:nvSpPr>
        <p:spPr bwMode="auto">
          <a:xfrm>
            <a:off x="3531516" y="3563688"/>
            <a:ext cx="282343" cy="223173"/>
          </a:xfrm>
          <a:custGeom>
            <a:avLst/>
            <a:gdLst>
              <a:gd name="T0" fmla="*/ 326 w 518"/>
              <a:gd name="T1" fmla="*/ 110 h 406"/>
              <a:gd name="T2" fmla="*/ 326 w 518"/>
              <a:gd name="T3" fmla="*/ 259 h 406"/>
              <a:gd name="T4" fmla="*/ 315 w 518"/>
              <a:gd name="T5" fmla="*/ 264 h 406"/>
              <a:gd name="T6" fmla="*/ 291 w 518"/>
              <a:gd name="T7" fmla="*/ 271 h 406"/>
              <a:gd name="T8" fmla="*/ 246 w 518"/>
              <a:gd name="T9" fmla="*/ 283 h 406"/>
              <a:gd name="T10" fmla="*/ 253 w 518"/>
              <a:gd name="T11" fmla="*/ 302 h 406"/>
              <a:gd name="T12" fmla="*/ 265 w 518"/>
              <a:gd name="T13" fmla="*/ 326 h 406"/>
              <a:gd name="T14" fmla="*/ 269 w 518"/>
              <a:gd name="T15" fmla="*/ 353 h 406"/>
              <a:gd name="T16" fmla="*/ 272 w 518"/>
              <a:gd name="T17" fmla="*/ 382 h 406"/>
              <a:gd name="T18" fmla="*/ 52 w 518"/>
              <a:gd name="T19" fmla="*/ 394 h 406"/>
              <a:gd name="T20" fmla="*/ 22 w 518"/>
              <a:gd name="T21" fmla="*/ 406 h 406"/>
              <a:gd name="T22" fmla="*/ 5 w 518"/>
              <a:gd name="T23" fmla="*/ 403 h 406"/>
              <a:gd name="T24" fmla="*/ 1 w 518"/>
              <a:gd name="T25" fmla="*/ 398 h 406"/>
              <a:gd name="T26" fmla="*/ 1 w 518"/>
              <a:gd name="T27" fmla="*/ 385 h 406"/>
              <a:gd name="T28" fmla="*/ 4 w 518"/>
              <a:gd name="T29" fmla="*/ 371 h 406"/>
              <a:gd name="T30" fmla="*/ 11 w 518"/>
              <a:gd name="T31" fmla="*/ 354 h 406"/>
              <a:gd name="T32" fmla="*/ 20 w 518"/>
              <a:gd name="T33" fmla="*/ 341 h 406"/>
              <a:gd name="T34" fmla="*/ 30 w 518"/>
              <a:gd name="T35" fmla="*/ 334 h 406"/>
              <a:gd name="T36" fmla="*/ 38 w 518"/>
              <a:gd name="T37" fmla="*/ 326 h 406"/>
              <a:gd name="T38" fmla="*/ 44 w 518"/>
              <a:gd name="T39" fmla="*/ 317 h 406"/>
              <a:gd name="T40" fmla="*/ 49 w 518"/>
              <a:gd name="T41" fmla="*/ 292 h 406"/>
              <a:gd name="T42" fmla="*/ 56 w 518"/>
              <a:gd name="T43" fmla="*/ 265 h 406"/>
              <a:gd name="T44" fmla="*/ 62 w 518"/>
              <a:gd name="T45" fmla="*/ 257 h 406"/>
              <a:gd name="T46" fmla="*/ 74 w 518"/>
              <a:gd name="T47" fmla="*/ 246 h 406"/>
              <a:gd name="T48" fmla="*/ 92 w 518"/>
              <a:gd name="T49" fmla="*/ 238 h 406"/>
              <a:gd name="T50" fmla="*/ 107 w 518"/>
              <a:gd name="T51" fmla="*/ 231 h 406"/>
              <a:gd name="T52" fmla="*/ 122 w 518"/>
              <a:gd name="T53" fmla="*/ 218 h 406"/>
              <a:gd name="T54" fmla="*/ 136 w 518"/>
              <a:gd name="T55" fmla="*/ 195 h 406"/>
              <a:gd name="T56" fmla="*/ 150 w 518"/>
              <a:gd name="T57" fmla="*/ 156 h 406"/>
              <a:gd name="T58" fmla="*/ 162 w 518"/>
              <a:gd name="T59" fmla="*/ 117 h 406"/>
              <a:gd name="T60" fmla="*/ 172 w 518"/>
              <a:gd name="T61" fmla="*/ 94 h 406"/>
              <a:gd name="T62" fmla="*/ 186 w 518"/>
              <a:gd name="T63" fmla="*/ 73 h 406"/>
              <a:gd name="T64" fmla="*/ 201 w 518"/>
              <a:gd name="T65" fmla="*/ 62 h 406"/>
              <a:gd name="T66" fmla="*/ 213 w 518"/>
              <a:gd name="T67" fmla="*/ 57 h 406"/>
              <a:gd name="T68" fmla="*/ 219 w 518"/>
              <a:gd name="T69" fmla="*/ 44 h 406"/>
              <a:gd name="T70" fmla="*/ 223 w 518"/>
              <a:gd name="T71" fmla="*/ 28 h 406"/>
              <a:gd name="T72" fmla="*/ 228 w 518"/>
              <a:gd name="T73" fmla="*/ 16 h 406"/>
              <a:gd name="T74" fmla="*/ 239 w 518"/>
              <a:gd name="T75" fmla="*/ 8 h 406"/>
              <a:gd name="T76" fmla="*/ 511 w 518"/>
              <a:gd name="T77" fmla="*/ 0 h 406"/>
              <a:gd name="T78" fmla="*/ 515 w 518"/>
              <a:gd name="T79" fmla="*/ 46 h 406"/>
              <a:gd name="T80" fmla="*/ 518 w 518"/>
              <a:gd name="T81" fmla="*/ 11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97" name="Freeform 241">
            <a:extLst>
              <a:ext uri="{FF2B5EF4-FFF2-40B4-BE49-F238E27FC236}">
                <a16:creationId xmlns="" xmlns:a16="http://schemas.microsoft.com/office/drawing/2014/main" id="{D58E67E5-3CF2-4B46-B526-5D4E8A4B60E0}"/>
              </a:ext>
            </a:extLst>
          </p:cNvPr>
          <p:cNvSpPr>
            <a:spLocks/>
          </p:cNvSpPr>
          <p:nvPr>
            <p:custDataLst>
              <p:tags r:id="rId167"/>
            </p:custDataLst>
          </p:nvPr>
        </p:nvSpPr>
        <p:spPr bwMode="auto">
          <a:xfrm>
            <a:off x="3492838" y="2331316"/>
            <a:ext cx="232063" cy="96817"/>
          </a:xfrm>
          <a:custGeom>
            <a:avLst/>
            <a:gdLst>
              <a:gd name="T0" fmla="*/ 34 w 446"/>
              <a:gd name="T1" fmla="*/ 61 h 178"/>
              <a:gd name="T2" fmla="*/ 41 w 446"/>
              <a:gd name="T3" fmla="*/ 42 h 178"/>
              <a:gd name="T4" fmla="*/ 68 w 446"/>
              <a:gd name="T5" fmla="*/ 37 h 178"/>
              <a:gd name="T6" fmla="*/ 80 w 446"/>
              <a:gd name="T7" fmla="*/ 18 h 178"/>
              <a:gd name="T8" fmla="*/ 72 w 446"/>
              <a:gd name="T9" fmla="*/ 14 h 178"/>
              <a:gd name="T10" fmla="*/ 60 w 446"/>
              <a:gd name="T11" fmla="*/ 0 h 178"/>
              <a:gd name="T12" fmla="*/ 85 w 446"/>
              <a:gd name="T13" fmla="*/ 10 h 178"/>
              <a:gd name="T14" fmla="*/ 108 w 446"/>
              <a:gd name="T15" fmla="*/ 39 h 178"/>
              <a:gd name="T16" fmla="*/ 125 w 446"/>
              <a:gd name="T17" fmla="*/ 62 h 178"/>
              <a:gd name="T18" fmla="*/ 139 w 446"/>
              <a:gd name="T19" fmla="*/ 67 h 178"/>
              <a:gd name="T20" fmla="*/ 157 w 446"/>
              <a:gd name="T21" fmla="*/ 63 h 178"/>
              <a:gd name="T22" fmla="*/ 181 w 446"/>
              <a:gd name="T23" fmla="*/ 45 h 178"/>
              <a:gd name="T24" fmla="*/ 205 w 446"/>
              <a:gd name="T25" fmla="*/ 23 h 178"/>
              <a:gd name="T26" fmla="*/ 220 w 446"/>
              <a:gd name="T27" fmla="*/ 31 h 178"/>
              <a:gd name="T28" fmla="*/ 359 w 446"/>
              <a:gd name="T29" fmla="*/ 11 h 178"/>
              <a:gd name="T30" fmla="*/ 376 w 446"/>
              <a:gd name="T31" fmla="*/ 23 h 178"/>
              <a:gd name="T32" fmla="*/ 396 w 446"/>
              <a:gd name="T33" fmla="*/ 22 h 178"/>
              <a:gd name="T34" fmla="*/ 413 w 446"/>
              <a:gd name="T35" fmla="*/ 37 h 178"/>
              <a:gd name="T36" fmla="*/ 415 w 446"/>
              <a:gd name="T37" fmla="*/ 43 h 178"/>
              <a:gd name="T38" fmla="*/ 429 w 446"/>
              <a:gd name="T39" fmla="*/ 54 h 178"/>
              <a:gd name="T40" fmla="*/ 443 w 446"/>
              <a:gd name="T41" fmla="*/ 68 h 178"/>
              <a:gd name="T42" fmla="*/ 446 w 446"/>
              <a:gd name="T43" fmla="*/ 80 h 178"/>
              <a:gd name="T44" fmla="*/ 438 w 446"/>
              <a:gd name="T45" fmla="*/ 96 h 178"/>
              <a:gd name="T46" fmla="*/ 413 w 446"/>
              <a:gd name="T47" fmla="*/ 111 h 178"/>
              <a:gd name="T48" fmla="*/ 397 w 446"/>
              <a:gd name="T49" fmla="*/ 120 h 178"/>
              <a:gd name="T50" fmla="*/ 366 w 446"/>
              <a:gd name="T51" fmla="*/ 123 h 178"/>
              <a:gd name="T52" fmla="*/ 300 w 446"/>
              <a:gd name="T53" fmla="*/ 146 h 178"/>
              <a:gd name="T54" fmla="*/ 234 w 446"/>
              <a:gd name="T55" fmla="*/ 171 h 178"/>
              <a:gd name="T56" fmla="*/ 199 w 446"/>
              <a:gd name="T57" fmla="*/ 178 h 178"/>
              <a:gd name="T58" fmla="*/ 177 w 446"/>
              <a:gd name="T59" fmla="*/ 174 h 178"/>
              <a:gd name="T60" fmla="*/ 172 w 446"/>
              <a:gd name="T61" fmla="*/ 164 h 178"/>
              <a:gd name="T62" fmla="*/ 170 w 446"/>
              <a:gd name="T63" fmla="*/ 161 h 178"/>
              <a:gd name="T64" fmla="*/ 156 w 446"/>
              <a:gd name="T65" fmla="*/ 161 h 178"/>
              <a:gd name="T66" fmla="*/ 139 w 446"/>
              <a:gd name="T67" fmla="*/ 160 h 178"/>
              <a:gd name="T68" fmla="*/ 100 w 446"/>
              <a:gd name="T69" fmla="*/ 147 h 178"/>
              <a:gd name="T70" fmla="*/ 85 w 446"/>
              <a:gd name="T71" fmla="*/ 137 h 178"/>
              <a:gd name="T72" fmla="*/ 81 w 446"/>
              <a:gd name="T73" fmla="*/ 125 h 178"/>
              <a:gd name="T74" fmla="*/ 87 w 446"/>
              <a:gd name="T75" fmla="*/ 111 h 178"/>
              <a:gd name="T76" fmla="*/ 27 w 446"/>
              <a:gd name="T77" fmla="*/ 103 h 178"/>
              <a:gd name="T78" fmla="*/ 9 w 446"/>
              <a:gd name="T79" fmla="*/ 105 h 178"/>
              <a:gd name="T80" fmla="*/ 0 w 446"/>
              <a:gd name="T81" fmla="*/ 80 h 178"/>
              <a:gd name="T82" fmla="*/ 60 w 446"/>
              <a:gd name="T83" fmla="*/ 86 h 178"/>
              <a:gd name="T84" fmla="*/ 87 w 446"/>
              <a:gd name="T85" fmla="*/ 80 h 178"/>
              <a:gd name="T86" fmla="*/ 23 w 446"/>
              <a:gd name="T87" fmla="*/ 68 h 178"/>
              <a:gd name="T88" fmla="*/ 16 w 446"/>
              <a:gd name="T89" fmla="*/ 5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98" name="Freeform 242">
            <a:extLst>
              <a:ext uri="{FF2B5EF4-FFF2-40B4-BE49-F238E27FC236}">
                <a16:creationId xmlns="" xmlns:a16="http://schemas.microsoft.com/office/drawing/2014/main" id="{AFDDFEE1-3C0E-4D82-B5FA-AF096940A121}"/>
              </a:ext>
            </a:extLst>
          </p:cNvPr>
          <p:cNvSpPr>
            <a:spLocks/>
          </p:cNvSpPr>
          <p:nvPr>
            <p:custDataLst>
              <p:tags r:id="rId168"/>
            </p:custDataLst>
          </p:nvPr>
        </p:nvSpPr>
        <p:spPr bwMode="auto">
          <a:xfrm>
            <a:off x="4457830" y="2603718"/>
            <a:ext cx="17405" cy="59076"/>
          </a:xfrm>
          <a:custGeom>
            <a:avLst/>
            <a:gdLst>
              <a:gd name="T0" fmla="*/ 0 w 28"/>
              <a:gd name="T1" fmla="*/ 73 h 73"/>
              <a:gd name="T2" fmla="*/ 2 w 28"/>
              <a:gd name="T3" fmla="*/ 47 h 73"/>
              <a:gd name="T4" fmla="*/ 6 w 28"/>
              <a:gd name="T5" fmla="*/ 28 h 73"/>
              <a:gd name="T6" fmla="*/ 7 w 28"/>
              <a:gd name="T7" fmla="*/ 20 h 73"/>
              <a:gd name="T8" fmla="*/ 6 w 28"/>
              <a:gd name="T9" fmla="*/ 13 h 73"/>
              <a:gd name="T10" fmla="*/ 4 w 28"/>
              <a:gd name="T11" fmla="*/ 7 h 73"/>
              <a:gd name="T12" fmla="*/ 0 w 28"/>
              <a:gd name="T13" fmla="*/ 0 h 73"/>
              <a:gd name="T14" fmla="*/ 28 w 28"/>
              <a:gd name="T15" fmla="*/ 0 h 73"/>
              <a:gd name="T16" fmla="*/ 22 w 28"/>
              <a:gd name="T17" fmla="*/ 16 h 73"/>
              <a:gd name="T18" fmla="*/ 17 w 28"/>
              <a:gd name="T19" fmla="*/ 30 h 73"/>
              <a:gd name="T20" fmla="*/ 12 w 28"/>
              <a:gd name="T21" fmla="*/ 43 h 73"/>
              <a:gd name="T22" fmla="*/ 7 w 28"/>
              <a:gd name="T23" fmla="*/ 55 h 73"/>
              <a:gd name="T24" fmla="*/ 0 w 28"/>
              <a:gd name="T25"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299" name="Freeform 243">
            <a:extLst>
              <a:ext uri="{FF2B5EF4-FFF2-40B4-BE49-F238E27FC236}">
                <a16:creationId xmlns="" xmlns:a16="http://schemas.microsoft.com/office/drawing/2014/main" id="{F6665E68-90ED-4F4F-8A56-EB8E95713DB0}"/>
              </a:ext>
            </a:extLst>
          </p:cNvPr>
          <p:cNvSpPr>
            <a:spLocks/>
          </p:cNvSpPr>
          <p:nvPr>
            <p:custDataLst>
              <p:tags r:id="rId169"/>
            </p:custDataLst>
          </p:nvPr>
        </p:nvSpPr>
        <p:spPr bwMode="auto">
          <a:xfrm>
            <a:off x="4320527" y="2255831"/>
            <a:ext cx="286210" cy="408602"/>
          </a:xfrm>
          <a:custGeom>
            <a:avLst/>
            <a:gdLst>
              <a:gd name="T0" fmla="*/ 419 w 531"/>
              <a:gd name="T1" fmla="*/ 203 h 757"/>
              <a:gd name="T2" fmla="*/ 406 w 531"/>
              <a:gd name="T3" fmla="*/ 221 h 757"/>
              <a:gd name="T4" fmla="*/ 404 w 531"/>
              <a:gd name="T5" fmla="*/ 237 h 757"/>
              <a:gd name="T6" fmla="*/ 382 w 531"/>
              <a:gd name="T7" fmla="*/ 275 h 757"/>
              <a:gd name="T8" fmla="*/ 325 w 531"/>
              <a:gd name="T9" fmla="*/ 306 h 757"/>
              <a:gd name="T10" fmla="*/ 252 w 531"/>
              <a:gd name="T11" fmla="*/ 354 h 757"/>
              <a:gd name="T12" fmla="*/ 237 w 531"/>
              <a:gd name="T13" fmla="*/ 369 h 757"/>
              <a:gd name="T14" fmla="*/ 245 w 531"/>
              <a:gd name="T15" fmla="*/ 381 h 757"/>
              <a:gd name="T16" fmla="*/ 240 w 531"/>
              <a:gd name="T17" fmla="*/ 424 h 757"/>
              <a:gd name="T18" fmla="*/ 239 w 531"/>
              <a:gd name="T19" fmla="*/ 449 h 757"/>
              <a:gd name="T20" fmla="*/ 262 w 531"/>
              <a:gd name="T21" fmla="*/ 468 h 757"/>
              <a:gd name="T22" fmla="*/ 320 w 531"/>
              <a:gd name="T23" fmla="*/ 485 h 757"/>
              <a:gd name="T24" fmla="*/ 332 w 531"/>
              <a:gd name="T25" fmla="*/ 505 h 757"/>
              <a:gd name="T26" fmla="*/ 310 w 531"/>
              <a:gd name="T27" fmla="*/ 531 h 757"/>
              <a:gd name="T28" fmla="*/ 272 w 531"/>
              <a:gd name="T29" fmla="*/ 547 h 757"/>
              <a:gd name="T30" fmla="*/ 265 w 531"/>
              <a:gd name="T31" fmla="*/ 560 h 757"/>
              <a:gd name="T32" fmla="*/ 252 w 531"/>
              <a:gd name="T33" fmla="*/ 631 h 757"/>
              <a:gd name="T34" fmla="*/ 239 w 531"/>
              <a:gd name="T35" fmla="*/ 721 h 757"/>
              <a:gd name="T36" fmla="*/ 173 w 531"/>
              <a:gd name="T37" fmla="*/ 727 h 757"/>
              <a:gd name="T38" fmla="*/ 152 w 531"/>
              <a:gd name="T39" fmla="*/ 738 h 757"/>
              <a:gd name="T40" fmla="*/ 153 w 531"/>
              <a:gd name="T41" fmla="*/ 757 h 757"/>
              <a:gd name="T42" fmla="*/ 106 w 531"/>
              <a:gd name="T43" fmla="*/ 757 h 757"/>
              <a:gd name="T44" fmla="*/ 95 w 531"/>
              <a:gd name="T45" fmla="*/ 752 h 757"/>
              <a:gd name="T46" fmla="*/ 71 w 531"/>
              <a:gd name="T47" fmla="*/ 718 h 757"/>
              <a:gd name="T48" fmla="*/ 41 w 531"/>
              <a:gd name="T49" fmla="*/ 640 h 757"/>
              <a:gd name="T50" fmla="*/ 34 w 531"/>
              <a:gd name="T51" fmla="*/ 597 h 757"/>
              <a:gd name="T52" fmla="*/ 14 w 531"/>
              <a:gd name="T53" fmla="*/ 586 h 757"/>
              <a:gd name="T54" fmla="*/ 19 w 531"/>
              <a:gd name="T55" fmla="*/ 561 h 757"/>
              <a:gd name="T56" fmla="*/ 36 w 531"/>
              <a:gd name="T57" fmla="*/ 538 h 757"/>
              <a:gd name="T58" fmla="*/ 53 w 531"/>
              <a:gd name="T59" fmla="*/ 504 h 757"/>
              <a:gd name="T60" fmla="*/ 61 w 531"/>
              <a:gd name="T61" fmla="*/ 471 h 757"/>
              <a:gd name="T62" fmla="*/ 64 w 531"/>
              <a:gd name="T63" fmla="*/ 441 h 757"/>
              <a:gd name="T64" fmla="*/ 58 w 531"/>
              <a:gd name="T65" fmla="*/ 408 h 757"/>
              <a:gd name="T66" fmla="*/ 43 w 531"/>
              <a:gd name="T67" fmla="*/ 377 h 757"/>
              <a:gd name="T68" fmla="*/ 74 w 531"/>
              <a:gd name="T69" fmla="*/ 276 h 757"/>
              <a:gd name="T70" fmla="*/ 103 w 531"/>
              <a:gd name="T71" fmla="*/ 275 h 757"/>
              <a:gd name="T72" fmla="*/ 113 w 531"/>
              <a:gd name="T73" fmla="*/ 234 h 757"/>
              <a:gd name="T74" fmla="*/ 137 w 531"/>
              <a:gd name="T75" fmla="*/ 192 h 757"/>
              <a:gd name="T76" fmla="*/ 180 w 531"/>
              <a:gd name="T77" fmla="*/ 145 h 757"/>
              <a:gd name="T78" fmla="*/ 198 w 531"/>
              <a:gd name="T79" fmla="*/ 111 h 757"/>
              <a:gd name="T80" fmla="*/ 228 w 531"/>
              <a:gd name="T81" fmla="*/ 60 h 757"/>
              <a:gd name="T82" fmla="*/ 249 w 531"/>
              <a:gd name="T83" fmla="*/ 43 h 757"/>
              <a:gd name="T84" fmla="*/ 309 w 531"/>
              <a:gd name="T85" fmla="*/ 29 h 757"/>
              <a:gd name="T86" fmla="*/ 368 w 531"/>
              <a:gd name="T87" fmla="*/ 13 h 757"/>
              <a:gd name="T88" fmla="*/ 401 w 531"/>
              <a:gd name="T89" fmla="*/ 5 h 757"/>
              <a:gd name="T90" fmla="*/ 431 w 531"/>
              <a:gd name="T91" fmla="*/ 32 h 757"/>
              <a:gd name="T92" fmla="*/ 457 w 531"/>
              <a:gd name="T93" fmla="*/ 42 h 757"/>
              <a:gd name="T94" fmla="*/ 513 w 531"/>
              <a:gd name="T95" fmla="*/ 111 h 757"/>
              <a:gd name="T96" fmla="*/ 528 w 531"/>
              <a:gd name="T97" fmla="*/ 150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00" name="Freeform 244">
            <a:extLst>
              <a:ext uri="{FF2B5EF4-FFF2-40B4-BE49-F238E27FC236}">
                <a16:creationId xmlns="" xmlns:a16="http://schemas.microsoft.com/office/drawing/2014/main" id="{045E3687-57F0-40BD-8D94-6957EF708E7E}"/>
              </a:ext>
            </a:extLst>
          </p:cNvPr>
          <p:cNvSpPr>
            <a:spLocks/>
          </p:cNvSpPr>
          <p:nvPr>
            <p:custDataLst>
              <p:tags r:id="rId170"/>
            </p:custDataLst>
          </p:nvPr>
        </p:nvSpPr>
        <p:spPr bwMode="auto">
          <a:xfrm>
            <a:off x="4488772" y="2580745"/>
            <a:ext cx="32876" cy="59076"/>
          </a:xfrm>
          <a:custGeom>
            <a:avLst/>
            <a:gdLst>
              <a:gd name="T0" fmla="*/ 0 w 60"/>
              <a:gd name="T1" fmla="*/ 37 h 51"/>
              <a:gd name="T2" fmla="*/ 6 w 60"/>
              <a:gd name="T3" fmla="*/ 30 h 51"/>
              <a:gd name="T4" fmla="*/ 15 w 60"/>
              <a:gd name="T5" fmla="*/ 19 h 51"/>
              <a:gd name="T6" fmla="*/ 20 w 60"/>
              <a:gd name="T7" fmla="*/ 13 h 51"/>
              <a:gd name="T8" fmla="*/ 27 w 60"/>
              <a:gd name="T9" fmla="*/ 8 h 51"/>
              <a:gd name="T10" fmla="*/ 33 w 60"/>
              <a:gd name="T11" fmla="*/ 4 h 51"/>
              <a:gd name="T12" fmla="*/ 40 w 60"/>
              <a:gd name="T13" fmla="*/ 0 h 51"/>
              <a:gd name="T14" fmla="*/ 50 w 60"/>
              <a:gd name="T15" fmla="*/ 7 h 51"/>
              <a:gd name="T16" fmla="*/ 60 w 60"/>
              <a:gd name="T17" fmla="*/ 13 h 51"/>
              <a:gd name="T18" fmla="*/ 59 w 60"/>
              <a:gd name="T19" fmla="*/ 20 h 51"/>
              <a:gd name="T20" fmla="*/ 56 w 60"/>
              <a:gd name="T21" fmla="*/ 29 h 51"/>
              <a:gd name="T22" fmla="*/ 54 w 60"/>
              <a:gd name="T23" fmla="*/ 34 h 51"/>
              <a:gd name="T24" fmla="*/ 52 w 60"/>
              <a:gd name="T25" fmla="*/ 38 h 51"/>
              <a:gd name="T26" fmla="*/ 49 w 60"/>
              <a:gd name="T27" fmla="*/ 42 h 51"/>
              <a:gd name="T28" fmla="*/ 45 w 60"/>
              <a:gd name="T29" fmla="*/ 45 h 51"/>
              <a:gd name="T30" fmla="*/ 41 w 60"/>
              <a:gd name="T31" fmla="*/ 48 h 51"/>
              <a:gd name="T32" fmla="*/ 37 w 60"/>
              <a:gd name="T33" fmla="*/ 50 h 51"/>
              <a:gd name="T34" fmla="*/ 31 w 60"/>
              <a:gd name="T35" fmla="*/ 51 h 51"/>
              <a:gd name="T36" fmla="*/ 27 w 60"/>
              <a:gd name="T37" fmla="*/ 51 h 51"/>
              <a:gd name="T38" fmla="*/ 20 w 60"/>
              <a:gd name="T39" fmla="*/ 50 h 51"/>
              <a:gd name="T40" fmla="*/ 15 w 60"/>
              <a:gd name="T41" fmla="*/ 47 h 51"/>
              <a:gd name="T42" fmla="*/ 7 w 60"/>
              <a:gd name="T43" fmla="*/ 43 h 51"/>
              <a:gd name="T44" fmla="*/ 0 w 60"/>
              <a:gd name="T45" fmla="*/ 3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01" name="Freeform 245">
            <a:extLst>
              <a:ext uri="{FF2B5EF4-FFF2-40B4-BE49-F238E27FC236}">
                <a16:creationId xmlns="" xmlns:a16="http://schemas.microsoft.com/office/drawing/2014/main" id="{6468A7DE-6A7C-456C-9A42-469383E67665}"/>
              </a:ext>
            </a:extLst>
          </p:cNvPr>
          <p:cNvSpPr>
            <a:spLocks/>
          </p:cNvSpPr>
          <p:nvPr>
            <p:custDataLst>
              <p:tags r:id="rId171"/>
            </p:custDataLst>
          </p:nvPr>
        </p:nvSpPr>
        <p:spPr bwMode="auto">
          <a:xfrm>
            <a:off x="3811923" y="2748124"/>
            <a:ext cx="34809" cy="59076"/>
          </a:xfrm>
          <a:custGeom>
            <a:avLst/>
            <a:gdLst>
              <a:gd name="T0" fmla="*/ 59 w 66"/>
              <a:gd name="T1" fmla="*/ 48 h 51"/>
              <a:gd name="T2" fmla="*/ 42 w 66"/>
              <a:gd name="T3" fmla="*/ 50 h 51"/>
              <a:gd name="T4" fmla="*/ 22 w 66"/>
              <a:gd name="T5" fmla="*/ 51 h 51"/>
              <a:gd name="T6" fmla="*/ 17 w 66"/>
              <a:gd name="T7" fmla="*/ 50 h 51"/>
              <a:gd name="T8" fmla="*/ 13 w 66"/>
              <a:gd name="T9" fmla="*/ 49 h 51"/>
              <a:gd name="T10" fmla="*/ 10 w 66"/>
              <a:gd name="T11" fmla="*/ 48 h 51"/>
              <a:gd name="T12" fmla="*/ 7 w 66"/>
              <a:gd name="T13" fmla="*/ 46 h 51"/>
              <a:gd name="T14" fmla="*/ 3 w 66"/>
              <a:gd name="T15" fmla="*/ 43 h 51"/>
              <a:gd name="T16" fmla="*/ 1 w 66"/>
              <a:gd name="T17" fmla="*/ 40 h 51"/>
              <a:gd name="T18" fmla="*/ 0 w 66"/>
              <a:gd name="T19" fmla="*/ 35 h 51"/>
              <a:gd name="T20" fmla="*/ 0 w 66"/>
              <a:gd name="T21" fmla="*/ 30 h 51"/>
              <a:gd name="T22" fmla="*/ 4 w 66"/>
              <a:gd name="T23" fmla="*/ 29 h 51"/>
              <a:gd name="T24" fmla="*/ 10 w 66"/>
              <a:gd name="T25" fmla="*/ 27 h 51"/>
              <a:gd name="T26" fmla="*/ 14 w 66"/>
              <a:gd name="T27" fmla="*/ 24 h 51"/>
              <a:gd name="T28" fmla="*/ 19 w 66"/>
              <a:gd name="T29" fmla="*/ 20 h 51"/>
              <a:gd name="T30" fmla="*/ 26 w 66"/>
              <a:gd name="T31" fmla="*/ 10 h 51"/>
              <a:gd name="T32" fmla="*/ 33 w 66"/>
              <a:gd name="T33" fmla="*/ 0 h 51"/>
              <a:gd name="T34" fmla="*/ 46 w 66"/>
              <a:gd name="T35" fmla="*/ 1 h 51"/>
              <a:gd name="T36" fmla="*/ 52 w 66"/>
              <a:gd name="T37" fmla="*/ 2 h 51"/>
              <a:gd name="T38" fmla="*/ 56 w 66"/>
              <a:gd name="T39" fmla="*/ 3 h 51"/>
              <a:gd name="T40" fmla="*/ 66 w 66"/>
              <a:gd name="T41" fmla="*/ 0 h 51"/>
              <a:gd name="T42" fmla="*/ 65 w 66"/>
              <a:gd name="T43" fmla="*/ 13 h 51"/>
              <a:gd name="T44" fmla="*/ 63 w 66"/>
              <a:gd name="T45" fmla="*/ 24 h 51"/>
              <a:gd name="T46" fmla="*/ 60 w 66"/>
              <a:gd name="T47" fmla="*/ 36 h 51"/>
              <a:gd name="T48" fmla="*/ 59 w 66"/>
              <a:gd name="T49"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02" name="Freeform 246">
            <a:extLst>
              <a:ext uri="{FF2B5EF4-FFF2-40B4-BE49-F238E27FC236}">
                <a16:creationId xmlns="" xmlns:a16="http://schemas.microsoft.com/office/drawing/2014/main" id="{B6CE6994-7102-4F2E-86BF-99127EDDADF8}"/>
              </a:ext>
            </a:extLst>
          </p:cNvPr>
          <p:cNvSpPr>
            <a:spLocks/>
          </p:cNvSpPr>
          <p:nvPr>
            <p:custDataLst>
              <p:tags r:id="rId172"/>
            </p:custDataLst>
          </p:nvPr>
        </p:nvSpPr>
        <p:spPr bwMode="auto">
          <a:xfrm>
            <a:off x="4972234" y="3294569"/>
            <a:ext cx="61884" cy="59076"/>
          </a:xfrm>
          <a:custGeom>
            <a:avLst/>
            <a:gdLst>
              <a:gd name="T0" fmla="*/ 0 w 113"/>
              <a:gd name="T1" fmla="*/ 44 h 74"/>
              <a:gd name="T2" fmla="*/ 20 w 113"/>
              <a:gd name="T3" fmla="*/ 74 h 74"/>
              <a:gd name="T4" fmla="*/ 37 w 113"/>
              <a:gd name="T5" fmla="*/ 69 h 74"/>
              <a:gd name="T6" fmla="*/ 51 w 113"/>
              <a:gd name="T7" fmla="*/ 65 h 74"/>
              <a:gd name="T8" fmla="*/ 64 w 113"/>
              <a:gd name="T9" fmla="*/ 59 h 74"/>
              <a:gd name="T10" fmla="*/ 74 w 113"/>
              <a:gd name="T11" fmla="*/ 53 h 74"/>
              <a:gd name="T12" fmla="*/ 78 w 113"/>
              <a:gd name="T13" fmla="*/ 49 h 74"/>
              <a:gd name="T14" fmla="*/ 83 w 113"/>
              <a:gd name="T15" fmla="*/ 45 h 74"/>
              <a:gd name="T16" fmla="*/ 86 w 113"/>
              <a:gd name="T17" fmla="*/ 41 h 74"/>
              <a:gd name="T18" fmla="*/ 88 w 113"/>
              <a:gd name="T19" fmla="*/ 37 h 74"/>
              <a:gd name="T20" fmla="*/ 90 w 113"/>
              <a:gd name="T21" fmla="*/ 32 h 74"/>
              <a:gd name="T22" fmla="*/ 91 w 113"/>
              <a:gd name="T23" fmla="*/ 26 h 74"/>
              <a:gd name="T24" fmla="*/ 93 w 113"/>
              <a:gd name="T25" fmla="*/ 19 h 74"/>
              <a:gd name="T26" fmla="*/ 94 w 113"/>
              <a:gd name="T27" fmla="*/ 13 h 74"/>
              <a:gd name="T28" fmla="*/ 99 w 113"/>
              <a:gd name="T29" fmla="*/ 12 h 74"/>
              <a:gd name="T30" fmla="*/ 106 w 113"/>
              <a:gd name="T31" fmla="*/ 9 h 74"/>
              <a:gd name="T32" fmla="*/ 108 w 113"/>
              <a:gd name="T33" fmla="*/ 7 h 74"/>
              <a:gd name="T34" fmla="*/ 111 w 113"/>
              <a:gd name="T35" fmla="*/ 5 h 74"/>
              <a:gd name="T36" fmla="*/ 112 w 113"/>
              <a:gd name="T37" fmla="*/ 3 h 74"/>
              <a:gd name="T38" fmla="*/ 113 w 113"/>
              <a:gd name="T39" fmla="*/ 0 h 74"/>
              <a:gd name="T40" fmla="*/ 98 w 113"/>
              <a:gd name="T41" fmla="*/ 4 h 74"/>
              <a:gd name="T42" fmla="*/ 82 w 113"/>
              <a:gd name="T43" fmla="*/ 8 h 74"/>
              <a:gd name="T44" fmla="*/ 65 w 113"/>
              <a:gd name="T45" fmla="*/ 13 h 74"/>
              <a:gd name="T46" fmla="*/ 49 w 113"/>
              <a:gd name="T47" fmla="*/ 19 h 74"/>
              <a:gd name="T48" fmla="*/ 20 w 113"/>
              <a:gd name="T49" fmla="*/ 33 h 74"/>
              <a:gd name="T50" fmla="*/ 0 w 113"/>
              <a:gd name="T51" fmla="*/ 4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03" name="Freeform 247">
            <a:extLst>
              <a:ext uri="{FF2B5EF4-FFF2-40B4-BE49-F238E27FC236}">
                <a16:creationId xmlns="" xmlns:a16="http://schemas.microsoft.com/office/drawing/2014/main" id="{6E6C8BE0-BD89-439E-A056-AC57D3C8D6B6}"/>
              </a:ext>
            </a:extLst>
          </p:cNvPr>
          <p:cNvSpPr>
            <a:spLocks/>
          </p:cNvSpPr>
          <p:nvPr>
            <p:custDataLst>
              <p:tags r:id="rId173"/>
            </p:custDataLst>
          </p:nvPr>
        </p:nvSpPr>
        <p:spPr bwMode="auto">
          <a:xfrm>
            <a:off x="4494573" y="4113416"/>
            <a:ext cx="396439" cy="252710"/>
          </a:xfrm>
          <a:custGeom>
            <a:avLst/>
            <a:gdLst>
              <a:gd name="T0" fmla="*/ 98 w 746"/>
              <a:gd name="T1" fmla="*/ 452 h 469"/>
              <a:gd name="T2" fmla="*/ 54 w 746"/>
              <a:gd name="T3" fmla="*/ 440 h 469"/>
              <a:gd name="T4" fmla="*/ 21 w 746"/>
              <a:gd name="T5" fmla="*/ 429 h 469"/>
              <a:gd name="T6" fmla="*/ 5 w 746"/>
              <a:gd name="T7" fmla="*/ 413 h 469"/>
              <a:gd name="T8" fmla="*/ 0 w 746"/>
              <a:gd name="T9" fmla="*/ 363 h 469"/>
              <a:gd name="T10" fmla="*/ 5 w 746"/>
              <a:gd name="T11" fmla="*/ 309 h 469"/>
              <a:gd name="T12" fmla="*/ 23 w 746"/>
              <a:gd name="T13" fmla="*/ 273 h 469"/>
              <a:gd name="T14" fmla="*/ 56 w 746"/>
              <a:gd name="T15" fmla="*/ 228 h 469"/>
              <a:gd name="T16" fmla="*/ 121 w 746"/>
              <a:gd name="T17" fmla="*/ 204 h 469"/>
              <a:gd name="T18" fmla="*/ 166 w 746"/>
              <a:gd name="T19" fmla="*/ 188 h 469"/>
              <a:gd name="T20" fmla="*/ 235 w 746"/>
              <a:gd name="T21" fmla="*/ 173 h 469"/>
              <a:gd name="T22" fmla="*/ 262 w 746"/>
              <a:gd name="T23" fmla="*/ 153 h 469"/>
              <a:gd name="T24" fmla="*/ 267 w 746"/>
              <a:gd name="T25" fmla="*/ 136 h 469"/>
              <a:gd name="T26" fmla="*/ 292 w 746"/>
              <a:gd name="T27" fmla="*/ 120 h 469"/>
              <a:gd name="T28" fmla="*/ 332 w 746"/>
              <a:gd name="T29" fmla="*/ 115 h 469"/>
              <a:gd name="T30" fmla="*/ 359 w 746"/>
              <a:gd name="T31" fmla="*/ 101 h 469"/>
              <a:gd name="T32" fmla="*/ 389 w 746"/>
              <a:gd name="T33" fmla="*/ 67 h 469"/>
              <a:gd name="T34" fmla="*/ 425 w 746"/>
              <a:gd name="T35" fmla="*/ 22 h 469"/>
              <a:gd name="T36" fmla="*/ 450 w 746"/>
              <a:gd name="T37" fmla="*/ 6 h 469"/>
              <a:gd name="T38" fmla="*/ 486 w 746"/>
              <a:gd name="T39" fmla="*/ 0 h 469"/>
              <a:gd name="T40" fmla="*/ 507 w 746"/>
              <a:gd name="T41" fmla="*/ 29 h 469"/>
              <a:gd name="T42" fmla="*/ 532 w 746"/>
              <a:gd name="T43" fmla="*/ 53 h 469"/>
              <a:gd name="T44" fmla="*/ 553 w 746"/>
              <a:gd name="T45" fmla="*/ 107 h 469"/>
              <a:gd name="T46" fmla="*/ 579 w 746"/>
              <a:gd name="T47" fmla="*/ 159 h 469"/>
              <a:gd name="T48" fmla="*/ 613 w 746"/>
              <a:gd name="T49" fmla="*/ 172 h 469"/>
              <a:gd name="T50" fmla="*/ 628 w 746"/>
              <a:gd name="T51" fmla="*/ 193 h 469"/>
              <a:gd name="T52" fmla="*/ 650 w 746"/>
              <a:gd name="T53" fmla="*/ 233 h 469"/>
              <a:gd name="T54" fmla="*/ 702 w 746"/>
              <a:gd name="T55" fmla="*/ 279 h 469"/>
              <a:gd name="T56" fmla="*/ 741 w 746"/>
              <a:gd name="T57" fmla="*/ 315 h 469"/>
              <a:gd name="T58" fmla="*/ 711 w 746"/>
              <a:gd name="T59" fmla="*/ 345 h 469"/>
              <a:gd name="T60" fmla="*/ 691 w 746"/>
              <a:gd name="T61" fmla="*/ 342 h 469"/>
              <a:gd name="T62" fmla="*/ 679 w 746"/>
              <a:gd name="T63" fmla="*/ 321 h 469"/>
              <a:gd name="T64" fmla="*/ 651 w 746"/>
              <a:gd name="T65" fmla="*/ 330 h 469"/>
              <a:gd name="T66" fmla="*/ 639 w 746"/>
              <a:gd name="T67" fmla="*/ 352 h 469"/>
              <a:gd name="T68" fmla="*/ 604 w 746"/>
              <a:gd name="T69" fmla="*/ 356 h 469"/>
              <a:gd name="T70" fmla="*/ 553 w 746"/>
              <a:gd name="T71" fmla="*/ 356 h 469"/>
              <a:gd name="T72" fmla="*/ 522 w 746"/>
              <a:gd name="T73" fmla="*/ 365 h 469"/>
              <a:gd name="T74" fmla="*/ 496 w 746"/>
              <a:gd name="T75" fmla="*/ 387 h 469"/>
              <a:gd name="T76" fmla="*/ 486 w 746"/>
              <a:gd name="T77" fmla="*/ 394 h 469"/>
              <a:gd name="T78" fmla="*/ 426 w 746"/>
              <a:gd name="T79" fmla="*/ 400 h 469"/>
              <a:gd name="T80" fmla="*/ 396 w 746"/>
              <a:gd name="T81" fmla="*/ 392 h 469"/>
              <a:gd name="T82" fmla="*/ 349 w 746"/>
              <a:gd name="T83" fmla="*/ 354 h 469"/>
              <a:gd name="T84" fmla="*/ 319 w 746"/>
              <a:gd name="T85" fmla="*/ 345 h 469"/>
              <a:gd name="T86" fmla="*/ 291 w 746"/>
              <a:gd name="T87" fmla="*/ 355 h 469"/>
              <a:gd name="T88" fmla="*/ 266 w 746"/>
              <a:gd name="T89" fmla="*/ 377 h 469"/>
              <a:gd name="T90" fmla="*/ 227 w 746"/>
              <a:gd name="T91" fmla="*/ 437 h 469"/>
              <a:gd name="T92" fmla="*/ 150 w 746"/>
              <a:gd name="T93" fmla="*/ 439 h 469"/>
              <a:gd name="T94" fmla="*/ 135 w 746"/>
              <a:gd name="T95" fmla="*/ 44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04" name="Freeform 248">
            <a:extLst>
              <a:ext uri="{FF2B5EF4-FFF2-40B4-BE49-F238E27FC236}">
                <a16:creationId xmlns="" xmlns:a16="http://schemas.microsoft.com/office/drawing/2014/main" id="{8BA898E6-EDE2-461C-9958-F698C82E19C5}"/>
              </a:ext>
            </a:extLst>
          </p:cNvPr>
          <p:cNvSpPr>
            <a:spLocks/>
          </p:cNvSpPr>
          <p:nvPr>
            <p:custDataLst>
              <p:tags r:id="rId174"/>
            </p:custDataLst>
          </p:nvPr>
        </p:nvSpPr>
        <p:spPr bwMode="auto">
          <a:xfrm>
            <a:off x="4417220" y="4287359"/>
            <a:ext cx="609163" cy="571060"/>
          </a:xfrm>
          <a:custGeom>
            <a:avLst/>
            <a:gdLst>
              <a:gd name="T0" fmla="*/ 902 w 1145"/>
              <a:gd name="T1" fmla="*/ 57 h 1053"/>
              <a:gd name="T2" fmla="*/ 993 w 1145"/>
              <a:gd name="T3" fmla="*/ 66 h 1053"/>
              <a:gd name="T4" fmla="*/ 1080 w 1145"/>
              <a:gd name="T5" fmla="*/ 81 h 1053"/>
              <a:gd name="T6" fmla="*/ 1126 w 1145"/>
              <a:gd name="T7" fmla="*/ 175 h 1053"/>
              <a:gd name="T8" fmla="*/ 1133 w 1145"/>
              <a:gd name="T9" fmla="*/ 211 h 1053"/>
              <a:gd name="T10" fmla="*/ 1058 w 1145"/>
              <a:gd name="T11" fmla="*/ 272 h 1053"/>
              <a:gd name="T12" fmla="*/ 1045 w 1145"/>
              <a:gd name="T13" fmla="*/ 360 h 1053"/>
              <a:gd name="T14" fmla="*/ 1003 w 1145"/>
              <a:gd name="T15" fmla="*/ 440 h 1053"/>
              <a:gd name="T16" fmla="*/ 990 w 1145"/>
              <a:gd name="T17" fmla="*/ 476 h 1053"/>
              <a:gd name="T18" fmla="*/ 1019 w 1145"/>
              <a:gd name="T19" fmla="*/ 576 h 1053"/>
              <a:gd name="T20" fmla="*/ 1026 w 1145"/>
              <a:gd name="T21" fmla="*/ 664 h 1053"/>
              <a:gd name="T22" fmla="*/ 1047 w 1145"/>
              <a:gd name="T23" fmla="*/ 731 h 1053"/>
              <a:gd name="T24" fmla="*/ 1079 w 1145"/>
              <a:gd name="T25" fmla="*/ 765 h 1053"/>
              <a:gd name="T26" fmla="*/ 1092 w 1145"/>
              <a:gd name="T27" fmla="*/ 825 h 1053"/>
              <a:gd name="T28" fmla="*/ 1040 w 1145"/>
              <a:gd name="T29" fmla="*/ 844 h 1053"/>
              <a:gd name="T30" fmla="*/ 997 w 1145"/>
              <a:gd name="T31" fmla="*/ 856 h 1053"/>
              <a:gd name="T32" fmla="*/ 960 w 1145"/>
              <a:gd name="T33" fmla="*/ 992 h 1053"/>
              <a:gd name="T34" fmla="*/ 930 w 1145"/>
              <a:gd name="T35" fmla="*/ 1026 h 1053"/>
              <a:gd name="T36" fmla="*/ 902 w 1145"/>
              <a:gd name="T37" fmla="*/ 1031 h 1053"/>
              <a:gd name="T38" fmla="*/ 840 w 1145"/>
              <a:gd name="T39" fmla="*/ 1053 h 1053"/>
              <a:gd name="T40" fmla="*/ 782 w 1145"/>
              <a:gd name="T41" fmla="*/ 1037 h 1053"/>
              <a:gd name="T42" fmla="*/ 743 w 1145"/>
              <a:gd name="T43" fmla="*/ 1014 h 1053"/>
              <a:gd name="T44" fmla="*/ 707 w 1145"/>
              <a:gd name="T45" fmla="*/ 997 h 1053"/>
              <a:gd name="T46" fmla="*/ 674 w 1145"/>
              <a:gd name="T47" fmla="*/ 986 h 1053"/>
              <a:gd name="T48" fmla="*/ 608 w 1145"/>
              <a:gd name="T49" fmla="*/ 987 h 1053"/>
              <a:gd name="T50" fmla="*/ 594 w 1145"/>
              <a:gd name="T51" fmla="*/ 942 h 1053"/>
              <a:gd name="T52" fmla="*/ 575 w 1145"/>
              <a:gd name="T53" fmla="*/ 884 h 1053"/>
              <a:gd name="T54" fmla="*/ 590 w 1145"/>
              <a:gd name="T55" fmla="*/ 846 h 1053"/>
              <a:gd name="T56" fmla="*/ 590 w 1145"/>
              <a:gd name="T57" fmla="*/ 779 h 1053"/>
              <a:gd name="T58" fmla="*/ 454 w 1145"/>
              <a:gd name="T59" fmla="*/ 755 h 1053"/>
              <a:gd name="T60" fmla="*/ 443 w 1145"/>
              <a:gd name="T61" fmla="*/ 785 h 1053"/>
              <a:gd name="T62" fmla="*/ 396 w 1145"/>
              <a:gd name="T63" fmla="*/ 817 h 1053"/>
              <a:gd name="T64" fmla="*/ 337 w 1145"/>
              <a:gd name="T65" fmla="*/ 797 h 1053"/>
              <a:gd name="T66" fmla="*/ 297 w 1145"/>
              <a:gd name="T67" fmla="*/ 708 h 1053"/>
              <a:gd name="T68" fmla="*/ 3 w 1145"/>
              <a:gd name="T69" fmla="*/ 671 h 1053"/>
              <a:gd name="T70" fmla="*/ 45 w 1145"/>
              <a:gd name="T71" fmla="*/ 667 h 1053"/>
              <a:gd name="T72" fmla="*/ 26 w 1145"/>
              <a:gd name="T73" fmla="*/ 631 h 1053"/>
              <a:gd name="T74" fmla="*/ 75 w 1145"/>
              <a:gd name="T75" fmla="*/ 615 h 1053"/>
              <a:gd name="T76" fmla="*/ 145 w 1145"/>
              <a:gd name="T77" fmla="*/ 614 h 1053"/>
              <a:gd name="T78" fmla="*/ 183 w 1145"/>
              <a:gd name="T79" fmla="*/ 620 h 1053"/>
              <a:gd name="T80" fmla="*/ 220 w 1145"/>
              <a:gd name="T81" fmla="*/ 574 h 1053"/>
              <a:gd name="T82" fmla="*/ 260 w 1145"/>
              <a:gd name="T83" fmla="*/ 555 h 1053"/>
              <a:gd name="T84" fmla="*/ 281 w 1145"/>
              <a:gd name="T85" fmla="*/ 440 h 1053"/>
              <a:gd name="T86" fmla="*/ 346 w 1145"/>
              <a:gd name="T87" fmla="*/ 370 h 1053"/>
              <a:gd name="T88" fmla="*/ 370 w 1145"/>
              <a:gd name="T89" fmla="*/ 276 h 1053"/>
              <a:gd name="T90" fmla="*/ 372 w 1145"/>
              <a:gd name="T91" fmla="*/ 180 h 1053"/>
              <a:gd name="T92" fmla="*/ 383 w 1145"/>
              <a:gd name="T93" fmla="*/ 122 h 1053"/>
              <a:gd name="T94" fmla="*/ 440 w 1145"/>
              <a:gd name="T95" fmla="*/ 35 h 1053"/>
              <a:gd name="T96" fmla="*/ 491 w 1145"/>
              <a:gd name="T97" fmla="*/ 30 h 1053"/>
              <a:gd name="T98" fmla="*/ 558 w 1145"/>
              <a:gd name="T99" fmla="*/ 77 h 1053"/>
              <a:gd name="T100" fmla="*/ 637 w 1145"/>
              <a:gd name="T101" fmla="*/ 73 h 1053"/>
              <a:gd name="T102" fmla="*/ 670 w 1145"/>
              <a:gd name="T103" fmla="*/ 44 h 1053"/>
              <a:gd name="T104" fmla="*/ 734 w 1145"/>
              <a:gd name="T105" fmla="*/ 34 h 1053"/>
              <a:gd name="T106" fmla="*/ 795 w 1145"/>
              <a:gd name="T107" fmla="*/ 17 h 1053"/>
              <a:gd name="T108" fmla="*/ 828 w 1145"/>
              <a:gd name="T109" fmla="*/ 8 h 1053"/>
              <a:gd name="T110" fmla="*/ 859 w 1145"/>
              <a:gd name="T111" fmla="*/ 24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05" name="Freeform 249">
            <a:extLst>
              <a:ext uri="{FF2B5EF4-FFF2-40B4-BE49-F238E27FC236}">
                <a16:creationId xmlns="" xmlns:a16="http://schemas.microsoft.com/office/drawing/2014/main" id="{74D4F0C6-6E83-4810-90D6-3C48CEA256CA}"/>
              </a:ext>
            </a:extLst>
          </p:cNvPr>
          <p:cNvSpPr>
            <a:spLocks/>
          </p:cNvSpPr>
          <p:nvPr>
            <p:custDataLst>
              <p:tags r:id="rId175"/>
            </p:custDataLst>
          </p:nvPr>
        </p:nvSpPr>
        <p:spPr bwMode="auto">
          <a:xfrm>
            <a:off x="4339865" y="4390739"/>
            <a:ext cx="67684" cy="57435"/>
          </a:xfrm>
          <a:custGeom>
            <a:avLst/>
            <a:gdLst>
              <a:gd name="T0" fmla="*/ 120 w 125"/>
              <a:gd name="T1" fmla="*/ 0 h 81"/>
              <a:gd name="T2" fmla="*/ 121 w 125"/>
              <a:gd name="T3" fmla="*/ 27 h 81"/>
              <a:gd name="T4" fmla="*/ 124 w 125"/>
              <a:gd name="T5" fmla="*/ 46 h 81"/>
              <a:gd name="T6" fmla="*/ 125 w 125"/>
              <a:gd name="T7" fmla="*/ 53 h 81"/>
              <a:gd name="T8" fmla="*/ 125 w 125"/>
              <a:gd name="T9" fmla="*/ 59 h 81"/>
              <a:gd name="T10" fmla="*/ 125 w 125"/>
              <a:gd name="T11" fmla="*/ 65 h 81"/>
              <a:gd name="T12" fmla="*/ 123 w 125"/>
              <a:gd name="T13" fmla="*/ 69 h 81"/>
              <a:gd name="T14" fmla="*/ 119 w 125"/>
              <a:gd name="T15" fmla="*/ 72 h 81"/>
              <a:gd name="T16" fmla="*/ 112 w 125"/>
              <a:gd name="T17" fmla="*/ 74 h 81"/>
              <a:gd name="T18" fmla="*/ 103 w 125"/>
              <a:gd name="T19" fmla="*/ 76 h 81"/>
              <a:gd name="T20" fmla="*/ 91 w 125"/>
              <a:gd name="T21" fmla="*/ 77 h 81"/>
              <a:gd name="T22" fmla="*/ 57 w 125"/>
              <a:gd name="T23" fmla="*/ 79 h 81"/>
              <a:gd name="T24" fmla="*/ 7 w 125"/>
              <a:gd name="T25" fmla="*/ 81 h 81"/>
              <a:gd name="T26" fmla="*/ 5 w 125"/>
              <a:gd name="T27" fmla="*/ 79 h 81"/>
              <a:gd name="T28" fmla="*/ 3 w 125"/>
              <a:gd name="T29" fmla="*/ 72 h 81"/>
              <a:gd name="T30" fmla="*/ 1 w 125"/>
              <a:gd name="T31" fmla="*/ 59 h 81"/>
              <a:gd name="T32" fmla="*/ 0 w 125"/>
              <a:gd name="T33" fmla="*/ 43 h 81"/>
              <a:gd name="T34" fmla="*/ 0 w 125"/>
              <a:gd name="T35" fmla="*/ 37 h 81"/>
              <a:gd name="T36" fmla="*/ 1 w 125"/>
              <a:gd name="T37" fmla="*/ 31 h 81"/>
              <a:gd name="T38" fmla="*/ 2 w 125"/>
              <a:gd name="T39" fmla="*/ 25 h 81"/>
              <a:gd name="T40" fmla="*/ 4 w 125"/>
              <a:gd name="T41" fmla="*/ 20 h 81"/>
              <a:gd name="T42" fmla="*/ 8 w 125"/>
              <a:gd name="T43" fmla="*/ 15 h 81"/>
              <a:gd name="T44" fmla="*/ 11 w 125"/>
              <a:gd name="T45" fmla="*/ 10 h 81"/>
              <a:gd name="T46" fmla="*/ 14 w 125"/>
              <a:gd name="T47" fmla="*/ 5 h 81"/>
              <a:gd name="T48" fmla="*/ 20 w 125"/>
              <a:gd name="T49" fmla="*/ 0 h 81"/>
              <a:gd name="T50" fmla="*/ 120 w 125"/>
              <a:gd name="T51"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06" name="Freeform 250">
            <a:extLst>
              <a:ext uri="{FF2B5EF4-FFF2-40B4-BE49-F238E27FC236}">
                <a16:creationId xmlns="" xmlns:a16="http://schemas.microsoft.com/office/drawing/2014/main" id="{B761C01D-30BD-4335-B81A-D01565956241}"/>
              </a:ext>
            </a:extLst>
          </p:cNvPr>
          <p:cNvSpPr>
            <a:spLocks/>
          </p:cNvSpPr>
          <p:nvPr>
            <p:custDataLst>
              <p:tags r:id="rId176"/>
            </p:custDataLst>
          </p:nvPr>
        </p:nvSpPr>
        <p:spPr bwMode="auto">
          <a:xfrm>
            <a:off x="4318593" y="4390739"/>
            <a:ext cx="185650" cy="208405"/>
          </a:xfrm>
          <a:custGeom>
            <a:avLst/>
            <a:gdLst>
              <a:gd name="T0" fmla="*/ 262 w 355"/>
              <a:gd name="T1" fmla="*/ 15 h 388"/>
              <a:gd name="T2" fmla="*/ 257 w 355"/>
              <a:gd name="T3" fmla="*/ 37 h 388"/>
              <a:gd name="T4" fmla="*/ 264 w 355"/>
              <a:gd name="T5" fmla="*/ 51 h 388"/>
              <a:gd name="T6" fmla="*/ 283 w 355"/>
              <a:gd name="T7" fmla="*/ 60 h 388"/>
              <a:gd name="T8" fmla="*/ 319 w 355"/>
              <a:gd name="T9" fmla="*/ 55 h 388"/>
              <a:gd name="T10" fmla="*/ 332 w 355"/>
              <a:gd name="T11" fmla="*/ 57 h 388"/>
              <a:gd name="T12" fmla="*/ 340 w 355"/>
              <a:gd name="T13" fmla="*/ 68 h 388"/>
              <a:gd name="T14" fmla="*/ 345 w 355"/>
              <a:gd name="T15" fmla="*/ 83 h 388"/>
              <a:gd name="T16" fmla="*/ 351 w 355"/>
              <a:gd name="T17" fmla="*/ 94 h 388"/>
              <a:gd name="T18" fmla="*/ 345 w 355"/>
              <a:gd name="T19" fmla="*/ 108 h 388"/>
              <a:gd name="T20" fmla="*/ 320 w 355"/>
              <a:gd name="T21" fmla="*/ 136 h 388"/>
              <a:gd name="T22" fmla="*/ 348 w 355"/>
              <a:gd name="T23" fmla="*/ 175 h 388"/>
              <a:gd name="T24" fmla="*/ 355 w 355"/>
              <a:gd name="T25" fmla="*/ 202 h 388"/>
              <a:gd name="T26" fmla="*/ 353 w 355"/>
              <a:gd name="T27" fmla="*/ 219 h 388"/>
              <a:gd name="T28" fmla="*/ 345 w 355"/>
              <a:gd name="T29" fmla="*/ 254 h 388"/>
              <a:gd name="T30" fmla="*/ 333 w 355"/>
              <a:gd name="T31" fmla="*/ 271 h 388"/>
              <a:gd name="T32" fmla="*/ 312 w 355"/>
              <a:gd name="T33" fmla="*/ 280 h 388"/>
              <a:gd name="T34" fmla="*/ 286 w 355"/>
              <a:gd name="T35" fmla="*/ 282 h 388"/>
              <a:gd name="T36" fmla="*/ 270 w 355"/>
              <a:gd name="T37" fmla="*/ 282 h 388"/>
              <a:gd name="T38" fmla="*/ 252 w 355"/>
              <a:gd name="T39" fmla="*/ 265 h 388"/>
              <a:gd name="T40" fmla="*/ 240 w 355"/>
              <a:gd name="T41" fmla="*/ 259 h 388"/>
              <a:gd name="T42" fmla="*/ 221 w 355"/>
              <a:gd name="T43" fmla="*/ 269 h 388"/>
              <a:gd name="T44" fmla="*/ 205 w 355"/>
              <a:gd name="T45" fmla="*/ 279 h 388"/>
              <a:gd name="T46" fmla="*/ 194 w 355"/>
              <a:gd name="T47" fmla="*/ 285 h 388"/>
              <a:gd name="T48" fmla="*/ 185 w 355"/>
              <a:gd name="T49" fmla="*/ 298 h 388"/>
              <a:gd name="T50" fmla="*/ 187 w 355"/>
              <a:gd name="T51" fmla="*/ 321 h 388"/>
              <a:gd name="T52" fmla="*/ 207 w 355"/>
              <a:gd name="T53" fmla="*/ 358 h 388"/>
              <a:gd name="T54" fmla="*/ 195 w 355"/>
              <a:gd name="T55" fmla="*/ 353 h 388"/>
              <a:gd name="T56" fmla="*/ 177 w 355"/>
              <a:gd name="T57" fmla="*/ 355 h 388"/>
              <a:gd name="T58" fmla="*/ 162 w 355"/>
              <a:gd name="T59" fmla="*/ 365 h 388"/>
              <a:gd name="T60" fmla="*/ 146 w 355"/>
              <a:gd name="T61" fmla="*/ 388 h 388"/>
              <a:gd name="T62" fmla="*/ 123 w 355"/>
              <a:gd name="T63" fmla="*/ 370 h 388"/>
              <a:gd name="T64" fmla="*/ 113 w 355"/>
              <a:gd name="T65" fmla="*/ 358 h 388"/>
              <a:gd name="T66" fmla="*/ 96 w 355"/>
              <a:gd name="T67" fmla="*/ 324 h 388"/>
              <a:gd name="T68" fmla="*/ 50 w 355"/>
              <a:gd name="T69" fmla="*/ 280 h 388"/>
              <a:gd name="T70" fmla="*/ 22 w 355"/>
              <a:gd name="T71" fmla="*/ 254 h 388"/>
              <a:gd name="T72" fmla="*/ 5 w 355"/>
              <a:gd name="T73" fmla="*/ 223 h 388"/>
              <a:gd name="T74" fmla="*/ 1 w 355"/>
              <a:gd name="T75" fmla="*/ 187 h 388"/>
              <a:gd name="T76" fmla="*/ 11 w 355"/>
              <a:gd name="T77" fmla="*/ 162 h 388"/>
              <a:gd name="T78" fmla="*/ 41 w 355"/>
              <a:gd name="T79" fmla="*/ 134 h 388"/>
              <a:gd name="T80" fmla="*/ 54 w 355"/>
              <a:gd name="T81" fmla="*/ 116 h 388"/>
              <a:gd name="T82" fmla="*/ 56 w 355"/>
              <a:gd name="T83" fmla="*/ 91 h 388"/>
              <a:gd name="T84" fmla="*/ 108 w 355"/>
              <a:gd name="T85" fmla="*/ 83 h 388"/>
              <a:gd name="T86" fmla="*/ 156 w 355"/>
              <a:gd name="T87" fmla="*/ 80 h 388"/>
              <a:gd name="T88" fmla="*/ 172 w 355"/>
              <a:gd name="T89" fmla="*/ 73 h 388"/>
              <a:gd name="T90" fmla="*/ 177 w 355"/>
              <a:gd name="T91" fmla="*/ 63 h 388"/>
              <a:gd name="T92" fmla="*/ 174 w 355"/>
              <a:gd name="T93" fmla="*/ 41 h 388"/>
              <a:gd name="T94" fmla="*/ 167 w 355"/>
              <a:gd name="T95" fmla="*/ 1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07" name="Freeform 251">
            <a:extLst>
              <a:ext uri="{FF2B5EF4-FFF2-40B4-BE49-F238E27FC236}">
                <a16:creationId xmlns="" xmlns:a16="http://schemas.microsoft.com/office/drawing/2014/main" id="{C87D72C5-BAE2-4884-A5AB-7CFF95AC554C}"/>
              </a:ext>
            </a:extLst>
          </p:cNvPr>
          <p:cNvSpPr>
            <a:spLocks/>
          </p:cNvSpPr>
          <p:nvPr>
            <p:custDataLst>
              <p:tags r:id="rId177"/>
            </p:custDataLst>
          </p:nvPr>
        </p:nvSpPr>
        <p:spPr bwMode="auto">
          <a:xfrm>
            <a:off x="4968367" y="4809189"/>
            <a:ext cx="317152" cy="538240"/>
          </a:xfrm>
          <a:custGeom>
            <a:avLst/>
            <a:gdLst>
              <a:gd name="T0" fmla="*/ 0 w 599"/>
              <a:gd name="T1" fmla="*/ 259 h 993"/>
              <a:gd name="T2" fmla="*/ 182 w 599"/>
              <a:gd name="T3" fmla="*/ 224 h 993"/>
              <a:gd name="T4" fmla="*/ 230 w 599"/>
              <a:gd name="T5" fmla="*/ 240 h 993"/>
              <a:gd name="T6" fmla="*/ 258 w 599"/>
              <a:gd name="T7" fmla="*/ 258 h 993"/>
              <a:gd name="T8" fmla="*/ 252 w 599"/>
              <a:gd name="T9" fmla="*/ 296 h 993"/>
              <a:gd name="T10" fmla="*/ 234 w 599"/>
              <a:gd name="T11" fmla="*/ 327 h 993"/>
              <a:gd name="T12" fmla="*/ 250 w 599"/>
              <a:gd name="T13" fmla="*/ 357 h 993"/>
              <a:gd name="T14" fmla="*/ 294 w 599"/>
              <a:gd name="T15" fmla="*/ 365 h 993"/>
              <a:gd name="T16" fmla="*/ 319 w 599"/>
              <a:gd name="T17" fmla="*/ 340 h 993"/>
              <a:gd name="T18" fmla="*/ 338 w 599"/>
              <a:gd name="T19" fmla="*/ 317 h 993"/>
              <a:gd name="T20" fmla="*/ 332 w 599"/>
              <a:gd name="T21" fmla="*/ 261 h 993"/>
              <a:gd name="T22" fmla="*/ 314 w 599"/>
              <a:gd name="T23" fmla="*/ 204 h 993"/>
              <a:gd name="T24" fmla="*/ 271 w 599"/>
              <a:gd name="T25" fmla="*/ 157 h 993"/>
              <a:gd name="T26" fmla="*/ 254 w 599"/>
              <a:gd name="T27" fmla="*/ 125 h 993"/>
              <a:gd name="T28" fmla="*/ 270 w 599"/>
              <a:gd name="T29" fmla="*/ 62 h 993"/>
              <a:gd name="T30" fmla="*/ 320 w 599"/>
              <a:gd name="T31" fmla="*/ 55 h 993"/>
              <a:gd name="T32" fmla="*/ 418 w 599"/>
              <a:gd name="T33" fmla="*/ 60 h 993"/>
              <a:gd name="T34" fmla="*/ 521 w 599"/>
              <a:gd name="T35" fmla="*/ 36 h 993"/>
              <a:gd name="T36" fmla="*/ 597 w 599"/>
              <a:gd name="T37" fmla="*/ 3 h 993"/>
              <a:gd name="T38" fmla="*/ 597 w 599"/>
              <a:gd name="T39" fmla="*/ 30 h 993"/>
              <a:gd name="T40" fmla="*/ 597 w 599"/>
              <a:gd name="T41" fmla="*/ 126 h 993"/>
              <a:gd name="T42" fmla="*/ 592 w 599"/>
              <a:gd name="T43" fmla="*/ 228 h 993"/>
              <a:gd name="T44" fmla="*/ 585 w 599"/>
              <a:gd name="T45" fmla="*/ 276 h 993"/>
              <a:gd name="T46" fmla="*/ 550 w 599"/>
              <a:gd name="T47" fmla="*/ 337 h 993"/>
              <a:gd name="T48" fmla="*/ 468 w 599"/>
              <a:gd name="T49" fmla="*/ 402 h 993"/>
              <a:gd name="T50" fmla="*/ 374 w 599"/>
              <a:gd name="T51" fmla="*/ 426 h 993"/>
              <a:gd name="T52" fmla="*/ 353 w 599"/>
              <a:gd name="T53" fmla="*/ 464 h 993"/>
              <a:gd name="T54" fmla="*/ 293 w 599"/>
              <a:gd name="T55" fmla="*/ 507 h 993"/>
              <a:gd name="T56" fmla="*/ 243 w 599"/>
              <a:gd name="T57" fmla="*/ 549 h 993"/>
              <a:gd name="T58" fmla="*/ 229 w 599"/>
              <a:gd name="T59" fmla="*/ 582 h 993"/>
              <a:gd name="T60" fmla="*/ 237 w 599"/>
              <a:gd name="T61" fmla="*/ 619 h 993"/>
              <a:gd name="T62" fmla="*/ 267 w 599"/>
              <a:gd name="T63" fmla="*/ 654 h 993"/>
              <a:gd name="T64" fmla="*/ 254 w 599"/>
              <a:gd name="T65" fmla="*/ 694 h 993"/>
              <a:gd name="T66" fmla="*/ 265 w 599"/>
              <a:gd name="T67" fmla="*/ 729 h 993"/>
              <a:gd name="T68" fmla="*/ 267 w 599"/>
              <a:gd name="T69" fmla="*/ 790 h 993"/>
              <a:gd name="T70" fmla="*/ 256 w 599"/>
              <a:gd name="T71" fmla="*/ 814 h 993"/>
              <a:gd name="T72" fmla="*/ 193 w 599"/>
              <a:gd name="T73" fmla="*/ 873 h 993"/>
              <a:gd name="T74" fmla="*/ 147 w 599"/>
              <a:gd name="T75" fmla="*/ 887 h 993"/>
              <a:gd name="T76" fmla="*/ 102 w 599"/>
              <a:gd name="T77" fmla="*/ 894 h 993"/>
              <a:gd name="T78" fmla="*/ 87 w 599"/>
              <a:gd name="T79" fmla="*/ 913 h 993"/>
              <a:gd name="T80" fmla="*/ 95 w 599"/>
              <a:gd name="T81" fmla="*/ 939 h 993"/>
              <a:gd name="T82" fmla="*/ 91 w 599"/>
              <a:gd name="T83" fmla="*/ 992 h 993"/>
              <a:gd name="T84" fmla="*/ 74 w 599"/>
              <a:gd name="T85" fmla="*/ 810 h 993"/>
              <a:gd name="T86" fmla="*/ 58 w 599"/>
              <a:gd name="T87" fmla="*/ 765 h 993"/>
              <a:gd name="T88" fmla="*/ 41 w 599"/>
              <a:gd name="T89" fmla="*/ 720 h 993"/>
              <a:gd name="T90" fmla="*/ 108 w 599"/>
              <a:gd name="T91" fmla="*/ 666 h 993"/>
              <a:gd name="T92" fmla="*/ 109 w 599"/>
              <a:gd name="T93" fmla="*/ 614 h 993"/>
              <a:gd name="T94" fmla="*/ 149 w 599"/>
              <a:gd name="T95" fmla="*/ 571 h 993"/>
              <a:gd name="T96" fmla="*/ 174 w 599"/>
              <a:gd name="T97" fmla="*/ 526 h 993"/>
              <a:gd name="T98" fmla="*/ 168 w 599"/>
              <a:gd name="T99" fmla="*/ 441 h 993"/>
              <a:gd name="T100" fmla="*/ 152 w 599"/>
              <a:gd name="T101" fmla="*/ 364 h 993"/>
              <a:gd name="T102" fmla="*/ 81 w 599"/>
              <a:gd name="T103" fmla="*/ 341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chemeClr val="accent2"/>
          </a:solidFill>
          <a:ln w="9525" cmpd="sng">
            <a:solidFill>
              <a:srgbClr val="FFFFFF"/>
            </a:solidFill>
            <a:prstDash val="solid"/>
            <a:round/>
            <a:headEnd/>
            <a:tailEnd/>
          </a:ln>
        </p:spPr>
        <p:txBody>
          <a:bodyPr/>
          <a:lstStyle/>
          <a:p>
            <a:endParaRPr lang="en-GB" dirty="0"/>
          </a:p>
        </p:txBody>
      </p:sp>
      <p:sp>
        <p:nvSpPr>
          <p:cNvPr id="308" name="Freeform 252">
            <a:extLst>
              <a:ext uri="{FF2B5EF4-FFF2-40B4-BE49-F238E27FC236}">
                <a16:creationId xmlns="" xmlns:a16="http://schemas.microsoft.com/office/drawing/2014/main" id="{3A3490BF-BE94-46C3-BF66-B04FB6C16652}"/>
              </a:ext>
            </a:extLst>
          </p:cNvPr>
          <p:cNvSpPr>
            <a:spLocks/>
          </p:cNvSpPr>
          <p:nvPr>
            <p:custDataLst>
              <p:tags r:id="rId178"/>
            </p:custDataLst>
          </p:nvPr>
        </p:nvSpPr>
        <p:spPr bwMode="auto">
          <a:xfrm>
            <a:off x="4645414" y="5056976"/>
            <a:ext cx="290078" cy="297017"/>
          </a:xfrm>
          <a:custGeom>
            <a:avLst/>
            <a:gdLst>
              <a:gd name="T0" fmla="*/ 30 w 545"/>
              <a:gd name="T1" fmla="*/ 428 h 549"/>
              <a:gd name="T2" fmla="*/ 46 w 545"/>
              <a:gd name="T3" fmla="*/ 454 h 549"/>
              <a:gd name="T4" fmla="*/ 46 w 545"/>
              <a:gd name="T5" fmla="*/ 512 h 549"/>
              <a:gd name="T6" fmla="*/ 48 w 545"/>
              <a:gd name="T7" fmla="*/ 527 h 549"/>
              <a:gd name="T8" fmla="*/ 55 w 545"/>
              <a:gd name="T9" fmla="*/ 537 h 549"/>
              <a:gd name="T10" fmla="*/ 68 w 545"/>
              <a:gd name="T11" fmla="*/ 545 h 549"/>
              <a:gd name="T12" fmla="*/ 100 w 545"/>
              <a:gd name="T13" fmla="*/ 549 h 549"/>
              <a:gd name="T14" fmla="*/ 113 w 545"/>
              <a:gd name="T15" fmla="*/ 546 h 549"/>
              <a:gd name="T16" fmla="*/ 130 w 545"/>
              <a:gd name="T17" fmla="*/ 533 h 549"/>
              <a:gd name="T18" fmla="*/ 143 w 545"/>
              <a:gd name="T19" fmla="*/ 507 h 549"/>
              <a:gd name="T20" fmla="*/ 154 w 545"/>
              <a:gd name="T21" fmla="*/ 477 h 549"/>
              <a:gd name="T22" fmla="*/ 169 w 545"/>
              <a:gd name="T23" fmla="*/ 454 h 549"/>
              <a:gd name="T24" fmla="*/ 183 w 545"/>
              <a:gd name="T25" fmla="*/ 445 h 549"/>
              <a:gd name="T26" fmla="*/ 201 w 545"/>
              <a:gd name="T27" fmla="*/ 444 h 549"/>
              <a:gd name="T28" fmla="*/ 222 w 545"/>
              <a:gd name="T29" fmla="*/ 448 h 549"/>
              <a:gd name="T30" fmla="*/ 252 w 545"/>
              <a:gd name="T31" fmla="*/ 461 h 549"/>
              <a:gd name="T32" fmla="*/ 272 w 545"/>
              <a:gd name="T33" fmla="*/ 468 h 549"/>
              <a:gd name="T34" fmla="*/ 297 w 545"/>
              <a:gd name="T35" fmla="*/ 469 h 549"/>
              <a:gd name="T36" fmla="*/ 319 w 545"/>
              <a:gd name="T37" fmla="*/ 464 h 549"/>
              <a:gd name="T38" fmla="*/ 332 w 545"/>
              <a:gd name="T39" fmla="*/ 453 h 549"/>
              <a:gd name="T40" fmla="*/ 359 w 545"/>
              <a:gd name="T41" fmla="*/ 388 h 549"/>
              <a:gd name="T42" fmla="*/ 382 w 545"/>
              <a:gd name="T43" fmla="*/ 363 h 549"/>
              <a:gd name="T44" fmla="*/ 447 w 545"/>
              <a:gd name="T45" fmla="*/ 314 h 549"/>
              <a:gd name="T46" fmla="*/ 527 w 545"/>
              <a:gd name="T47" fmla="*/ 264 h 549"/>
              <a:gd name="T48" fmla="*/ 528 w 545"/>
              <a:gd name="T49" fmla="*/ 232 h 549"/>
              <a:gd name="T50" fmla="*/ 503 w 545"/>
              <a:gd name="T51" fmla="*/ 218 h 549"/>
              <a:gd name="T52" fmla="*/ 485 w 545"/>
              <a:gd name="T53" fmla="*/ 199 h 549"/>
              <a:gd name="T54" fmla="*/ 460 w 545"/>
              <a:gd name="T55" fmla="*/ 157 h 549"/>
              <a:gd name="T56" fmla="*/ 440 w 545"/>
              <a:gd name="T57" fmla="*/ 132 h 549"/>
              <a:gd name="T58" fmla="*/ 377 w 545"/>
              <a:gd name="T59" fmla="*/ 76 h 549"/>
              <a:gd name="T60" fmla="*/ 359 w 545"/>
              <a:gd name="T61" fmla="*/ 53 h 549"/>
              <a:gd name="T62" fmla="*/ 348 w 545"/>
              <a:gd name="T63" fmla="*/ 24 h 549"/>
              <a:gd name="T64" fmla="*/ 319 w 545"/>
              <a:gd name="T65" fmla="*/ 0 h 549"/>
              <a:gd name="T66" fmla="*/ 244 w 545"/>
              <a:gd name="T67" fmla="*/ 2 h 549"/>
              <a:gd name="T68" fmla="*/ 176 w 545"/>
              <a:gd name="T69" fmla="*/ 13 h 549"/>
              <a:gd name="T70" fmla="*/ 95 w 545"/>
              <a:gd name="T71" fmla="*/ 22 h 549"/>
              <a:gd name="T72" fmla="*/ 71 w 545"/>
              <a:gd name="T73" fmla="*/ 27 h 549"/>
              <a:gd name="T74" fmla="*/ 67 w 545"/>
              <a:gd name="T75" fmla="*/ 38 h 549"/>
              <a:gd name="T76" fmla="*/ 73 w 545"/>
              <a:gd name="T77" fmla="*/ 56 h 549"/>
              <a:gd name="T78" fmla="*/ 84 w 545"/>
              <a:gd name="T79" fmla="*/ 74 h 549"/>
              <a:gd name="T80" fmla="*/ 86 w 545"/>
              <a:gd name="T81" fmla="*/ 107 h 549"/>
              <a:gd name="T82" fmla="*/ 74 w 545"/>
              <a:gd name="T83" fmla="*/ 171 h 549"/>
              <a:gd name="T84" fmla="*/ 62 w 545"/>
              <a:gd name="T85" fmla="*/ 237 h 549"/>
              <a:gd name="T86" fmla="*/ 47 w 545"/>
              <a:gd name="T87" fmla="*/ 263 h 549"/>
              <a:gd name="T88" fmla="*/ 26 w 545"/>
              <a:gd name="T89" fmla="*/ 277 h 549"/>
              <a:gd name="T90" fmla="*/ 5 w 545"/>
              <a:gd name="T91" fmla="*/ 307 h 549"/>
              <a:gd name="T92" fmla="*/ 1 w 545"/>
              <a:gd name="T93" fmla="*/ 339 h 549"/>
              <a:gd name="T94" fmla="*/ 8 w 545"/>
              <a:gd name="T95" fmla="*/ 367 h 549"/>
              <a:gd name="T96" fmla="*/ 8 w 545"/>
              <a:gd name="T97" fmla="*/ 391 h 549"/>
              <a:gd name="T98" fmla="*/ 0 w 545"/>
              <a:gd name="T99" fmla="*/ 40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chemeClr val="accent2"/>
          </a:solidFill>
          <a:ln w="9525" cmpd="sng">
            <a:solidFill>
              <a:srgbClr val="FFFFFF"/>
            </a:solidFill>
            <a:prstDash val="solid"/>
            <a:round/>
            <a:headEnd/>
            <a:tailEnd/>
          </a:ln>
        </p:spPr>
        <p:txBody>
          <a:bodyPr/>
          <a:lstStyle/>
          <a:p>
            <a:endParaRPr lang="en-GB" dirty="0"/>
          </a:p>
        </p:txBody>
      </p:sp>
      <p:sp>
        <p:nvSpPr>
          <p:cNvPr id="309" name="Freeform 253">
            <a:extLst>
              <a:ext uri="{FF2B5EF4-FFF2-40B4-BE49-F238E27FC236}">
                <a16:creationId xmlns="" xmlns:a16="http://schemas.microsoft.com/office/drawing/2014/main" id="{F2EC7635-D505-4D75-AD5E-0EF06C86BFF8}"/>
              </a:ext>
            </a:extLst>
          </p:cNvPr>
          <p:cNvSpPr>
            <a:spLocks/>
          </p:cNvSpPr>
          <p:nvPr>
            <p:custDataLst>
              <p:tags r:id="rId179"/>
            </p:custDataLst>
          </p:nvPr>
        </p:nvSpPr>
        <p:spPr bwMode="auto">
          <a:xfrm>
            <a:off x="5343534" y="4851855"/>
            <a:ext cx="239798" cy="449628"/>
          </a:xfrm>
          <a:custGeom>
            <a:avLst/>
            <a:gdLst>
              <a:gd name="T0" fmla="*/ 112 w 452"/>
              <a:gd name="T1" fmla="*/ 261 h 832"/>
              <a:gd name="T2" fmla="*/ 138 w 452"/>
              <a:gd name="T3" fmla="*/ 248 h 832"/>
              <a:gd name="T4" fmla="*/ 165 w 452"/>
              <a:gd name="T5" fmla="*/ 240 h 832"/>
              <a:gd name="T6" fmla="*/ 192 w 452"/>
              <a:gd name="T7" fmla="*/ 232 h 832"/>
              <a:gd name="T8" fmla="*/ 215 w 452"/>
              <a:gd name="T9" fmla="*/ 217 h 832"/>
              <a:gd name="T10" fmla="*/ 232 w 452"/>
              <a:gd name="T11" fmla="*/ 200 h 832"/>
              <a:gd name="T12" fmla="*/ 232 w 452"/>
              <a:gd name="T13" fmla="*/ 179 h 832"/>
              <a:gd name="T14" fmla="*/ 265 w 452"/>
              <a:gd name="T15" fmla="*/ 178 h 832"/>
              <a:gd name="T16" fmla="*/ 282 w 452"/>
              <a:gd name="T17" fmla="*/ 173 h 832"/>
              <a:gd name="T18" fmla="*/ 298 w 452"/>
              <a:gd name="T19" fmla="*/ 162 h 832"/>
              <a:gd name="T20" fmla="*/ 320 w 452"/>
              <a:gd name="T21" fmla="*/ 133 h 832"/>
              <a:gd name="T22" fmla="*/ 350 w 452"/>
              <a:gd name="T23" fmla="*/ 75 h 832"/>
              <a:gd name="T24" fmla="*/ 378 w 452"/>
              <a:gd name="T25" fmla="*/ 0 h 832"/>
              <a:gd name="T26" fmla="*/ 385 w 452"/>
              <a:gd name="T27" fmla="*/ 19 h 832"/>
              <a:gd name="T28" fmla="*/ 407 w 452"/>
              <a:gd name="T29" fmla="*/ 47 h 832"/>
              <a:gd name="T30" fmla="*/ 448 w 452"/>
              <a:gd name="T31" fmla="*/ 85 h 832"/>
              <a:gd name="T32" fmla="*/ 440 w 452"/>
              <a:gd name="T33" fmla="*/ 103 h 832"/>
              <a:gd name="T34" fmla="*/ 444 w 452"/>
              <a:gd name="T35" fmla="*/ 138 h 832"/>
              <a:gd name="T36" fmla="*/ 452 w 452"/>
              <a:gd name="T37" fmla="*/ 185 h 832"/>
              <a:gd name="T38" fmla="*/ 448 w 452"/>
              <a:gd name="T39" fmla="*/ 206 h 832"/>
              <a:gd name="T40" fmla="*/ 428 w 452"/>
              <a:gd name="T41" fmla="*/ 234 h 832"/>
              <a:gd name="T42" fmla="*/ 409 w 452"/>
              <a:gd name="T43" fmla="*/ 261 h 832"/>
              <a:gd name="T44" fmla="*/ 405 w 452"/>
              <a:gd name="T45" fmla="*/ 283 h 832"/>
              <a:gd name="T46" fmla="*/ 393 w 452"/>
              <a:gd name="T47" fmla="*/ 308 h 832"/>
              <a:gd name="T48" fmla="*/ 383 w 452"/>
              <a:gd name="T49" fmla="*/ 318 h 832"/>
              <a:gd name="T50" fmla="*/ 377 w 452"/>
              <a:gd name="T51" fmla="*/ 332 h 832"/>
              <a:gd name="T52" fmla="*/ 368 w 452"/>
              <a:gd name="T53" fmla="*/ 364 h 832"/>
              <a:gd name="T54" fmla="*/ 338 w 452"/>
              <a:gd name="T55" fmla="*/ 427 h 832"/>
              <a:gd name="T56" fmla="*/ 321 w 452"/>
              <a:gd name="T57" fmla="*/ 470 h 832"/>
              <a:gd name="T58" fmla="*/ 318 w 452"/>
              <a:gd name="T59" fmla="*/ 500 h 832"/>
              <a:gd name="T60" fmla="*/ 310 w 452"/>
              <a:gd name="T61" fmla="*/ 531 h 832"/>
              <a:gd name="T62" fmla="*/ 281 w 452"/>
              <a:gd name="T63" fmla="*/ 602 h 832"/>
              <a:gd name="T64" fmla="*/ 260 w 452"/>
              <a:gd name="T65" fmla="*/ 637 h 832"/>
              <a:gd name="T66" fmla="*/ 242 w 452"/>
              <a:gd name="T67" fmla="*/ 655 h 832"/>
              <a:gd name="T68" fmla="*/ 232 w 452"/>
              <a:gd name="T69" fmla="*/ 660 h 832"/>
              <a:gd name="T70" fmla="*/ 228 w 452"/>
              <a:gd name="T71" fmla="*/ 714 h 832"/>
              <a:gd name="T72" fmla="*/ 215 w 452"/>
              <a:gd name="T73" fmla="*/ 759 h 832"/>
              <a:gd name="T74" fmla="*/ 191 w 452"/>
              <a:gd name="T75" fmla="*/ 795 h 832"/>
              <a:gd name="T76" fmla="*/ 157 w 452"/>
              <a:gd name="T77" fmla="*/ 819 h 832"/>
              <a:gd name="T78" fmla="*/ 110 w 452"/>
              <a:gd name="T79" fmla="*/ 831 h 832"/>
              <a:gd name="T80" fmla="*/ 80 w 452"/>
              <a:gd name="T81" fmla="*/ 827 h 832"/>
              <a:gd name="T82" fmla="*/ 73 w 452"/>
              <a:gd name="T83" fmla="*/ 817 h 832"/>
              <a:gd name="T84" fmla="*/ 50 w 452"/>
              <a:gd name="T85" fmla="*/ 810 h 832"/>
              <a:gd name="T86" fmla="*/ 26 w 452"/>
              <a:gd name="T87" fmla="*/ 798 h 832"/>
              <a:gd name="T88" fmla="*/ 12 w 452"/>
              <a:gd name="T89" fmla="*/ 777 h 832"/>
              <a:gd name="T90" fmla="*/ 3 w 452"/>
              <a:gd name="T91" fmla="*/ 752 h 832"/>
              <a:gd name="T92" fmla="*/ 0 w 452"/>
              <a:gd name="T93" fmla="*/ 708 h 832"/>
              <a:gd name="T94" fmla="*/ 4 w 452"/>
              <a:gd name="T95" fmla="*/ 694 h 832"/>
              <a:gd name="T96" fmla="*/ 19 w 452"/>
              <a:gd name="T97" fmla="*/ 678 h 832"/>
              <a:gd name="T98" fmla="*/ 11 w 452"/>
              <a:gd name="T99" fmla="*/ 672 h 832"/>
              <a:gd name="T100" fmla="*/ 0 w 452"/>
              <a:gd name="T101" fmla="*/ 652 h 832"/>
              <a:gd name="T102" fmla="*/ 5 w 452"/>
              <a:gd name="T103" fmla="*/ 628 h 832"/>
              <a:gd name="T104" fmla="*/ 8 w 452"/>
              <a:gd name="T105" fmla="*/ 610 h 832"/>
              <a:gd name="T106" fmla="*/ 5 w 452"/>
              <a:gd name="T107" fmla="*/ 591 h 832"/>
              <a:gd name="T108" fmla="*/ 18 w 452"/>
              <a:gd name="T109" fmla="*/ 587 h 832"/>
              <a:gd name="T110" fmla="*/ 43 w 452"/>
              <a:gd name="T111" fmla="*/ 568 h 832"/>
              <a:gd name="T112" fmla="*/ 63 w 452"/>
              <a:gd name="T113" fmla="*/ 538 h 832"/>
              <a:gd name="T114" fmla="*/ 76 w 452"/>
              <a:gd name="T115" fmla="*/ 506 h 832"/>
              <a:gd name="T116" fmla="*/ 86 w 452"/>
              <a:gd name="T117" fmla="*/ 462 h 832"/>
              <a:gd name="T118" fmla="*/ 83 w 452"/>
              <a:gd name="T119" fmla="*/ 438 h 832"/>
              <a:gd name="T120" fmla="*/ 70 w 452"/>
              <a:gd name="T121" fmla="*/ 408 h 832"/>
              <a:gd name="T122" fmla="*/ 56 w 452"/>
              <a:gd name="T123" fmla="*/ 382 h 832"/>
              <a:gd name="T124" fmla="*/ 53 w 452"/>
              <a:gd name="T125" fmla="*/ 363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chemeClr val="accent2"/>
          </a:solidFill>
          <a:ln w="9525" cmpd="sng">
            <a:solidFill>
              <a:srgbClr val="FFFFFF"/>
            </a:solidFill>
            <a:prstDash val="solid"/>
            <a:round/>
            <a:headEnd/>
            <a:tailEnd/>
          </a:ln>
        </p:spPr>
        <p:txBody>
          <a:bodyPr/>
          <a:lstStyle/>
          <a:p>
            <a:endParaRPr lang="en-GB" dirty="0"/>
          </a:p>
        </p:txBody>
      </p:sp>
      <p:sp>
        <p:nvSpPr>
          <p:cNvPr id="310" name="Freeform 254">
            <a:extLst>
              <a:ext uri="{FF2B5EF4-FFF2-40B4-BE49-F238E27FC236}">
                <a16:creationId xmlns="" xmlns:a16="http://schemas.microsoft.com/office/drawing/2014/main" id="{05B52DF8-C43C-43DF-971B-8051708ACCFA}"/>
              </a:ext>
            </a:extLst>
          </p:cNvPr>
          <p:cNvSpPr>
            <a:spLocks/>
          </p:cNvSpPr>
          <p:nvPr>
            <p:custDataLst>
              <p:tags r:id="rId180"/>
            </p:custDataLst>
          </p:nvPr>
        </p:nvSpPr>
        <p:spPr bwMode="auto">
          <a:xfrm>
            <a:off x="4949028" y="4540070"/>
            <a:ext cx="44480" cy="68921"/>
          </a:xfrm>
          <a:custGeom>
            <a:avLst/>
            <a:gdLst>
              <a:gd name="T0" fmla="*/ 80 w 80"/>
              <a:gd name="T1" fmla="*/ 2 h 126"/>
              <a:gd name="T2" fmla="*/ 80 w 80"/>
              <a:gd name="T3" fmla="*/ 101 h 126"/>
              <a:gd name="T4" fmla="*/ 78 w 80"/>
              <a:gd name="T5" fmla="*/ 104 h 126"/>
              <a:gd name="T6" fmla="*/ 75 w 80"/>
              <a:gd name="T7" fmla="*/ 107 h 126"/>
              <a:gd name="T8" fmla="*/ 70 w 80"/>
              <a:gd name="T9" fmla="*/ 109 h 126"/>
              <a:gd name="T10" fmla="*/ 67 w 80"/>
              <a:gd name="T11" fmla="*/ 111 h 126"/>
              <a:gd name="T12" fmla="*/ 58 w 80"/>
              <a:gd name="T13" fmla="*/ 114 h 126"/>
              <a:gd name="T14" fmla="*/ 48 w 80"/>
              <a:gd name="T15" fmla="*/ 116 h 126"/>
              <a:gd name="T16" fmla="*/ 36 w 80"/>
              <a:gd name="T17" fmla="*/ 117 h 126"/>
              <a:gd name="T18" fmla="*/ 25 w 80"/>
              <a:gd name="T19" fmla="*/ 119 h 126"/>
              <a:gd name="T20" fmla="*/ 13 w 80"/>
              <a:gd name="T21" fmla="*/ 123 h 126"/>
              <a:gd name="T22" fmla="*/ 0 w 80"/>
              <a:gd name="T23" fmla="*/ 126 h 126"/>
              <a:gd name="T24" fmla="*/ 7 w 80"/>
              <a:gd name="T25" fmla="*/ 40 h 126"/>
              <a:gd name="T26" fmla="*/ 23 w 80"/>
              <a:gd name="T27" fmla="*/ 27 h 126"/>
              <a:gd name="T28" fmla="*/ 41 w 80"/>
              <a:gd name="T29" fmla="*/ 12 h 126"/>
              <a:gd name="T30" fmla="*/ 51 w 80"/>
              <a:gd name="T31" fmla="*/ 5 h 126"/>
              <a:gd name="T32" fmla="*/ 60 w 80"/>
              <a:gd name="T33" fmla="*/ 1 h 126"/>
              <a:gd name="T34" fmla="*/ 65 w 80"/>
              <a:gd name="T35" fmla="*/ 0 h 126"/>
              <a:gd name="T36" fmla="*/ 70 w 80"/>
              <a:gd name="T37" fmla="*/ 0 h 126"/>
              <a:gd name="T38" fmla="*/ 75 w 80"/>
              <a:gd name="T39" fmla="*/ 1 h 126"/>
              <a:gd name="T40" fmla="*/ 80 w 80"/>
              <a:gd name="T41"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11" name="Freeform 255">
            <a:extLst>
              <a:ext uri="{FF2B5EF4-FFF2-40B4-BE49-F238E27FC236}">
                <a16:creationId xmlns="" xmlns:a16="http://schemas.microsoft.com/office/drawing/2014/main" id="{F70C5D36-CF4B-41D6-946E-8865A0582FE9}"/>
              </a:ext>
            </a:extLst>
          </p:cNvPr>
          <p:cNvSpPr>
            <a:spLocks/>
          </p:cNvSpPr>
          <p:nvPr>
            <p:custDataLst>
              <p:tags r:id="rId181"/>
            </p:custDataLst>
          </p:nvPr>
        </p:nvSpPr>
        <p:spPr bwMode="auto">
          <a:xfrm>
            <a:off x="4935492" y="4499044"/>
            <a:ext cx="67684" cy="62357"/>
          </a:xfrm>
          <a:custGeom>
            <a:avLst/>
            <a:gdLst>
              <a:gd name="T0" fmla="*/ 113 w 124"/>
              <a:gd name="T1" fmla="*/ 0 h 117"/>
              <a:gd name="T2" fmla="*/ 116 w 124"/>
              <a:gd name="T3" fmla="*/ 15 h 117"/>
              <a:gd name="T4" fmla="*/ 122 w 124"/>
              <a:gd name="T5" fmla="*/ 35 h 117"/>
              <a:gd name="T6" fmla="*/ 124 w 124"/>
              <a:gd name="T7" fmla="*/ 45 h 117"/>
              <a:gd name="T8" fmla="*/ 124 w 124"/>
              <a:gd name="T9" fmla="*/ 54 h 117"/>
              <a:gd name="T10" fmla="*/ 124 w 124"/>
              <a:gd name="T11" fmla="*/ 59 h 117"/>
              <a:gd name="T12" fmla="*/ 123 w 124"/>
              <a:gd name="T13" fmla="*/ 64 h 117"/>
              <a:gd name="T14" fmla="*/ 122 w 124"/>
              <a:gd name="T15" fmla="*/ 69 h 117"/>
              <a:gd name="T16" fmla="*/ 119 w 124"/>
              <a:gd name="T17" fmla="*/ 73 h 117"/>
              <a:gd name="T18" fmla="*/ 114 w 124"/>
              <a:gd name="T19" fmla="*/ 72 h 117"/>
              <a:gd name="T20" fmla="*/ 108 w 124"/>
              <a:gd name="T21" fmla="*/ 71 h 117"/>
              <a:gd name="T22" fmla="*/ 103 w 124"/>
              <a:gd name="T23" fmla="*/ 72 h 117"/>
              <a:gd name="T24" fmla="*/ 96 w 124"/>
              <a:gd name="T25" fmla="*/ 73 h 117"/>
              <a:gd name="T26" fmla="*/ 83 w 124"/>
              <a:gd name="T27" fmla="*/ 78 h 117"/>
              <a:gd name="T28" fmla="*/ 71 w 124"/>
              <a:gd name="T29" fmla="*/ 85 h 117"/>
              <a:gd name="T30" fmla="*/ 46 w 124"/>
              <a:gd name="T31" fmla="*/ 103 h 117"/>
              <a:gd name="T32" fmla="*/ 26 w 124"/>
              <a:gd name="T33" fmla="*/ 117 h 117"/>
              <a:gd name="T34" fmla="*/ 23 w 124"/>
              <a:gd name="T35" fmla="*/ 112 h 117"/>
              <a:gd name="T36" fmla="*/ 13 w 124"/>
              <a:gd name="T37" fmla="*/ 101 h 117"/>
              <a:gd name="T38" fmla="*/ 4 w 124"/>
              <a:gd name="T39" fmla="*/ 89 h 117"/>
              <a:gd name="T40" fmla="*/ 0 w 124"/>
              <a:gd name="T41" fmla="*/ 79 h 117"/>
              <a:gd name="T42" fmla="*/ 1 w 124"/>
              <a:gd name="T43" fmla="*/ 76 h 117"/>
              <a:gd name="T44" fmla="*/ 2 w 124"/>
              <a:gd name="T45" fmla="*/ 72 h 117"/>
              <a:gd name="T46" fmla="*/ 5 w 124"/>
              <a:gd name="T47" fmla="*/ 67 h 117"/>
              <a:gd name="T48" fmla="*/ 9 w 124"/>
              <a:gd name="T49" fmla="*/ 62 h 117"/>
              <a:gd name="T50" fmla="*/ 17 w 124"/>
              <a:gd name="T51" fmla="*/ 52 h 117"/>
              <a:gd name="T52" fmla="*/ 27 w 124"/>
              <a:gd name="T53" fmla="*/ 42 h 117"/>
              <a:gd name="T54" fmla="*/ 48 w 124"/>
              <a:gd name="T55" fmla="*/ 22 h 117"/>
              <a:gd name="T56" fmla="*/ 60 w 124"/>
              <a:gd name="T57" fmla="*/ 12 h 117"/>
              <a:gd name="T58" fmla="*/ 73 w 124"/>
              <a:gd name="T59" fmla="*/ 12 h 117"/>
              <a:gd name="T60" fmla="*/ 86 w 124"/>
              <a:gd name="T61" fmla="*/ 12 h 117"/>
              <a:gd name="T62" fmla="*/ 100 w 124"/>
              <a:gd name="T63" fmla="*/ 6 h 117"/>
              <a:gd name="T64" fmla="*/ 113 w 124"/>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12" name="Freeform 256">
            <a:extLst>
              <a:ext uri="{FF2B5EF4-FFF2-40B4-BE49-F238E27FC236}">
                <a16:creationId xmlns="" xmlns:a16="http://schemas.microsoft.com/office/drawing/2014/main" id="{004DEC81-C8F0-4EA9-95A1-CABE131D6DAD}"/>
              </a:ext>
            </a:extLst>
          </p:cNvPr>
          <p:cNvSpPr>
            <a:spLocks/>
          </p:cNvSpPr>
          <p:nvPr>
            <p:custDataLst>
              <p:tags r:id="rId182"/>
            </p:custDataLst>
          </p:nvPr>
        </p:nvSpPr>
        <p:spPr bwMode="auto">
          <a:xfrm>
            <a:off x="5312593" y="3155086"/>
            <a:ext cx="613032" cy="489011"/>
          </a:xfrm>
          <a:custGeom>
            <a:avLst/>
            <a:gdLst>
              <a:gd name="T0" fmla="*/ 928 w 1156"/>
              <a:gd name="T1" fmla="*/ 191 h 900"/>
              <a:gd name="T2" fmla="*/ 859 w 1156"/>
              <a:gd name="T3" fmla="*/ 162 h 900"/>
              <a:gd name="T4" fmla="*/ 773 w 1156"/>
              <a:gd name="T5" fmla="*/ 111 h 900"/>
              <a:gd name="T6" fmla="*/ 617 w 1156"/>
              <a:gd name="T7" fmla="*/ 104 h 900"/>
              <a:gd name="T8" fmla="*/ 551 w 1156"/>
              <a:gd name="T9" fmla="*/ 154 h 900"/>
              <a:gd name="T10" fmla="*/ 504 w 1156"/>
              <a:gd name="T11" fmla="*/ 179 h 900"/>
              <a:gd name="T12" fmla="*/ 426 w 1156"/>
              <a:gd name="T13" fmla="*/ 197 h 900"/>
              <a:gd name="T14" fmla="*/ 383 w 1156"/>
              <a:gd name="T15" fmla="*/ 199 h 900"/>
              <a:gd name="T16" fmla="*/ 355 w 1156"/>
              <a:gd name="T17" fmla="*/ 173 h 900"/>
              <a:gd name="T18" fmla="*/ 260 w 1156"/>
              <a:gd name="T19" fmla="*/ 136 h 900"/>
              <a:gd name="T20" fmla="*/ 228 w 1156"/>
              <a:gd name="T21" fmla="*/ 86 h 900"/>
              <a:gd name="T22" fmla="*/ 220 w 1156"/>
              <a:gd name="T23" fmla="*/ 23 h 900"/>
              <a:gd name="T24" fmla="*/ 188 w 1156"/>
              <a:gd name="T25" fmla="*/ 1 h 900"/>
              <a:gd name="T26" fmla="*/ 155 w 1156"/>
              <a:gd name="T27" fmla="*/ 21 h 900"/>
              <a:gd name="T28" fmla="*/ 136 w 1156"/>
              <a:gd name="T29" fmla="*/ 67 h 900"/>
              <a:gd name="T30" fmla="*/ 79 w 1156"/>
              <a:gd name="T31" fmla="*/ 54 h 900"/>
              <a:gd name="T32" fmla="*/ 4 w 1156"/>
              <a:gd name="T33" fmla="*/ 16 h 900"/>
              <a:gd name="T34" fmla="*/ 5 w 1156"/>
              <a:gd name="T35" fmla="*/ 72 h 900"/>
              <a:gd name="T36" fmla="*/ 45 w 1156"/>
              <a:gd name="T37" fmla="*/ 146 h 900"/>
              <a:gd name="T38" fmla="*/ 73 w 1156"/>
              <a:gd name="T39" fmla="*/ 205 h 900"/>
              <a:gd name="T40" fmla="*/ 135 w 1156"/>
              <a:gd name="T41" fmla="*/ 284 h 900"/>
              <a:gd name="T42" fmla="*/ 122 w 1156"/>
              <a:gd name="T43" fmla="*/ 316 h 900"/>
              <a:gd name="T44" fmla="*/ 133 w 1156"/>
              <a:gd name="T45" fmla="*/ 370 h 900"/>
              <a:gd name="T46" fmla="*/ 188 w 1156"/>
              <a:gd name="T47" fmla="*/ 428 h 900"/>
              <a:gd name="T48" fmla="*/ 259 w 1156"/>
              <a:gd name="T49" fmla="*/ 456 h 900"/>
              <a:gd name="T50" fmla="*/ 259 w 1156"/>
              <a:gd name="T51" fmla="*/ 524 h 900"/>
              <a:gd name="T52" fmla="*/ 335 w 1156"/>
              <a:gd name="T53" fmla="*/ 581 h 900"/>
              <a:gd name="T54" fmla="*/ 423 w 1156"/>
              <a:gd name="T55" fmla="*/ 664 h 900"/>
              <a:gd name="T56" fmla="*/ 471 w 1156"/>
              <a:gd name="T57" fmla="*/ 720 h 900"/>
              <a:gd name="T58" fmla="*/ 504 w 1156"/>
              <a:gd name="T59" fmla="*/ 733 h 900"/>
              <a:gd name="T60" fmla="*/ 542 w 1156"/>
              <a:gd name="T61" fmla="*/ 755 h 900"/>
              <a:gd name="T62" fmla="*/ 598 w 1156"/>
              <a:gd name="T63" fmla="*/ 787 h 900"/>
              <a:gd name="T64" fmla="*/ 685 w 1156"/>
              <a:gd name="T65" fmla="*/ 795 h 900"/>
              <a:gd name="T66" fmla="*/ 732 w 1156"/>
              <a:gd name="T67" fmla="*/ 780 h 900"/>
              <a:gd name="T68" fmla="*/ 779 w 1156"/>
              <a:gd name="T69" fmla="*/ 764 h 900"/>
              <a:gd name="T70" fmla="*/ 801 w 1156"/>
              <a:gd name="T71" fmla="*/ 796 h 900"/>
              <a:gd name="T72" fmla="*/ 813 w 1156"/>
              <a:gd name="T73" fmla="*/ 857 h 900"/>
              <a:gd name="T74" fmla="*/ 874 w 1156"/>
              <a:gd name="T75" fmla="*/ 874 h 900"/>
              <a:gd name="T76" fmla="*/ 1011 w 1156"/>
              <a:gd name="T77" fmla="*/ 892 h 900"/>
              <a:gd name="T78" fmla="*/ 1091 w 1156"/>
              <a:gd name="T79" fmla="*/ 879 h 900"/>
              <a:gd name="T80" fmla="*/ 1099 w 1156"/>
              <a:gd name="T81" fmla="*/ 831 h 900"/>
              <a:gd name="T82" fmla="*/ 1156 w 1156"/>
              <a:gd name="T83" fmla="*/ 770 h 900"/>
              <a:gd name="T84" fmla="*/ 1132 w 1156"/>
              <a:gd name="T85" fmla="*/ 750 h 900"/>
              <a:gd name="T86" fmla="*/ 1096 w 1156"/>
              <a:gd name="T87" fmla="*/ 708 h 900"/>
              <a:gd name="T88" fmla="*/ 1031 w 1156"/>
              <a:gd name="T89" fmla="*/ 643 h 900"/>
              <a:gd name="T90" fmla="*/ 1018 w 1156"/>
              <a:gd name="T91" fmla="*/ 603 h 900"/>
              <a:gd name="T92" fmla="*/ 1044 w 1156"/>
              <a:gd name="T93" fmla="*/ 559 h 900"/>
              <a:gd name="T94" fmla="*/ 1048 w 1156"/>
              <a:gd name="T95" fmla="*/ 526 h 900"/>
              <a:gd name="T96" fmla="*/ 1030 w 1156"/>
              <a:gd name="T97" fmla="*/ 512 h 900"/>
              <a:gd name="T98" fmla="*/ 983 w 1156"/>
              <a:gd name="T99" fmla="*/ 507 h 900"/>
              <a:gd name="T100" fmla="*/ 954 w 1156"/>
              <a:gd name="T101" fmla="*/ 453 h 900"/>
              <a:gd name="T102" fmla="*/ 937 w 1156"/>
              <a:gd name="T103" fmla="*/ 373 h 900"/>
              <a:gd name="T104" fmla="*/ 924 w 1156"/>
              <a:gd name="T105" fmla="*/ 357 h 900"/>
              <a:gd name="T106" fmla="*/ 940 w 1156"/>
              <a:gd name="T107" fmla="*/ 334 h 900"/>
              <a:gd name="T108" fmla="*/ 960 w 1156"/>
              <a:gd name="T109" fmla="*/ 293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13" name="Freeform 257">
            <a:extLst>
              <a:ext uri="{FF2B5EF4-FFF2-40B4-BE49-F238E27FC236}">
                <a16:creationId xmlns="" xmlns:a16="http://schemas.microsoft.com/office/drawing/2014/main" id="{2803B95F-EC46-4893-AEEB-FD66704C41EB}"/>
              </a:ext>
            </a:extLst>
          </p:cNvPr>
          <p:cNvSpPr>
            <a:spLocks/>
          </p:cNvSpPr>
          <p:nvPr>
            <p:custDataLst>
              <p:tags r:id="rId183"/>
            </p:custDataLst>
          </p:nvPr>
        </p:nvSpPr>
        <p:spPr bwMode="auto">
          <a:xfrm>
            <a:off x="5341601" y="3834450"/>
            <a:ext cx="301681" cy="236300"/>
          </a:xfrm>
          <a:custGeom>
            <a:avLst/>
            <a:gdLst>
              <a:gd name="T0" fmla="*/ 26 w 571"/>
              <a:gd name="T1" fmla="*/ 190 h 443"/>
              <a:gd name="T2" fmla="*/ 37 w 571"/>
              <a:gd name="T3" fmla="*/ 177 h 443"/>
              <a:gd name="T4" fmla="*/ 41 w 571"/>
              <a:gd name="T5" fmla="*/ 164 h 443"/>
              <a:gd name="T6" fmla="*/ 39 w 571"/>
              <a:gd name="T7" fmla="*/ 129 h 443"/>
              <a:gd name="T8" fmla="*/ 44 w 571"/>
              <a:gd name="T9" fmla="*/ 120 h 443"/>
              <a:gd name="T10" fmla="*/ 55 w 571"/>
              <a:gd name="T11" fmla="*/ 112 h 443"/>
              <a:gd name="T12" fmla="*/ 68 w 571"/>
              <a:gd name="T13" fmla="*/ 107 h 443"/>
              <a:gd name="T14" fmla="*/ 80 w 571"/>
              <a:gd name="T15" fmla="*/ 104 h 443"/>
              <a:gd name="T16" fmla="*/ 103 w 571"/>
              <a:gd name="T17" fmla="*/ 106 h 443"/>
              <a:gd name="T18" fmla="*/ 124 w 571"/>
              <a:gd name="T19" fmla="*/ 109 h 443"/>
              <a:gd name="T20" fmla="*/ 158 w 571"/>
              <a:gd name="T21" fmla="*/ 120 h 443"/>
              <a:gd name="T22" fmla="*/ 184 w 571"/>
              <a:gd name="T23" fmla="*/ 135 h 443"/>
              <a:gd name="T24" fmla="*/ 206 w 571"/>
              <a:gd name="T25" fmla="*/ 154 h 443"/>
              <a:gd name="T26" fmla="*/ 254 w 571"/>
              <a:gd name="T27" fmla="*/ 92 h 443"/>
              <a:gd name="T28" fmla="*/ 285 w 571"/>
              <a:gd name="T29" fmla="*/ 49 h 443"/>
              <a:gd name="T30" fmla="*/ 538 w 571"/>
              <a:gd name="T31" fmla="*/ 43 h 443"/>
              <a:gd name="T32" fmla="*/ 557 w 571"/>
              <a:gd name="T33" fmla="*/ 78 h 443"/>
              <a:gd name="T34" fmla="*/ 562 w 571"/>
              <a:gd name="T35" fmla="*/ 98 h 443"/>
              <a:gd name="T36" fmla="*/ 564 w 571"/>
              <a:gd name="T37" fmla="*/ 123 h 443"/>
              <a:gd name="T38" fmla="*/ 568 w 571"/>
              <a:gd name="T39" fmla="*/ 151 h 443"/>
              <a:gd name="T40" fmla="*/ 571 w 571"/>
              <a:gd name="T41" fmla="*/ 178 h 443"/>
              <a:gd name="T42" fmla="*/ 564 w 571"/>
              <a:gd name="T43" fmla="*/ 180 h 443"/>
              <a:gd name="T44" fmla="*/ 562 w 571"/>
              <a:gd name="T45" fmla="*/ 179 h 443"/>
              <a:gd name="T46" fmla="*/ 558 w 571"/>
              <a:gd name="T47" fmla="*/ 184 h 443"/>
              <a:gd name="T48" fmla="*/ 548 w 571"/>
              <a:gd name="T49" fmla="*/ 207 h 443"/>
              <a:gd name="T50" fmla="*/ 534 w 571"/>
              <a:gd name="T51" fmla="*/ 225 h 443"/>
              <a:gd name="T52" fmla="*/ 515 w 571"/>
              <a:gd name="T53" fmla="*/ 239 h 443"/>
              <a:gd name="T54" fmla="*/ 494 w 571"/>
              <a:gd name="T55" fmla="*/ 249 h 443"/>
              <a:gd name="T56" fmla="*/ 405 w 571"/>
              <a:gd name="T57" fmla="*/ 283 h 443"/>
              <a:gd name="T58" fmla="*/ 347 w 571"/>
              <a:gd name="T59" fmla="*/ 307 h 443"/>
              <a:gd name="T60" fmla="*/ 295 w 571"/>
              <a:gd name="T61" fmla="*/ 328 h 443"/>
              <a:gd name="T62" fmla="*/ 245 w 571"/>
              <a:gd name="T63" fmla="*/ 345 h 443"/>
              <a:gd name="T64" fmla="*/ 186 w 571"/>
              <a:gd name="T65" fmla="*/ 363 h 443"/>
              <a:gd name="T66" fmla="*/ 167 w 571"/>
              <a:gd name="T67" fmla="*/ 371 h 443"/>
              <a:gd name="T68" fmla="*/ 149 w 571"/>
              <a:gd name="T69" fmla="*/ 381 h 443"/>
              <a:gd name="T70" fmla="*/ 119 w 571"/>
              <a:gd name="T71" fmla="*/ 403 h 443"/>
              <a:gd name="T72" fmla="*/ 92 w 571"/>
              <a:gd name="T73" fmla="*/ 426 h 443"/>
              <a:gd name="T74" fmla="*/ 67 w 571"/>
              <a:gd name="T75" fmla="*/ 443 h 443"/>
              <a:gd name="T76" fmla="*/ 50 w 571"/>
              <a:gd name="T77" fmla="*/ 378 h 443"/>
              <a:gd name="T78" fmla="*/ 33 w 571"/>
              <a:gd name="T79" fmla="*/ 313 h 443"/>
              <a:gd name="T80" fmla="*/ 16 w 571"/>
              <a:gd name="T81" fmla="*/ 251 h 443"/>
              <a:gd name="T82" fmla="*/ 0 w 571"/>
              <a:gd name="T83" fmla="*/ 19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14" name="Freeform 258">
            <a:extLst>
              <a:ext uri="{FF2B5EF4-FFF2-40B4-BE49-F238E27FC236}">
                <a16:creationId xmlns="" xmlns:a16="http://schemas.microsoft.com/office/drawing/2014/main" id="{D0B80079-7C10-4CD5-9641-A3F5D55702DA}"/>
              </a:ext>
            </a:extLst>
          </p:cNvPr>
          <p:cNvSpPr>
            <a:spLocks/>
          </p:cNvSpPr>
          <p:nvPr>
            <p:custDataLst>
              <p:tags r:id="rId184"/>
            </p:custDataLst>
          </p:nvPr>
        </p:nvSpPr>
        <p:spPr bwMode="auto">
          <a:xfrm>
            <a:off x="5579464" y="3601431"/>
            <a:ext cx="146973" cy="124714"/>
          </a:xfrm>
          <a:custGeom>
            <a:avLst/>
            <a:gdLst>
              <a:gd name="T0" fmla="*/ 0 w 286"/>
              <a:gd name="T1" fmla="*/ 111 h 228"/>
              <a:gd name="T2" fmla="*/ 4 w 286"/>
              <a:gd name="T3" fmla="*/ 109 h 228"/>
              <a:gd name="T4" fmla="*/ 7 w 286"/>
              <a:gd name="T5" fmla="*/ 109 h 228"/>
              <a:gd name="T6" fmla="*/ 10 w 286"/>
              <a:gd name="T7" fmla="*/ 110 h 228"/>
              <a:gd name="T8" fmla="*/ 11 w 286"/>
              <a:gd name="T9" fmla="*/ 111 h 228"/>
              <a:gd name="T10" fmla="*/ 12 w 286"/>
              <a:gd name="T11" fmla="*/ 117 h 228"/>
              <a:gd name="T12" fmla="*/ 13 w 286"/>
              <a:gd name="T13" fmla="*/ 123 h 228"/>
              <a:gd name="T14" fmla="*/ 14 w 286"/>
              <a:gd name="T15" fmla="*/ 128 h 228"/>
              <a:gd name="T16" fmla="*/ 16 w 286"/>
              <a:gd name="T17" fmla="*/ 131 h 228"/>
              <a:gd name="T18" fmla="*/ 19 w 286"/>
              <a:gd name="T19" fmla="*/ 134 h 228"/>
              <a:gd name="T20" fmla="*/ 24 w 286"/>
              <a:gd name="T21" fmla="*/ 136 h 228"/>
              <a:gd name="T22" fmla="*/ 29 w 286"/>
              <a:gd name="T23" fmla="*/ 137 h 228"/>
              <a:gd name="T24" fmla="*/ 37 w 286"/>
              <a:gd name="T25" fmla="*/ 138 h 228"/>
              <a:gd name="T26" fmla="*/ 48 w 286"/>
              <a:gd name="T27" fmla="*/ 138 h 228"/>
              <a:gd name="T28" fmla="*/ 60 w 286"/>
              <a:gd name="T29" fmla="*/ 136 h 228"/>
              <a:gd name="T30" fmla="*/ 98 w 286"/>
              <a:gd name="T31" fmla="*/ 130 h 228"/>
              <a:gd name="T32" fmla="*/ 129 w 286"/>
              <a:gd name="T33" fmla="*/ 122 h 228"/>
              <a:gd name="T34" fmla="*/ 143 w 286"/>
              <a:gd name="T35" fmla="*/ 118 h 228"/>
              <a:gd name="T36" fmla="*/ 156 w 286"/>
              <a:gd name="T37" fmla="*/ 114 h 228"/>
              <a:gd name="T38" fmla="*/ 167 w 286"/>
              <a:gd name="T39" fmla="*/ 109 h 228"/>
              <a:gd name="T40" fmla="*/ 178 w 286"/>
              <a:gd name="T41" fmla="*/ 103 h 228"/>
              <a:gd name="T42" fmla="*/ 188 w 286"/>
              <a:gd name="T43" fmla="*/ 96 h 228"/>
              <a:gd name="T44" fmla="*/ 198 w 286"/>
              <a:gd name="T45" fmla="*/ 87 h 228"/>
              <a:gd name="T46" fmla="*/ 208 w 286"/>
              <a:gd name="T47" fmla="*/ 78 h 228"/>
              <a:gd name="T48" fmla="*/ 219 w 286"/>
              <a:gd name="T49" fmla="*/ 65 h 228"/>
              <a:gd name="T50" fmla="*/ 229 w 286"/>
              <a:gd name="T51" fmla="*/ 52 h 228"/>
              <a:gd name="T52" fmla="*/ 241 w 286"/>
              <a:gd name="T53" fmla="*/ 37 h 228"/>
              <a:gd name="T54" fmla="*/ 253 w 286"/>
              <a:gd name="T55" fmla="*/ 20 h 228"/>
              <a:gd name="T56" fmla="*/ 266 w 286"/>
              <a:gd name="T57" fmla="*/ 0 h 228"/>
              <a:gd name="T58" fmla="*/ 270 w 286"/>
              <a:gd name="T59" fmla="*/ 7 h 228"/>
              <a:gd name="T60" fmla="*/ 274 w 286"/>
              <a:gd name="T61" fmla="*/ 13 h 228"/>
              <a:gd name="T62" fmla="*/ 276 w 286"/>
              <a:gd name="T63" fmla="*/ 20 h 228"/>
              <a:gd name="T64" fmla="*/ 279 w 286"/>
              <a:gd name="T65" fmla="*/ 27 h 228"/>
              <a:gd name="T66" fmla="*/ 282 w 286"/>
              <a:gd name="T67" fmla="*/ 42 h 228"/>
              <a:gd name="T68" fmla="*/ 286 w 286"/>
              <a:gd name="T69" fmla="*/ 62 h 228"/>
              <a:gd name="T70" fmla="*/ 246 w 286"/>
              <a:gd name="T71" fmla="*/ 198 h 228"/>
              <a:gd name="T72" fmla="*/ 226 w 286"/>
              <a:gd name="T73" fmla="*/ 228 h 228"/>
              <a:gd name="T74" fmla="*/ 53 w 286"/>
              <a:gd name="T75" fmla="*/ 210 h 228"/>
              <a:gd name="T76" fmla="*/ 0 w 286"/>
              <a:gd name="T77" fmla="*/ 11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15" name="Freeform 259">
            <a:extLst>
              <a:ext uri="{FF2B5EF4-FFF2-40B4-BE49-F238E27FC236}">
                <a16:creationId xmlns="" xmlns:a16="http://schemas.microsoft.com/office/drawing/2014/main" id="{21387A80-A417-451F-A571-E0A8C71B8824}"/>
              </a:ext>
            </a:extLst>
          </p:cNvPr>
          <p:cNvSpPr>
            <a:spLocks/>
          </p:cNvSpPr>
          <p:nvPr>
            <p:custDataLst>
              <p:tags r:id="rId185"/>
            </p:custDataLst>
          </p:nvPr>
        </p:nvSpPr>
        <p:spPr bwMode="auto">
          <a:xfrm>
            <a:off x="5198496" y="3242057"/>
            <a:ext cx="270739" cy="272402"/>
          </a:xfrm>
          <a:custGeom>
            <a:avLst/>
            <a:gdLst>
              <a:gd name="T0" fmla="*/ 478 w 524"/>
              <a:gd name="T1" fmla="*/ 370 h 505"/>
              <a:gd name="T2" fmla="*/ 484 w 524"/>
              <a:gd name="T3" fmla="*/ 346 h 505"/>
              <a:gd name="T4" fmla="*/ 483 w 524"/>
              <a:gd name="T5" fmla="*/ 329 h 505"/>
              <a:gd name="T6" fmla="*/ 478 w 524"/>
              <a:gd name="T7" fmla="*/ 302 h 505"/>
              <a:gd name="T8" fmla="*/ 455 w 524"/>
              <a:gd name="T9" fmla="*/ 299 h 505"/>
              <a:gd name="T10" fmla="*/ 431 w 524"/>
              <a:gd name="T11" fmla="*/ 288 h 505"/>
              <a:gd name="T12" fmla="*/ 407 w 524"/>
              <a:gd name="T13" fmla="*/ 274 h 505"/>
              <a:gd name="T14" fmla="*/ 386 w 524"/>
              <a:gd name="T15" fmla="*/ 256 h 505"/>
              <a:gd name="T16" fmla="*/ 366 w 524"/>
              <a:gd name="T17" fmla="*/ 237 h 505"/>
              <a:gd name="T18" fmla="*/ 352 w 524"/>
              <a:gd name="T19" fmla="*/ 216 h 505"/>
              <a:gd name="T20" fmla="*/ 342 w 524"/>
              <a:gd name="T21" fmla="*/ 196 h 505"/>
              <a:gd name="T22" fmla="*/ 339 w 524"/>
              <a:gd name="T23" fmla="*/ 178 h 505"/>
              <a:gd name="T24" fmla="*/ 341 w 524"/>
              <a:gd name="T25" fmla="*/ 162 h 505"/>
              <a:gd name="T26" fmla="*/ 349 w 524"/>
              <a:gd name="T27" fmla="*/ 150 h 505"/>
              <a:gd name="T28" fmla="*/ 365 w 524"/>
              <a:gd name="T29" fmla="*/ 136 h 505"/>
              <a:gd name="T30" fmla="*/ 354 w 524"/>
              <a:gd name="T31" fmla="*/ 130 h 505"/>
              <a:gd name="T32" fmla="*/ 341 w 524"/>
              <a:gd name="T33" fmla="*/ 119 h 505"/>
              <a:gd name="T34" fmla="*/ 315 w 524"/>
              <a:gd name="T35" fmla="*/ 87 h 505"/>
              <a:gd name="T36" fmla="*/ 292 w 524"/>
              <a:gd name="T37" fmla="*/ 51 h 505"/>
              <a:gd name="T38" fmla="*/ 279 w 524"/>
              <a:gd name="T39" fmla="*/ 25 h 505"/>
              <a:gd name="T40" fmla="*/ 260 w 524"/>
              <a:gd name="T41" fmla="*/ 24 h 505"/>
              <a:gd name="T42" fmla="*/ 239 w 524"/>
              <a:gd name="T43" fmla="*/ 19 h 505"/>
              <a:gd name="T44" fmla="*/ 219 w 524"/>
              <a:gd name="T45" fmla="*/ 11 h 505"/>
              <a:gd name="T46" fmla="*/ 197 w 524"/>
              <a:gd name="T47" fmla="*/ 6 h 505"/>
              <a:gd name="T48" fmla="*/ 170 w 524"/>
              <a:gd name="T49" fmla="*/ 3 h 505"/>
              <a:gd name="T50" fmla="*/ 149 w 524"/>
              <a:gd name="T51" fmla="*/ 8 h 505"/>
              <a:gd name="T52" fmla="*/ 114 w 524"/>
              <a:gd name="T53" fmla="*/ 41 h 505"/>
              <a:gd name="T54" fmla="*/ 98 w 524"/>
              <a:gd name="T55" fmla="*/ 57 h 505"/>
              <a:gd name="T56" fmla="*/ 93 w 524"/>
              <a:gd name="T57" fmla="*/ 64 h 505"/>
              <a:gd name="T58" fmla="*/ 94 w 524"/>
              <a:gd name="T59" fmla="*/ 94 h 505"/>
              <a:gd name="T60" fmla="*/ 95 w 524"/>
              <a:gd name="T61" fmla="*/ 140 h 505"/>
              <a:gd name="T62" fmla="*/ 94 w 524"/>
              <a:gd name="T63" fmla="*/ 164 h 505"/>
              <a:gd name="T64" fmla="*/ 86 w 524"/>
              <a:gd name="T65" fmla="*/ 180 h 505"/>
              <a:gd name="T66" fmla="*/ 67 w 524"/>
              <a:gd name="T67" fmla="*/ 197 h 505"/>
              <a:gd name="T68" fmla="*/ 40 w 524"/>
              <a:gd name="T69" fmla="*/ 214 h 505"/>
              <a:gd name="T70" fmla="*/ 13 w 524"/>
              <a:gd name="T71" fmla="*/ 228 h 505"/>
              <a:gd name="T72" fmla="*/ 2 w 524"/>
              <a:gd name="T73" fmla="*/ 246 h 505"/>
              <a:gd name="T74" fmla="*/ 2 w 524"/>
              <a:gd name="T75" fmla="*/ 264 h 505"/>
              <a:gd name="T76" fmla="*/ 0 w 524"/>
              <a:gd name="T77" fmla="*/ 278 h 505"/>
              <a:gd name="T78" fmla="*/ 0 w 524"/>
              <a:gd name="T79" fmla="*/ 289 h 505"/>
              <a:gd name="T80" fmla="*/ 7 w 524"/>
              <a:gd name="T81" fmla="*/ 301 h 505"/>
              <a:gd name="T82" fmla="*/ 26 w 524"/>
              <a:gd name="T83" fmla="*/ 314 h 505"/>
              <a:gd name="T84" fmla="*/ 62 w 524"/>
              <a:gd name="T85" fmla="*/ 331 h 505"/>
              <a:gd name="T86" fmla="*/ 120 w 524"/>
              <a:gd name="T87" fmla="*/ 355 h 505"/>
              <a:gd name="T88" fmla="*/ 180 w 524"/>
              <a:gd name="T89" fmla="*/ 374 h 505"/>
              <a:gd name="T90" fmla="*/ 214 w 524"/>
              <a:gd name="T91" fmla="*/ 385 h 505"/>
              <a:gd name="T92" fmla="*/ 237 w 524"/>
              <a:gd name="T93" fmla="*/ 400 h 505"/>
              <a:gd name="T94" fmla="*/ 252 w 524"/>
              <a:gd name="T95" fmla="*/ 418 h 505"/>
              <a:gd name="T96" fmla="*/ 262 w 524"/>
              <a:gd name="T97" fmla="*/ 435 h 505"/>
              <a:gd name="T98" fmla="*/ 266 w 524"/>
              <a:gd name="T99" fmla="*/ 451 h 505"/>
              <a:gd name="T100" fmla="*/ 270 w 524"/>
              <a:gd name="T101" fmla="*/ 469 h 505"/>
              <a:gd name="T102" fmla="*/ 277 w 524"/>
              <a:gd name="T103" fmla="*/ 481 h 505"/>
              <a:gd name="T104" fmla="*/ 287 w 524"/>
              <a:gd name="T105" fmla="*/ 489 h 505"/>
              <a:gd name="T106" fmla="*/ 307 w 524"/>
              <a:gd name="T107" fmla="*/ 497 h 505"/>
              <a:gd name="T108" fmla="*/ 328 w 524"/>
              <a:gd name="T109" fmla="*/ 503 h 505"/>
              <a:gd name="T110" fmla="*/ 335 w 524"/>
              <a:gd name="T111" fmla="*/ 500 h 505"/>
              <a:gd name="T112" fmla="*/ 346 w 524"/>
              <a:gd name="T113" fmla="*/ 499 h 505"/>
              <a:gd name="T114" fmla="*/ 366 w 524"/>
              <a:gd name="T115" fmla="*/ 503 h 505"/>
              <a:gd name="T116" fmla="*/ 383 w 524"/>
              <a:gd name="T117" fmla="*/ 505 h 505"/>
              <a:gd name="T118" fmla="*/ 437 w 524"/>
              <a:gd name="T119" fmla="*/ 505 h 505"/>
              <a:gd name="T120" fmla="*/ 465 w 524"/>
              <a:gd name="T121" fmla="*/ 449 h 505"/>
              <a:gd name="T122" fmla="*/ 492 w 524"/>
              <a:gd name="T123" fmla="*/ 437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16" name="Freeform 260">
            <a:extLst>
              <a:ext uri="{FF2B5EF4-FFF2-40B4-BE49-F238E27FC236}">
                <a16:creationId xmlns="" xmlns:a16="http://schemas.microsoft.com/office/drawing/2014/main" id="{2B33EF2F-E296-4213-AD17-DA30D0055589}"/>
              </a:ext>
            </a:extLst>
          </p:cNvPr>
          <p:cNvSpPr>
            <a:spLocks/>
          </p:cNvSpPr>
          <p:nvPr>
            <p:custDataLst>
              <p:tags r:id="rId186"/>
            </p:custDataLst>
          </p:nvPr>
        </p:nvSpPr>
        <p:spPr bwMode="auto">
          <a:xfrm>
            <a:off x="5807659" y="3201033"/>
            <a:ext cx="404176" cy="300298"/>
          </a:xfrm>
          <a:custGeom>
            <a:avLst/>
            <a:gdLst>
              <a:gd name="T0" fmla="*/ 62 w 764"/>
              <a:gd name="T1" fmla="*/ 196 h 555"/>
              <a:gd name="T2" fmla="*/ 93 w 764"/>
              <a:gd name="T3" fmla="*/ 190 h 555"/>
              <a:gd name="T4" fmla="*/ 128 w 764"/>
              <a:gd name="T5" fmla="*/ 182 h 555"/>
              <a:gd name="T6" fmla="*/ 175 w 764"/>
              <a:gd name="T7" fmla="*/ 151 h 555"/>
              <a:gd name="T8" fmla="*/ 194 w 764"/>
              <a:gd name="T9" fmla="*/ 126 h 555"/>
              <a:gd name="T10" fmla="*/ 199 w 764"/>
              <a:gd name="T11" fmla="*/ 88 h 555"/>
              <a:gd name="T12" fmla="*/ 208 w 764"/>
              <a:gd name="T13" fmla="*/ 69 h 555"/>
              <a:gd name="T14" fmla="*/ 240 w 764"/>
              <a:gd name="T15" fmla="*/ 60 h 555"/>
              <a:gd name="T16" fmla="*/ 294 w 764"/>
              <a:gd name="T17" fmla="*/ 62 h 555"/>
              <a:gd name="T18" fmla="*/ 329 w 764"/>
              <a:gd name="T19" fmla="*/ 71 h 555"/>
              <a:gd name="T20" fmla="*/ 362 w 764"/>
              <a:gd name="T21" fmla="*/ 90 h 555"/>
              <a:gd name="T22" fmla="*/ 386 w 764"/>
              <a:gd name="T23" fmla="*/ 93 h 555"/>
              <a:gd name="T24" fmla="*/ 419 w 764"/>
              <a:gd name="T25" fmla="*/ 84 h 555"/>
              <a:gd name="T26" fmla="*/ 460 w 764"/>
              <a:gd name="T27" fmla="*/ 61 h 555"/>
              <a:gd name="T28" fmla="*/ 479 w 764"/>
              <a:gd name="T29" fmla="*/ 33 h 555"/>
              <a:gd name="T30" fmla="*/ 508 w 764"/>
              <a:gd name="T31" fmla="*/ 4 h 555"/>
              <a:gd name="T32" fmla="*/ 530 w 764"/>
              <a:gd name="T33" fmla="*/ 19 h 555"/>
              <a:gd name="T34" fmla="*/ 550 w 764"/>
              <a:gd name="T35" fmla="*/ 45 h 555"/>
              <a:gd name="T36" fmla="*/ 561 w 764"/>
              <a:gd name="T37" fmla="*/ 87 h 555"/>
              <a:gd name="T38" fmla="*/ 570 w 764"/>
              <a:gd name="T39" fmla="*/ 101 h 555"/>
              <a:gd name="T40" fmla="*/ 589 w 764"/>
              <a:gd name="T41" fmla="*/ 104 h 555"/>
              <a:gd name="T42" fmla="*/ 622 w 764"/>
              <a:gd name="T43" fmla="*/ 73 h 555"/>
              <a:gd name="T44" fmla="*/ 743 w 764"/>
              <a:gd name="T45" fmla="*/ 66 h 555"/>
              <a:gd name="T46" fmla="*/ 759 w 764"/>
              <a:gd name="T47" fmla="*/ 87 h 555"/>
              <a:gd name="T48" fmla="*/ 679 w 764"/>
              <a:gd name="T49" fmla="*/ 100 h 555"/>
              <a:gd name="T50" fmla="*/ 605 w 764"/>
              <a:gd name="T51" fmla="*/ 112 h 555"/>
              <a:gd name="T52" fmla="*/ 574 w 764"/>
              <a:gd name="T53" fmla="*/ 130 h 555"/>
              <a:gd name="T54" fmla="*/ 571 w 764"/>
              <a:gd name="T55" fmla="*/ 147 h 555"/>
              <a:gd name="T56" fmla="*/ 582 w 764"/>
              <a:gd name="T57" fmla="*/ 164 h 555"/>
              <a:gd name="T58" fmla="*/ 601 w 764"/>
              <a:gd name="T59" fmla="*/ 180 h 555"/>
              <a:gd name="T60" fmla="*/ 604 w 764"/>
              <a:gd name="T61" fmla="*/ 195 h 555"/>
              <a:gd name="T62" fmla="*/ 594 w 764"/>
              <a:gd name="T63" fmla="*/ 213 h 555"/>
              <a:gd name="T64" fmla="*/ 574 w 764"/>
              <a:gd name="T65" fmla="*/ 237 h 555"/>
              <a:gd name="T66" fmla="*/ 565 w 764"/>
              <a:gd name="T67" fmla="*/ 255 h 555"/>
              <a:gd name="T68" fmla="*/ 542 w 764"/>
              <a:gd name="T69" fmla="*/ 269 h 555"/>
              <a:gd name="T70" fmla="*/ 519 w 764"/>
              <a:gd name="T71" fmla="*/ 310 h 555"/>
              <a:gd name="T72" fmla="*/ 508 w 764"/>
              <a:gd name="T73" fmla="*/ 363 h 555"/>
              <a:gd name="T74" fmla="*/ 497 w 764"/>
              <a:gd name="T75" fmla="*/ 425 h 555"/>
              <a:gd name="T76" fmla="*/ 477 w 764"/>
              <a:gd name="T77" fmla="*/ 412 h 555"/>
              <a:gd name="T78" fmla="*/ 460 w 764"/>
              <a:gd name="T79" fmla="*/ 407 h 555"/>
              <a:gd name="T80" fmla="*/ 439 w 764"/>
              <a:gd name="T81" fmla="*/ 418 h 555"/>
              <a:gd name="T82" fmla="*/ 411 w 764"/>
              <a:gd name="T83" fmla="*/ 440 h 555"/>
              <a:gd name="T84" fmla="*/ 393 w 764"/>
              <a:gd name="T85" fmla="*/ 444 h 555"/>
              <a:gd name="T86" fmla="*/ 375 w 764"/>
              <a:gd name="T87" fmla="*/ 463 h 555"/>
              <a:gd name="T88" fmla="*/ 365 w 764"/>
              <a:gd name="T89" fmla="*/ 511 h 555"/>
              <a:gd name="T90" fmla="*/ 350 w 764"/>
              <a:gd name="T91" fmla="*/ 525 h 555"/>
              <a:gd name="T92" fmla="*/ 270 w 764"/>
              <a:gd name="T93" fmla="*/ 546 h 555"/>
              <a:gd name="T94" fmla="*/ 194 w 764"/>
              <a:gd name="T95" fmla="*/ 554 h 555"/>
              <a:gd name="T96" fmla="*/ 113 w 764"/>
              <a:gd name="T97" fmla="*/ 542 h 555"/>
              <a:gd name="T98" fmla="*/ 95 w 764"/>
              <a:gd name="T99" fmla="*/ 518 h 555"/>
              <a:gd name="T100" fmla="*/ 115 w 764"/>
              <a:gd name="T101" fmla="*/ 488 h 555"/>
              <a:gd name="T102" fmla="*/ 125 w 764"/>
              <a:gd name="T103" fmla="*/ 462 h 555"/>
              <a:gd name="T104" fmla="*/ 123 w 764"/>
              <a:gd name="T105" fmla="*/ 442 h 555"/>
              <a:gd name="T106" fmla="*/ 111 w 764"/>
              <a:gd name="T107" fmla="*/ 433 h 555"/>
              <a:gd name="T108" fmla="*/ 69 w 764"/>
              <a:gd name="T109" fmla="*/ 431 h 555"/>
              <a:gd name="T110" fmla="*/ 52 w 764"/>
              <a:gd name="T111" fmla="*/ 421 h 555"/>
              <a:gd name="T112" fmla="*/ 34 w 764"/>
              <a:gd name="T113" fmla="*/ 384 h 555"/>
              <a:gd name="T114" fmla="*/ 19 w 764"/>
              <a:gd name="T115" fmla="*/ 309 h 555"/>
              <a:gd name="T116" fmla="*/ 10 w 764"/>
              <a:gd name="T117" fmla="*/ 291 h 555"/>
              <a:gd name="T118" fmla="*/ 0 w 764"/>
              <a:gd name="T119" fmla="*/ 280 h 555"/>
              <a:gd name="T120" fmla="*/ 2 w 764"/>
              <a:gd name="T121" fmla="*/ 268 h 555"/>
              <a:gd name="T122" fmla="*/ 22 w 764"/>
              <a:gd name="T123" fmla="*/ 248 h 555"/>
              <a:gd name="T124" fmla="*/ 34 w 764"/>
              <a:gd name="T125" fmla="*/ 221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17" name="Freeform 261">
            <a:extLst>
              <a:ext uri="{FF2B5EF4-FFF2-40B4-BE49-F238E27FC236}">
                <a16:creationId xmlns="" xmlns:a16="http://schemas.microsoft.com/office/drawing/2014/main" id="{922CD5C3-4B47-4517-8C17-59B05D4EECA2}"/>
              </a:ext>
            </a:extLst>
          </p:cNvPr>
          <p:cNvSpPr>
            <a:spLocks/>
          </p:cNvSpPr>
          <p:nvPr>
            <p:custDataLst>
              <p:tags r:id="rId187"/>
            </p:custDataLst>
          </p:nvPr>
        </p:nvSpPr>
        <p:spPr bwMode="auto">
          <a:xfrm>
            <a:off x="5846336" y="3251903"/>
            <a:ext cx="444786" cy="438141"/>
          </a:xfrm>
          <a:custGeom>
            <a:avLst/>
            <a:gdLst>
              <a:gd name="T0" fmla="*/ 779 w 831"/>
              <a:gd name="T1" fmla="*/ 82 h 812"/>
              <a:gd name="T2" fmla="*/ 707 w 831"/>
              <a:gd name="T3" fmla="*/ 29 h 812"/>
              <a:gd name="T4" fmla="*/ 562 w 831"/>
              <a:gd name="T5" fmla="*/ 10 h 812"/>
              <a:gd name="T6" fmla="*/ 499 w 831"/>
              <a:gd name="T7" fmla="*/ 29 h 812"/>
              <a:gd name="T8" fmla="*/ 486 w 831"/>
              <a:gd name="T9" fmla="*/ 49 h 812"/>
              <a:gd name="T10" fmla="*/ 497 w 831"/>
              <a:gd name="T11" fmla="*/ 71 h 812"/>
              <a:gd name="T12" fmla="*/ 517 w 831"/>
              <a:gd name="T13" fmla="*/ 90 h 812"/>
              <a:gd name="T14" fmla="*/ 516 w 831"/>
              <a:gd name="T15" fmla="*/ 111 h 812"/>
              <a:gd name="T16" fmla="*/ 491 w 831"/>
              <a:gd name="T17" fmla="*/ 140 h 812"/>
              <a:gd name="T18" fmla="*/ 480 w 831"/>
              <a:gd name="T19" fmla="*/ 162 h 812"/>
              <a:gd name="T20" fmla="*/ 450 w 831"/>
              <a:gd name="T21" fmla="*/ 184 h 812"/>
              <a:gd name="T22" fmla="*/ 427 w 831"/>
              <a:gd name="T23" fmla="*/ 243 h 812"/>
              <a:gd name="T24" fmla="*/ 420 w 831"/>
              <a:gd name="T25" fmla="*/ 332 h 812"/>
              <a:gd name="T26" fmla="*/ 392 w 831"/>
              <a:gd name="T27" fmla="*/ 319 h 812"/>
              <a:gd name="T28" fmla="*/ 370 w 831"/>
              <a:gd name="T29" fmla="*/ 315 h 812"/>
              <a:gd name="T30" fmla="*/ 338 w 831"/>
              <a:gd name="T31" fmla="*/ 339 h 812"/>
              <a:gd name="T32" fmla="*/ 313 w 831"/>
              <a:gd name="T33" fmla="*/ 351 h 812"/>
              <a:gd name="T34" fmla="*/ 290 w 831"/>
              <a:gd name="T35" fmla="*/ 370 h 812"/>
              <a:gd name="T36" fmla="*/ 280 w 831"/>
              <a:gd name="T37" fmla="*/ 424 h 812"/>
              <a:gd name="T38" fmla="*/ 235 w 831"/>
              <a:gd name="T39" fmla="*/ 442 h 812"/>
              <a:gd name="T40" fmla="*/ 127 w 831"/>
              <a:gd name="T41" fmla="*/ 462 h 812"/>
              <a:gd name="T42" fmla="*/ 26 w 831"/>
              <a:gd name="T43" fmla="*/ 449 h 812"/>
              <a:gd name="T44" fmla="*/ 51 w 831"/>
              <a:gd name="T45" fmla="*/ 505 h 812"/>
              <a:gd name="T46" fmla="*/ 96 w 831"/>
              <a:gd name="T47" fmla="*/ 540 h 812"/>
              <a:gd name="T48" fmla="*/ 123 w 831"/>
              <a:gd name="T49" fmla="*/ 577 h 812"/>
              <a:gd name="T50" fmla="*/ 142 w 831"/>
              <a:gd name="T51" fmla="*/ 596 h 812"/>
              <a:gd name="T52" fmla="*/ 99 w 831"/>
              <a:gd name="T53" fmla="*/ 647 h 812"/>
              <a:gd name="T54" fmla="*/ 87 w 831"/>
              <a:gd name="T55" fmla="*/ 671 h 812"/>
              <a:gd name="T56" fmla="*/ 109 w 831"/>
              <a:gd name="T57" fmla="*/ 720 h 812"/>
              <a:gd name="T58" fmla="*/ 222 w 831"/>
              <a:gd name="T59" fmla="*/ 710 h 812"/>
              <a:gd name="T60" fmla="*/ 302 w 831"/>
              <a:gd name="T61" fmla="*/ 705 h 812"/>
              <a:gd name="T62" fmla="*/ 330 w 831"/>
              <a:gd name="T63" fmla="*/ 721 h 812"/>
              <a:gd name="T64" fmla="*/ 359 w 831"/>
              <a:gd name="T65" fmla="*/ 756 h 812"/>
              <a:gd name="T66" fmla="*/ 408 w 831"/>
              <a:gd name="T67" fmla="*/ 785 h 812"/>
              <a:gd name="T68" fmla="*/ 449 w 831"/>
              <a:gd name="T69" fmla="*/ 803 h 812"/>
              <a:gd name="T70" fmla="*/ 460 w 831"/>
              <a:gd name="T71" fmla="*/ 791 h 812"/>
              <a:gd name="T72" fmla="*/ 487 w 831"/>
              <a:gd name="T73" fmla="*/ 774 h 812"/>
              <a:gd name="T74" fmla="*/ 554 w 831"/>
              <a:gd name="T75" fmla="*/ 764 h 812"/>
              <a:gd name="T76" fmla="*/ 597 w 831"/>
              <a:gd name="T77" fmla="*/ 750 h 812"/>
              <a:gd name="T78" fmla="*/ 618 w 831"/>
              <a:gd name="T79" fmla="*/ 727 h 812"/>
              <a:gd name="T80" fmla="*/ 584 w 831"/>
              <a:gd name="T81" fmla="*/ 700 h 812"/>
              <a:gd name="T82" fmla="*/ 542 w 831"/>
              <a:gd name="T83" fmla="*/ 641 h 812"/>
              <a:gd name="T84" fmla="*/ 526 w 831"/>
              <a:gd name="T85" fmla="*/ 624 h 812"/>
              <a:gd name="T86" fmla="*/ 526 w 831"/>
              <a:gd name="T87" fmla="*/ 578 h 812"/>
              <a:gd name="T88" fmla="*/ 582 w 831"/>
              <a:gd name="T89" fmla="*/ 563 h 812"/>
              <a:gd name="T90" fmla="*/ 622 w 831"/>
              <a:gd name="T91" fmla="*/ 531 h 812"/>
              <a:gd name="T92" fmla="*/ 688 w 831"/>
              <a:gd name="T93" fmla="*/ 417 h 812"/>
              <a:gd name="T94" fmla="*/ 730 w 831"/>
              <a:gd name="T95" fmla="*/ 368 h 812"/>
              <a:gd name="T96" fmla="*/ 725 w 831"/>
              <a:gd name="T97" fmla="*/ 330 h 812"/>
              <a:gd name="T98" fmla="*/ 729 w 831"/>
              <a:gd name="T99" fmla="*/ 305 h 812"/>
              <a:gd name="T100" fmla="*/ 751 w 831"/>
              <a:gd name="T101" fmla="*/ 289 h 812"/>
              <a:gd name="T102" fmla="*/ 670 w 831"/>
              <a:gd name="T103" fmla="*/ 207 h 812"/>
              <a:gd name="T104" fmla="*/ 758 w 831"/>
              <a:gd name="T105" fmla="*/ 140 h 812"/>
              <a:gd name="T106" fmla="*/ 805 w 831"/>
              <a:gd name="T107" fmla="*/ 123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18" name="Freeform 262">
            <a:extLst>
              <a:ext uri="{FF2B5EF4-FFF2-40B4-BE49-F238E27FC236}">
                <a16:creationId xmlns="" xmlns:a16="http://schemas.microsoft.com/office/drawing/2014/main" id="{069C7F58-66A9-4073-9720-9262DF7EDC9A}"/>
              </a:ext>
            </a:extLst>
          </p:cNvPr>
          <p:cNvSpPr>
            <a:spLocks/>
          </p:cNvSpPr>
          <p:nvPr>
            <p:custDataLst>
              <p:tags r:id="rId188"/>
            </p:custDataLst>
          </p:nvPr>
        </p:nvSpPr>
        <p:spPr bwMode="auto">
          <a:xfrm>
            <a:off x="6809395" y="3529228"/>
            <a:ext cx="268806" cy="605519"/>
          </a:xfrm>
          <a:custGeom>
            <a:avLst/>
            <a:gdLst>
              <a:gd name="T0" fmla="*/ 438 w 505"/>
              <a:gd name="T1" fmla="*/ 1067 h 1121"/>
              <a:gd name="T2" fmla="*/ 443 w 505"/>
              <a:gd name="T3" fmla="*/ 1028 h 1121"/>
              <a:gd name="T4" fmla="*/ 399 w 505"/>
              <a:gd name="T5" fmla="*/ 1022 h 1121"/>
              <a:gd name="T6" fmla="*/ 405 w 505"/>
              <a:gd name="T7" fmla="*/ 957 h 1121"/>
              <a:gd name="T8" fmla="*/ 419 w 505"/>
              <a:gd name="T9" fmla="*/ 931 h 1121"/>
              <a:gd name="T10" fmla="*/ 413 w 505"/>
              <a:gd name="T11" fmla="*/ 899 h 1121"/>
              <a:gd name="T12" fmla="*/ 398 w 505"/>
              <a:gd name="T13" fmla="*/ 893 h 1121"/>
              <a:gd name="T14" fmla="*/ 382 w 505"/>
              <a:gd name="T15" fmla="*/ 838 h 1121"/>
              <a:gd name="T16" fmla="*/ 324 w 505"/>
              <a:gd name="T17" fmla="*/ 719 h 1121"/>
              <a:gd name="T18" fmla="*/ 296 w 505"/>
              <a:gd name="T19" fmla="*/ 703 h 1121"/>
              <a:gd name="T20" fmla="*/ 282 w 505"/>
              <a:gd name="T21" fmla="*/ 718 h 1121"/>
              <a:gd name="T22" fmla="*/ 226 w 505"/>
              <a:gd name="T23" fmla="*/ 742 h 1121"/>
              <a:gd name="T24" fmla="*/ 169 w 505"/>
              <a:gd name="T25" fmla="*/ 736 h 1121"/>
              <a:gd name="T26" fmla="*/ 133 w 505"/>
              <a:gd name="T27" fmla="*/ 567 h 1121"/>
              <a:gd name="T28" fmla="*/ 101 w 505"/>
              <a:gd name="T29" fmla="*/ 520 h 1121"/>
              <a:gd name="T30" fmla="*/ 51 w 505"/>
              <a:gd name="T31" fmla="*/ 502 h 1121"/>
              <a:gd name="T32" fmla="*/ 8 w 505"/>
              <a:gd name="T33" fmla="*/ 471 h 1121"/>
              <a:gd name="T34" fmla="*/ 23 w 505"/>
              <a:gd name="T35" fmla="*/ 445 h 1121"/>
              <a:gd name="T36" fmla="*/ 58 w 505"/>
              <a:gd name="T37" fmla="*/ 361 h 1121"/>
              <a:gd name="T38" fmla="*/ 67 w 505"/>
              <a:gd name="T39" fmla="*/ 277 h 1121"/>
              <a:gd name="T40" fmla="*/ 80 w 505"/>
              <a:gd name="T41" fmla="*/ 265 h 1121"/>
              <a:gd name="T42" fmla="*/ 113 w 505"/>
              <a:gd name="T43" fmla="*/ 258 h 1121"/>
              <a:gd name="T44" fmla="*/ 134 w 505"/>
              <a:gd name="T45" fmla="*/ 222 h 1121"/>
              <a:gd name="T46" fmla="*/ 140 w 505"/>
              <a:gd name="T47" fmla="*/ 117 h 1121"/>
              <a:gd name="T48" fmla="*/ 159 w 505"/>
              <a:gd name="T49" fmla="*/ 98 h 1121"/>
              <a:gd name="T50" fmla="*/ 213 w 505"/>
              <a:gd name="T51" fmla="*/ 74 h 1121"/>
              <a:gd name="T52" fmla="*/ 234 w 505"/>
              <a:gd name="T53" fmla="*/ 21 h 1121"/>
              <a:gd name="T54" fmla="*/ 277 w 505"/>
              <a:gd name="T55" fmla="*/ 31 h 1121"/>
              <a:gd name="T56" fmla="*/ 312 w 505"/>
              <a:gd name="T57" fmla="*/ 49 h 1121"/>
              <a:gd name="T58" fmla="*/ 337 w 505"/>
              <a:gd name="T59" fmla="*/ 122 h 1121"/>
              <a:gd name="T60" fmla="*/ 335 w 505"/>
              <a:gd name="T61" fmla="*/ 167 h 1121"/>
              <a:gd name="T62" fmla="*/ 300 w 505"/>
              <a:gd name="T63" fmla="*/ 216 h 1121"/>
              <a:gd name="T64" fmla="*/ 293 w 505"/>
              <a:gd name="T65" fmla="*/ 245 h 1121"/>
              <a:gd name="T66" fmla="*/ 309 w 505"/>
              <a:gd name="T67" fmla="*/ 261 h 1121"/>
              <a:gd name="T68" fmla="*/ 346 w 505"/>
              <a:gd name="T69" fmla="*/ 270 h 1121"/>
              <a:gd name="T70" fmla="*/ 371 w 505"/>
              <a:gd name="T71" fmla="*/ 291 h 1121"/>
              <a:gd name="T72" fmla="*/ 398 w 505"/>
              <a:gd name="T73" fmla="*/ 345 h 1121"/>
              <a:gd name="T74" fmla="*/ 430 w 505"/>
              <a:gd name="T75" fmla="*/ 400 h 1121"/>
              <a:gd name="T76" fmla="*/ 464 w 505"/>
              <a:gd name="T77" fmla="*/ 418 h 1121"/>
              <a:gd name="T78" fmla="*/ 505 w 505"/>
              <a:gd name="T79" fmla="*/ 418 h 1121"/>
              <a:gd name="T80" fmla="*/ 476 w 505"/>
              <a:gd name="T81" fmla="*/ 494 h 1121"/>
              <a:gd name="T82" fmla="*/ 427 w 505"/>
              <a:gd name="T83" fmla="*/ 510 h 1121"/>
              <a:gd name="T84" fmla="*/ 383 w 505"/>
              <a:gd name="T85" fmla="*/ 528 h 1121"/>
              <a:gd name="T86" fmla="*/ 360 w 505"/>
              <a:gd name="T87" fmla="*/ 572 h 1121"/>
              <a:gd name="T88" fmla="*/ 370 w 505"/>
              <a:gd name="T89" fmla="*/ 637 h 1121"/>
              <a:gd name="T90" fmla="*/ 402 w 505"/>
              <a:gd name="T91" fmla="*/ 683 h 1121"/>
              <a:gd name="T92" fmla="*/ 430 w 505"/>
              <a:gd name="T93" fmla="*/ 735 h 1121"/>
              <a:gd name="T94" fmla="*/ 428 w 505"/>
              <a:gd name="T95" fmla="*/ 776 h 1121"/>
              <a:gd name="T96" fmla="*/ 419 w 505"/>
              <a:gd name="T97" fmla="*/ 801 h 1121"/>
              <a:gd name="T98" fmla="*/ 435 w 505"/>
              <a:gd name="T99" fmla="*/ 851 h 1121"/>
              <a:gd name="T100" fmla="*/ 483 w 505"/>
              <a:gd name="T101" fmla="*/ 965 h 1121"/>
              <a:gd name="T102" fmla="*/ 458 w 505"/>
              <a:gd name="T103" fmla="*/ 1082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19" name="Freeform 263">
            <a:extLst>
              <a:ext uri="{FF2B5EF4-FFF2-40B4-BE49-F238E27FC236}">
                <a16:creationId xmlns="" xmlns:a16="http://schemas.microsoft.com/office/drawing/2014/main" id="{DB1464C3-9B57-403E-9C6C-6162D2335BA6}"/>
              </a:ext>
            </a:extLst>
          </p:cNvPr>
          <p:cNvSpPr>
            <a:spLocks/>
          </p:cNvSpPr>
          <p:nvPr>
            <p:custDataLst>
              <p:tags r:id="rId189"/>
            </p:custDataLst>
          </p:nvPr>
        </p:nvSpPr>
        <p:spPr bwMode="auto">
          <a:xfrm>
            <a:off x="3548920" y="4055981"/>
            <a:ext cx="98627" cy="60716"/>
          </a:xfrm>
          <a:custGeom>
            <a:avLst/>
            <a:gdLst>
              <a:gd name="T0" fmla="*/ 180 w 180"/>
              <a:gd name="T1" fmla="*/ 7 h 112"/>
              <a:gd name="T2" fmla="*/ 171 w 180"/>
              <a:gd name="T3" fmla="*/ 24 h 112"/>
              <a:gd name="T4" fmla="*/ 163 w 180"/>
              <a:gd name="T5" fmla="*/ 39 h 112"/>
              <a:gd name="T6" fmla="*/ 152 w 180"/>
              <a:gd name="T7" fmla="*/ 53 h 112"/>
              <a:gd name="T8" fmla="*/ 141 w 180"/>
              <a:gd name="T9" fmla="*/ 66 h 112"/>
              <a:gd name="T10" fmla="*/ 129 w 180"/>
              <a:gd name="T11" fmla="*/ 80 h 112"/>
              <a:gd name="T12" fmla="*/ 115 w 180"/>
              <a:gd name="T13" fmla="*/ 92 h 112"/>
              <a:gd name="T14" fmla="*/ 101 w 180"/>
              <a:gd name="T15" fmla="*/ 102 h 112"/>
              <a:gd name="T16" fmla="*/ 87 w 180"/>
              <a:gd name="T17" fmla="*/ 112 h 112"/>
              <a:gd name="T18" fmla="*/ 82 w 180"/>
              <a:gd name="T19" fmla="*/ 107 h 112"/>
              <a:gd name="T20" fmla="*/ 79 w 180"/>
              <a:gd name="T21" fmla="*/ 101 h 112"/>
              <a:gd name="T22" fmla="*/ 76 w 180"/>
              <a:gd name="T23" fmla="*/ 95 h 112"/>
              <a:gd name="T24" fmla="*/ 74 w 180"/>
              <a:gd name="T25" fmla="*/ 88 h 112"/>
              <a:gd name="T26" fmla="*/ 70 w 180"/>
              <a:gd name="T27" fmla="*/ 81 h 112"/>
              <a:gd name="T28" fmla="*/ 68 w 180"/>
              <a:gd name="T29" fmla="*/ 74 h 112"/>
              <a:gd name="T30" fmla="*/ 65 w 180"/>
              <a:gd name="T31" fmla="*/ 69 h 112"/>
              <a:gd name="T32" fmla="*/ 60 w 180"/>
              <a:gd name="T33" fmla="*/ 63 h 112"/>
              <a:gd name="T34" fmla="*/ 45 w 180"/>
              <a:gd name="T35" fmla="*/ 48 h 112"/>
              <a:gd name="T36" fmla="*/ 36 w 180"/>
              <a:gd name="T37" fmla="*/ 38 h 112"/>
              <a:gd name="T38" fmla="*/ 30 w 180"/>
              <a:gd name="T39" fmla="*/ 33 h 112"/>
              <a:gd name="T40" fmla="*/ 25 w 180"/>
              <a:gd name="T41" fmla="*/ 31 h 112"/>
              <a:gd name="T42" fmla="*/ 18 w 180"/>
              <a:gd name="T43" fmla="*/ 30 h 112"/>
              <a:gd name="T44" fmla="*/ 0 w 180"/>
              <a:gd name="T45" fmla="*/ 26 h 112"/>
              <a:gd name="T46" fmla="*/ 26 w 180"/>
              <a:gd name="T47" fmla="*/ 14 h 112"/>
              <a:gd name="T48" fmla="*/ 41 w 180"/>
              <a:gd name="T49" fmla="*/ 9 h 112"/>
              <a:gd name="T50" fmla="*/ 56 w 180"/>
              <a:gd name="T51" fmla="*/ 5 h 112"/>
              <a:gd name="T52" fmla="*/ 74 w 180"/>
              <a:gd name="T53" fmla="*/ 3 h 112"/>
              <a:gd name="T54" fmla="*/ 93 w 180"/>
              <a:gd name="T55" fmla="*/ 1 h 112"/>
              <a:gd name="T56" fmla="*/ 114 w 180"/>
              <a:gd name="T57" fmla="*/ 0 h 112"/>
              <a:gd name="T58" fmla="*/ 135 w 180"/>
              <a:gd name="T59" fmla="*/ 1 h 112"/>
              <a:gd name="T60" fmla="*/ 157 w 180"/>
              <a:gd name="T61" fmla="*/ 3 h 112"/>
              <a:gd name="T62" fmla="*/ 180 w 180"/>
              <a:gd name="T63" fmla="*/ 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20" name="Freeform 264">
            <a:extLst>
              <a:ext uri="{FF2B5EF4-FFF2-40B4-BE49-F238E27FC236}">
                <a16:creationId xmlns="" xmlns:a16="http://schemas.microsoft.com/office/drawing/2014/main" id="{46A596CB-D650-4C8A-BC28-B95277A7E37A}"/>
              </a:ext>
            </a:extLst>
          </p:cNvPr>
          <p:cNvSpPr>
            <a:spLocks/>
          </p:cNvSpPr>
          <p:nvPr>
            <p:custDataLst>
              <p:tags r:id="rId190"/>
            </p:custDataLst>
          </p:nvPr>
        </p:nvSpPr>
        <p:spPr bwMode="auto">
          <a:xfrm>
            <a:off x="3651414" y="4141312"/>
            <a:ext cx="90890" cy="103382"/>
          </a:xfrm>
          <a:custGeom>
            <a:avLst/>
            <a:gdLst>
              <a:gd name="T0" fmla="*/ 0 w 173"/>
              <a:gd name="T1" fmla="*/ 68 h 192"/>
              <a:gd name="T2" fmla="*/ 27 w 173"/>
              <a:gd name="T3" fmla="*/ 42 h 192"/>
              <a:gd name="T4" fmla="*/ 51 w 173"/>
              <a:gd name="T5" fmla="*/ 21 h 192"/>
              <a:gd name="T6" fmla="*/ 56 w 173"/>
              <a:gd name="T7" fmla="*/ 16 h 192"/>
              <a:gd name="T8" fmla="*/ 63 w 173"/>
              <a:gd name="T9" fmla="*/ 12 h 192"/>
              <a:gd name="T10" fmla="*/ 70 w 173"/>
              <a:gd name="T11" fmla="*/ 8 h 192"/>
              <a:gd name="T12" fmla="*/ 76 w 173"/>
              <a:gd name="T13" fmla="*/ 6 h 192"/>
              <a:gd name="T14" fmla="*/ 83 w 173"/>
              <a:gd name="T15" fmla="*/ 3 h 192"/>
              <a:gd name="T16" fmla="*/ 90 w 173"/>
              <a:gd name="T17" fmla="*/ 2 h 192"/>
              <a:gd name="T18" fmla="*/ 98 w 173"/>
              <a:gd name="T19" fmla="*/ 1 h 192"/>
              <a:gd name="T20" fmla="*/ 107 w 173"/>
              <a:gd name="T21" fmla="*/ 0 h 192"/>
              <a:gd name="T22" fmla="*/ 116 w 173"/>
              <a:gd name="T23" fmla="*/ 1 h 192"/>
              <a:gd name="T24" fmla="*/ 124 w 173"/>
              <a:gd name="T25" fmla="*/ 2 h 192"/>
              <a:gd name="T26" fmla="*/ 132 w 173"/>
              <a:gd name="T27" fmla="*/ 5 h 192"/>
              <a:gd name="T28" fmla="*/ 139 w 173"/>
              <a:gd name="T29" fmla="*/ 8 h 192"/>
              <a:gd name="T30" fmla="*/ 145 w 173"/>
              <a:gd name="T31" fmla="*/ 13 h 192"/>
              <a:gd name="T32" fmla="*/ 151 w 173"/>
              <a:gd name="T33" fmla="*/ 19 h 192"/>
              <a:gd name="T34" fmla="*/ 155 w 173"/>
              <a:gd name="T35" fmla="*/ 24 h 192"/>
              <a:gd name="T36" fmla="*/ 160 w 173"/>
              <a:gd name="T37" fmla="*/ 30 h 192"/>
              <a:gd name="T38" fmla="*/ 163 w 173"/>
              <a:gd name="T39" fmla="*/ 37 h 192"/>
              <a:gd name="T40" fmla="*/ 166 w 173"/>
              <a:gd name="T41" fmla="*/ 43 h 192"/>
              <a:gd name="T42" fmla="*/ 168 w 173"/>
              <a:gd name="T43" fmla="*/ 50 h 192"/>
              <a:gd name="T44" fmla="*/ 169 w 173"/>
              <a:gd name="T45" fmla="*/ 57 h 192"/>
              <a:gd name="T46" fmla="*/ 172 w 173"/>
              <a:gd name="T47" fmla="*/ 72 h 192"/>
              <a:gd name="T48" fmla="*/ 173 w 173"/>
              <a:gd name="T49" fmla="*/ 87 h 192"/>
              <a:gd name="T50" fmla="*/ 157 w 173"/>
              <a:gd name="T51" fmla="*/ 114 h 192"/>
              <a:gd name="T52" fmla="*/ 146 w 173"/>
              <a:gd name="T53" fmla="*/ 137 h 192"/>
              <a:gd name="T54" fmla="*/ 139 w 173"/>
              <a:gd name="T55" fmla="*/ 148 h 192"/>
              <a:gd name="T56" fmla="*/ 130 w 173"/>
              <a:gd name="T57" fmla="*/ 160 h 192"/>
              <a:gd name="T58" fmla="*/ 117 w 173"/>
              <a:gd name="T59" fmla="*/ 174 h 192"/>
              <a:gd name="T60" fmla="*/ 99 w 173"/>
              <a:gd name="T61" fmla="*/ 192 h 192"/>
              <a:gd name="T62" fmla="*/ 86 w 173"/>
              <a:gd name="T63" fmla="*/ 183 h 192"/>
              <a:gd name="T64" fmla="*/ 74 w 173"/>
              <a:gd name="T65" fmla="*/ 176 h 192"/>
              <a:gd name="T66" fmla="*/ 63 w 173"/>
              <a:gd name="T67" fmla="*/ 169 h 192"/>
              <a:gd name="T68" fmla="*/ 54 w 173"/>
              <a:gd name="T69" fmla="*/ 163 h 192"/>
              <a:gd name="T70" fmla="*/ 46 w 173"/>
              <a:gd name="T71" fmla="*/ 156 h 192"/>
              <a:gd name="T72" fmla="*/ 40 w 173"/>
              <a:gd name="T73" fmla="*/ 150 h 192"/>
              <a:gd name="T74" fmla="*/ 34 w 173"/>
              <a:gd name="T75" fmla="*/ 144 h 192"/>
              <a:gd name="T76" fmla="*/ 30 w 173"/>
              <a:gd name="T77" fmla="*/ 137 h 192"/>
              <a:gd name="T78" fmla="*/ 22 w 173"/>
              <a:gd name="T79" fmla="*/ 123 h 192"/>
              <a:gd name="T80" fmla="*/ 16 w 173"/>
              <a:gd name="T81" fmla="*/ 107 h 192"/>
              <a:gd name="T82" fmla="*/ 9 w 173"/>
              <a:gd name="T83" fmla="*/ 90 h 192"/>
              <a:gd name="T84" fmla="*/ 0 w 173"/>
              <a:gd name="T85" fmla="*/ 6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21" name="Freeform 265">
            <a:extLst>
              <a:ext uri="{FF2B5EF4-FFF2-40B4-BE49-F238E27FC236}">
                <a16:creationId xmlns="" xmlns:a16="http://schemas.microsoft.com/office/drawing/2014/main" id="{38D943EE-E4DB-41FC-A432-11F9C77CD588}"/>
              </a:ext>
            </a:extLst>
          </p:cNvPr>
          <p:cNvSpPr>
            <a:spLocks/>
          </p:cNvSpPr>
          <p:nvPr>
            <p:custDataLst>
              <p:tags r:id="rId191"/>
            </p:custDataLst>
          </p:nvPr>
        </p:nvSpPr>
        <p:spPr bwMode="auto">
          <a:xfrm>
            <a:off x="3703628" y="4193823"/>
            <a:ext cx="127635" cy="136202"/>
          </a:xfrm>
          <a:custGeom>
            <a:avLst/>
            <a:gdLst>
              <a:gd name="T0" fmla="*/ 74 w 233"/>
              <a:gd name="T1" fmla="*/ 0 h 252"/>
              <a:gd name="T2" fmla="*/ 83 w 233"/>
              <a:gd name="T3" fmla="*/ 2 h 252"/>
              <a:gd name="T4" fmla="*/ 89 w 233"/>
              <a:gd name="T5" fmla="*/ 3 h 252"/>
              <a:gd name="T6" fmla="*/ 95 w 233"/>
              <a:gd name="T7" fmla="*/ 3 h 252"/>
              <a:gd name="T8" fmla="*/ 99 w 233"/>
              <a:gd name="T9" fmla="*/ 2 h 252"/>
              <a:gd name="T10" fmla="*/ 106 w 233"/>
              <a:gd name="T11" fmla="*/ 1 h 252"/>
              <a:gd name="T12" fmla="*/ 113 w 233"/>
              <a:gd name="T13" fmla="*/ 0 h 252"/>
              <a:gd name="T14" fmla="*/ 125 w 233"/>
              <a:gd name="T15" fmla="*/ 17 h 252"/>
              <a:gd name="T16" fmla="*/ 140 w 233"/>
              <a:gd name="T17" fmla="*/ 37 h 252"/>
              <a:gd name="T18" fmla="*/ 144 w 233"/>
              <a:gd name="T19" fmla="*/ 42 h 252"/>
              <a:gd name="T20" fmla="*/ 148 w 233"/>
              <a:gd name="T21" fmla="*/ 46 h 252"/>
              <a:gd name="T22" fmla="*/ 153 w 233"/>
              <a:gd name="T23" fmla="*/ 49 h 252"/>
              <a:gd name="T24" fmla="*/ 157 w 233"/>
              <a:gd name="T25" fmla="*/ 52 h 252"/>
              <a:gd name="T26" fmla="*/ 163 w 233"/>
              <a:gd name="T27" fmla="*/ 54 h 252"/>
              <a:gd name="T28" fmla="*/ 168 w 233"/>
              <a:gd name="T29" fmla="*/ 56 h 252"/>
              <a:gd name="T30" fmla="*/ 174 w 233"/>
              <a:gd name="T31" fmla="*/ 56 h 252"/>
              <a:gd name="T32" fmla="*/ 180 w 233"/>
              <a:gd name="T33" fmla="*/ 56 h 252"/>
              <a:gd name="T34" fmla="*/ 180 w 233"/>
              <a:gd name="T35" fmla="*/ 80 h 252"/>
              <a:gd name="T36" fmla="*/ 193 w 233"/>
              <a:gd name="T37" fmla="*/ 103 h 252"/>
              <a:gd name="T38" fmla="*/ 212 w 233"/>
              <a:gd name="T39" fmla="*/ 128 h 252"/>
              <a:gd name="T40" fmla="*/ 215 w 233"/>
              <a:gd name="T41" fmla="*/ 135 h 252"/>
              <a:gd name="T42" fmla="*/ 220 w 233"/>
              <a:gd name="T43" fmla="*/ 142 h 252"/>
              <a:gd name="T44" fmla="*/ 223 w 233"/>
              <a:gd name="T45" fmla="*/ 151 h 252"/>
              <a:gd name="T46" fmla="*/ 226 w 233"/>
              <a:gd name="T47" fmla="*/ 160 h 252"/>
              <a:gd name="T48" fmla="*/ 230 w 233"/>
              <a:gd name="T49" fmla="*/ 170 h 252"/>
              <a:gd name="T50" fmla="*/ 232 w 233"/>
              <a:gd name="T51" fmla="*/ 180 h 252"/>
              <a:gd name="T52" fmla="*/ 233 w 233"/>
              <a:gd name="T53" fmla="*/ 191 h 252"/>
              <a:gd name="T54" fmla="*/ 233 w 233"/>
              <a:gd name="T55" fmla="*/ 204 h 252"/>
              <a:gd name="T56" fmla="*/ 232 w 233"/>
              <a:gd name="T57" fmla="*/ 216 h 252"/>
              <a:gd name="T58" fmla="*/ 230 w 233"/>
              <a:gd name="T59" fmla="*/ 228 h 252"/>
              <a:gd name="T60" fmla="*/ 227 w 233"/>
              <a:gd name="T61" fmla="*/ 240 h 252"/>
              <a:gd name="T62" fmla="*/ 226 w 233"/>
              <a:gd name="T63" fmla="*/ 252 h 252"/>
              <a:gd name="T64" fmla="*/ 222 w 233"/>
              <a:gd name="T65" fmla="*/ 252 h 252"/>
              <a:gd name="T66" fmla="*/ 215 w 233"/>
              <a:gd name="T67" fmla="*/ 250 h 252"/>
              <a:gd name="T68" fmla="*/ 208 w 233"/>
              <a:gd name="T69" fmla="*/ 246 h 252"/>
              <a:gd name="T70" fmla="*/ 198 w 233"/>
              <a:gd name="T71" fmla="*/ 241 h 252"/>
              <a:gd name="T72" fmla="*/ 176 w 233"/>
              <a:gd name="T73" fmla="*/ 226 h 252"/>
              <a:gd name="T74" fmla="*/ 151 w 233"/>
              <a:gd name="T75" fmla="*/ 208 h 252"/>
              <a:gd name="T76" fmla="*/ 125 w 233"/>
              <a:gd name="T77" fmla="*/ 186 h 252"/>
              <a:gd name="T78" fmla="*/ 100 w 233"/>
              <a:gd name="T79" fmla="*/ 165 h 252"/>
              <a:gd name="T80" fmla="*/ 78 w 233"/>
              <a:gd name="T81" fmla="*/ 145 h 252"/>
              <a:gd name="T82" fmla="*/ 61 w 233"/>
              <a:gd name="T83" fmla="*/ 129 h 252"/>
              <a:gd name="T84" fmla="*/ 55 w 233"/>
              <a:gd name="T85" fmla="*/ 125 h 252"/>
              <a:gd name="T86" fmla="*/ 48 w 233"/>
              <a:gd name="T87" fmla="*/ 120 h 252"/>
              <a:gd name="T88" fmla="*/ 41 w 233"/>
              <a:gd name="T89" fmla="*/ 116 h 252"/>
              <a:gd name="T90" fmla="*/ 33 w 233"/>
              <a:gd name="T91" fmla="*/ 112 h 252"/>
              <a:gd name="T92" fmla="*/ 17 w 233"/>
              <a:gd name="T93" fmla="*/ 104 h 252"/>
              <a:gd name="T94" fmla="*/ 0 w 233"/>
              <a:gd name="T95" fmla="*/ 99 h 252"/>
              <a:gd name="T96" fmla="*/ 40 w 233"/>
              <a:gd name="T97" fmla="*/ 63 h 252"/>
              <a:gd name="T98" fmla="*/ 59 w 233"/>
              <a:gd name="T99" fmla="*/ 43 h 252"/>
              <a:gd name="T100" fmla="*/ 65 w 233"/>
              <a:gd name="T101" fmla="*/ 33 h 252"/>
              <a:gd name="T102" fmla="*/ 69 w 233"/>
              <a:gd name="T103" fmla="*/ 25 h 252"/>
              <a:gd name="T104" fmla="*/ 72 w 233"/>
              <a:gd name="T105" fmla="*/ 14 h 252"/>
              <a:gd name="T106" fmla="*/ 74 w 233"/>
              <a:gd name="T10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22" name="Freeform 266">
            <a:extLst>
              <a:ext uri="{FF2B5EF4-FFF2-40B4-BE49-F238E27FC236}">
                <a16:creationId xmlns="" xmlns:a16="http://schemas.microsoft.com/office/drawing/2014/main" id="{9EBCA69F-CB53-4B1E-95AE-E10639D5CA61}"/>
              </a:ext>
            </a:extLst>
          </p:cNvPr>
          <p:cNvSpPr>
            <a:spLocks/>
          </p:cNvSpPr>
          <p:nvPr>
            <p:custDataLst>
              <p:tags r:id="rId192"/>
            </p:custDataLst>
          </p:nvPr>
        </p:nvSpPr>
        <p:spPr bwMode="auto">
          <a:xfrm>
            <a:off x="3964698" y="4110133"/>
            <a:ext cx="127635" cy="208403"/>
          </a:xfrm>
          <a:custGeom>
            <a:avLst/>
            <a:gdLst>
              <a:gd name="T0" fmla="*/ 13 w 246"/>
              <a:gd name="T1" fmla="*/ 376 h 380"/>
              <a:gd name="T2" fmla="*/ 14 w 246"/>
              <a:gd name="T3" fmla="*/ 367 h 380"/>
              <a:gd name="T4" fmla="*/ 15 w 246"/>
              <a:gd name="T5" fmla="*/ 359 h 380"/>
              <a:gd name="T6" fmla="*/ 18 w 246"/>
              <a:gd name="T7" fmla="*/ 351 h 380"/>
              <a:gd name="T8" fmla="*/ 20 w 246"/>
              <a:gd name="T9" fmla="*/ 344 h 380"/>
              <a:gd name="T10" fmla="*/ 25 w 246"/>
              <a:gd name="T11" fmla="*/ 333 h 380"/>
              <a:gd name="T12" fmla="*/ 26 w 246"/>
              <a:gd name="T13" fmla="*/ 327 h 380"/>
              <a:gd name="T14" fmla="*/ 25 w 246"/>
              <a:gd name="T15" fmla="*/ 321 h 380"/>
              <a:gd name="T16" fmla="*/ 23 w 246"/>
              <a:gd name="T17" fmla="*/ 314 h 380"/>
              <a:gd name="T18" fmla="*/ 19 w 246"/>
              <a:gd name="T19" fmla="*/ 305 h 380"/>
              <a:gd name="T20" fmla="*/ 13 w 246"/>
              <a:gd name="T21" fmla="*/ 295 h 380"/>
              <a:gd name="T22" fmla="*/ 9 w 246"/>
              <a:gd name="T23" fmla="*/ 285 h 380"/>
              <a:gd name="T24" fmla="*/ 4 w 246"/>
              <a:gd name="T25" fmla="*/ 275 h 380"/>
              <a:gd name="T26" fmla="*/ 1 w 246"/>
              <a:gd name="T27" fmla="*/ 267 h 380"/>
              <a:gd name="T28" fmla="*/ 0 w 246"/>
              <a:gd name="T29" fmla="*/ 259 h 380"/>
              <a:gd name="T30" fmla="*/ 1 w 246"/>
              <a:gd name="T31" fmla="*/ 251 h 380"/>
              <a:gd name="T32" fmla="*/ 2 w 246"/>
              <a:gd name="T33" fmla="*/ 243 h 380"/>
              <a:gd name="T34" fmla="*/ 3 w 246"/>
              <a:gd name="T35" fmla="*/ 236 h 380"/>
              <a:gd name="T36" fmla="*/ 6 w 246"/>
              <a:gd name="T37" fmla="*/ 230 h 380"/>
              <a:gd name="T38" fmla="*/ 11 w 246"/>
              <a:gd name="T39" fmla="*/ 218 h 380"/>
              <a:gd name="T40" fmla="*/ 19 w 246"/>
              <a:gd name="T41" fmla="*/ 207 h 380"/>
              <a:gd name="T42" fmla="*/ 26 w 246"/>
              <a:gd name="T43" fmla="*/ 197 h 380"/>
              <a:gd name="T44" fmla="*/ 34 w 246"/>
              <a:gd name="T45" fmla="*/ 185 h 380"/>
              <a:gd name="T46" fmla="*/ 41 w 246"/>
              <a:gd name="T47" fmla="*/ 173 h 380"/>
              <a:gd name="T48" fmla="*/ 47 w 246"/>
              <a:gd name="T49" fmla="*/ 160 h 380"/>
              <a:gd name="T50" fmla="*/ 26 w 246"/>
              <a:gd name="T51" fmla="*/ 73 h 380"/>
              <a:gd name="T52" fmla="*/ 26 w 246"/>
              <a:gd name="T53" fmla="*/ 50 h 380"/>
              <a:gd name="T54" fmla="*/ 24 w 246"/>
              <a:gd name="T55" fmla="*/ 33 h 380"/>
              <a:gd name="T56" fmla="*/ 24 w 246"/>
              <a:gd name="T57" fmla="*/ 25 h 380"/>
              <a:gd name="T58" fmla="*/ 24 w 246"/>
              <a:gd name="T59" fmla="*/ 16 h 380"/>
              <a:gd name="T60" fmla="*/ 25 w 246"/>
              <a:gd name="T61" fmla="*/ 8 h 380"/>
              <a:gd name="T62" fmla="*/ 26 w 246"/>
              <a:gd name="T63" fmla="*/ 0 h 380"/>
              <a:gd name="T64" fmla="*/ 180 w 246"/>
              <a:gd name="T65" fmla="*/ 0 h 380"/>
              <a:gd name="T66" fmla="*/ 220 w 246"/>
              <a:gd name="T67" fmla="*/ 129 h 380"/>
              <a:gd name="T68" fmla="*/ 220 w 246"/>
              <a:gd name="T69" fmla="*/ 210 h 380"/>
              <a:gd name="T70" fmla="*/ 220 w 246"/>
              <a:gd name="T71" fmla="*/ 220 h 380"/>
              <a:gd name="T72" fmla="*/ 221 w 246"/>
              <a:gd name="T73" fmla="*/ 230 h 380"/>
              <a:gd name="T74" fmla="*/ 223 w 246"/>
              <a:gd name="T75" fmla="*/ 240 h 380"/>
              <a:gd name="T76" fmla="*/ 225 w 246"/>
              <a:gd name="T77" fmla="*/ 250 h 380"/>
              <a:gd name="T78" fmla="*/ 228 w 246"/>
              <a:gd name="T79" fmla="*/ 259 h 380"/>
              <a:gd name="T80" fmla="*/ 234 w 246"/>
              <a:gd name="T81" fmla="*/ 268 h 380"/>
              <a:gd name="T82" fmla="*/ 239 w 246"/>
              <a:gd name="T83" fmla="*/ 278 h 380"/>
              <a:gd name="T84" fmla="*/ 246 w 246"/>
              <a:gd name="T85" fmla="*/ 289 h 380"/>
              <a:gd name="T86" fmla="*/ 224 w 246"/>
              <a:gd name="T87" fmla="*/ 295 h 380"/>
              <a:gd name="T88" fmla="*/ 202 w 246"/>
              <a:gd name="T89" fmla="*/ 302 h 380"/>
              <a:gd name="T90" fmla="*/ 181 w 246"/>
              <a:gd name="T91" fmla="*/ 310 h 380"/>
              <a:gd name="T92" fmla="*/ 160 w 246"/>
              <a:gd name="T93" fmla="*/ 319 h 380"/>
              <a:gd name="T94" fmla="*/ 141 w 246"/>
              <a:gd name="T95" fmla="*/ 328 h 380"/>
              <a:gd name="T96" fmla="*/ 120 w 246"/>
              <a:gd name="T97" fmla="*/ 338 h 380"/>
              <a:gd name="T98" fmla="*/ 100 w 246"/>
              <a:gd name="T99" fmla="*/ 347 h 380"/>
              <a:gd name="T100" fmla="*/ 80 w 246"/>
              <a:gd name="T101" fmla="*/ 358 h 380"/>
              <a:gd name="T102" fmla="*/ 75 w 246"/>
              <a:gd name="T103" fmla="*/ 363 h 380"/>
              <a:gd name="T104" fmla="*/ 69 w 246"/>
              <a:gd name="T105" fmla="*/ 367 h 380"/>
              <a:gd name="T106" fmla="*/ 62 w 246"/>
              <a:gd name="T107" fmla="*/ 372 h 380"/>
              <a:gd name="T108" fmla="*/ 54 w 246"/>
              <a:gd name="T109" fmla="*/ 376 h 380"/>
              <a:gd name="T110" fmla="*/ 46 w 246"/>
              <a:gd name="T111" fmla="*/ 379 h 380"/>
              <a:gd name="T112" fmla="*/ 36 w 246"/>
              <a:gd name="T113" fmla="*/ 380 h 380"/>
              <a:gd name="T114" fmla="*/ 31 w 246"/>
              <a:gd name="T115" fmla="*/ 380 h 380"/>
              <a:gd name="T116" fmla="*/ 25 w 246"/>
              <a:gd name="T117" fmla="*/ 379 h 380"/>
              <a:gd name="T118" fmla="*/ 20 w 246"/>
              <a:gd name="T119" fmla="*/ 378 h 380"/>
              <a:gd name="T120" fmla="*/ 13 w 246"/>
              <a:gd name="T121" fmla="*/ 37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23" name="Freeform 267">
            <a:extLst>
              <a:ext uri="{FF2B5EF4-FFF2-40B4-BE49-F238E27FC236}">
                <a16:creationId xmlns="" xmlns:a16="http://schemas.microsoft.com/office/drawing/2014/main" id="{8A9D66C9-A9B0-4EA9-A941-099774C56208}"/>
              </a:ext>
            </a:extLst>
          </p:cNvPr>
          <p:cNvSpPr>
            <a:spLocks/>
          </p:cNvSpPr>
          <p:nvPr>
            <p:custDataLst>
              <p:tags r:id="rId193"/>
            </p:custDataLst>
          </p:nvPr>
        </p:nvSpPr>
        <p:spPr bwMode="auto">
          <a:xfrm>
            <a:off x="3541184" y="4023161"/>
            <a:ext cx="106362" cy="60716"/>
          </a:xfrm>
          <a:custGeom>
            <a:avLst/>
            <a:gdLst>
              <a:gd name="T0" fmla="*/ 7 w 193"/>
              <a:gd name="T1" fmla="*/ 20 h 38"/>
              <a:gd name="T2" fmla="*/ 38 w 193"/>
              <a:gd name="T3" fmla="*/ 11 h 38"/>
              <a:gd name="T4" fmla="*/ 67 w 193"/>
              <a:gd name="T5" fmla="*/ 5 h 38"/>
              <a:gd name="T6" fmla="*/ 80 w 193"/>
              <a:gd name="T7" fmla="*/ 3 h 38"/>
              <a:gd name="T8" fmla="*/ 94 w 193"/>
              <a:gd name="T9" fmla="*/ 2 h 38"/>
              <a:gd name="T10" fmla="*/ 110 w 193"/>
              <a:gd name="T11" fmla="*/ 1 h 38"/>
              <a:gd name="T12" fmla="*/ 126 w 193"/>
              <a:gd name="T13" fmla="*/ 0 h 38"/>
              <a:gd name="T14" fmla="*/ 138 w 193"/>
              <a:gd name="T15" fmla="*/ 1 h 38"/>
              <a:gd name="T16" fmla="*/ 149 w 193"/>
              <a:gd name="T17" fmla="*/ 1 h 38"/>
              <a:gd name="T18" fmla="*/ 160 w 193"/>
              <a:gd name="T19" fmla="*/ 2 h 38"/>
              <a:gd name="T20" fmla="*/ 169 w 193"/>
              <a:gd name="T21" fmla="*/ 4 h 38"/>
              <a:gd name="T22" fmla="*/ 178 w 193"/>
              <a:gd name="T23" fmla="*/ 6 h 38"/>
              <a:gd name="T24" fmla="*/ 184 w 193"/>
              <a:gd name="T25" fmla="*/ 11 h 38"/>
              <a:gd name="T26" fmla="*/ 187 w 193"/>
              <a:gd name="T27" fmla="*/ 13 h 38"/>
              <a:gd name="T28" fmla="*/ 189 w 193"/>
              <a:gd name="T29" fmla="*/ 18 h 38"/>
              <a:gd name="T30" fmla="*/ 191 w 193"/>
              <a:gd name="T31" fmla="*/ 21 h 38"/>
              <a:gd name="T32" fmla="*/ 193 w 193"/>
              <a:gd name="T33" fmla="*/ 26 h 38"/>
              <a:gd name="T34" fmla="*/ 183 w 193"/>
              <a:gd name="T35" fmla="*/ 27 h 38"/>
              <a:gd name="T36" fmla="*/ 173 w 193"/>
              <a:gd name="T37" fmla="*/ 28 h 38"/>
              <a:gd name="T38" fmla="*/ 165 w 193"/>
              <a:gd name="T39" fmla="*/ 28 h 38"/>
              <a:gd name="T40" fmla="*/ 156 w 193"/>
              <a:gd name="T41" fmla="*/ 28 h 38"/>
              <a:gd name="T42" fmla="*/ 138 w 193"/>
              <a:gd name="T43" fmla="*/ 27 h 38"/>
              <a:gd name="T44" fmla="*/ 120 w 193"/>
              <a:gd name="T45" fmla="*/ 26 h 38"/>
              <a:gd name="T46" fmla="*/ 103 w 193"/>
              <a:gd name="T47" fmla="*/ 26 h 38"/>
              <a:gd name="T48" fmla="*/ 89 w 193"/>
              <a:gd name="T49" fmla="*/ 28 h 38"/>
              <a:gd name="T50" fmla="*/ 76 w 193"/>
              <a:gd name="T51" fmla="*/ 30 h 38"/>
              <a:gd name="T52" fmla="*/ 63 w 193"/>
              <a:gd name="T53" fmla="*/ 32 h 38"/>
              <a:gd name="T54" fmla="*/ 49 w 193"/>
              <a:gd name="T55" fmla="*/ 34 h 38"/>
              <a:gd name="T56" fmla="*/ 35 w 193"/>
              <a:gd name="T57" fmla="*/ 36 h 38"/>
              <a:gd name="T58" fmla="*/ 19 w 193"/>
              <a:gd name="T59" fmla="*/ 37 h 38"/>
              <a:gd name="T60" fmla="*/ 0 w 193"/>
              <a:gd name="T61" fmla="*/ 38 h 38"/>
              <a:gd name="T62" fmla="*/ 0 w 193"/>
              <a:gd name="T63" fmla="*/ 33 h 38"/>
              <a:gd name="T64" fmla="*/ 1 w 193"/>
              <a:gd name="T65" fmla="*/ 29 h 38"/>
              <a:gd name="T66" fmla="*/ 3 w 193"/>
              <a:gd name="T67" fmla="*/ 24 h 38"/>
              <a:gd name="T68" fmla="*/ 7 w 193"/>
              <a:gd name="T69" fmla="*/ 2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24" name="Freeform 268">
            <a:extLst>
              <a:ext uri="{FF2B5EF4-FFF2-40B4-BE49-F238E27FC236}">
                <a16:creationId xmlns="" xmlns:a16="http://schemas.microsoft.com/office/drawing/2014/main" id="{3D53D2B3-4E41-4249-A260-A0A3A2708CD6}"/>
              </a:ext>
            </a:extLst>
          </p:cNvPr>
          <p:cNvSpPr>
            <a:spLocks/>
          </p:cNvSpPr>
          <p:nvPr>
            <p:custDataLst>
              <p:tags r:id="rId194"/>
            </p:custDataLst>
          </p:nvPr>
        </p:nvSpPr>
        <p:spPr bwMode="auto">
          <a:xfrm>
            <a:off x="4059457" y="4103569"/>
            <a:ext cx="52214" cy="160816"/>
          </a:xfrm>
          <a:custGeom>
            <a:avLst/>
            <a:gdLst>
              <a:gd name="T0" fmla="*/ 53 w 99"/>
              <a:gd name="T1" fmla="*/ 12 h 301"/>
              <a:gd name="T2" fmla="*/ 59 w 99"/>
              <a:gd name="T3" fmla="*/ 12 h 301"/>
              <a:gd name="T4" fmla="*/ 59 w 99"/>
              <a:gd name="T5" fmla="*/ 19 h 301"/>
              <a:gd name="T6" fmla="*/ 62 w 99"/>
              <a:gd name="T7" fmla="*/ 26 h 301"/>
              <a:gd name="T8" fmla="*/ 63 w 99"/>
              <a:gd name="T9" fmla="*/ 33 h 301"/>
              <a:gd name="T10" fmla="*/ 66 w 99"/>
              <a:gd name="T11" fmla="*/ 42 h 301"/>
              <a:gd name="T12" fmla="*/ 72 w 99"/>
              <a:gd name="T13" fmla="*/ 58 h 301"/>
              <a:gd name="T14" fmla="*/ 79 w 99"/>
              <a:gd name="T15" fmla="*/ 75 h 301"/>
              <a:gd name="T16" fmla="*/ 87 w 99"/>
              <a:gd name="T17" fmla="*/ 93 h 301"/>
              <a:gd name="T18" fmla="*/ 93 w 99"/>
              <a:gd name="T19" fmla="*/ 111 h 301"/>
              <a:gd name="T20" fmla="*/ 96 w 99"/>
              <a:gd name="T21" fmla="*/ 120 h 301"/>
              <a:gd name="T22" fmla="*/ 98 w 99"/>
              <a:gd name="T23" fmla="*/ 129 h 301"/>
              <a:gd name="T24" fmla="*/ 99 w 99"/>
              <a:gd name="T25" fmla="*/ 138 h 301"/>
              <a:gd name="T26" fmla="*/ 99 w 99"/>
              <a:gd name="T27" fmla="*/ 148 h 301"/>
              <a:gd name="T28" fmla="*/ 99 w 99"/>
              <a:gd name="T29" fmla="*/ 289 h 301"/>
              <a:gd name="T30" fmla="*/ 89 w 99"/>
              <a:gd name="T31" fmla="*/ 290 h 301"/>
              <a:gd name="T32" fmla="*/ 80 w 99"/>
              <a:gd name="T33" fmla="*/ 293 h 301"/>
              <a:gd name="T34" fmla="*/ 73 w 99"/>
              <a:gd name="T35" fmla="*/ 297 h 301"/>
              <a:gd name="T36" fmla="*/ 66 w 99"/>
              <a:gd name="T37" fmla="*/ 301 h 301"/>
              <a:gd name="T38" fmla="*/ 59 w 99"/>
              <a:gd name="T39" fmla="*/ 290 h 301"/>
              <a:gd name="T40" fmla="*/ 54 w 99"/>
              <a:gd name="T41" fmla="*/ 280 h 301"/>
              <a:gd name="T42" fmla="*/ 48 w 99"/>
              <a:gd name="T43" fmla="*/ 271 h 301"/>
              <a:gd name="T44" fmla="*/ 45 w 99"/>
              <a:gd name="T45" fmla="*/ 262 h 301"/>
              <a:gd name="T46" fmla="*/ 43 w 99"/>
              <a:gd name="T47" fmla="*/ 252 h 301"/>
              <a:gd name="T48" fmla="*/ 41 w 99"/>
              <a:gd name="T49" fmla="*/ 242 h 301"/>
              <a:gd name="T50" fmla="*/ 40 w 99"/>
              <a:gd name="T51" fmla="*/ 232 h 301"/>
              <a:gd name="T52" fmla="*/ 40 w 99"/>
              <a:gd name="T53" fmla="*/ 222 h 301"/>
              <a:gd name="T54" fmla="*/ 40 w 99"/>
              <a:gd name="T55" fmla="*/ 141 h 301"/>
              <a:gd name="T56" fmla="*/ 0 w 99"/>
              <a:gd name="T57" fmla="*/ 6 h 301"/>
              <a:gd name="T58" fmla="*/ 5 w 99"/>
              <a:gd name="T59" fmla="*/ 2 h 301"/>
              <a:gd name="T60" fmla="*/ 10 w 99"/>
              <a:gd name="T61" fmla="*/ 0 h 301"/>
              <a:gd name="T62" fmla="*/ 14 w 99"/>
              <a:gd name="T63" fmla="*/ 0 h 301"/>
              <a:gd name="T64" fmla="*/ 20 w 99"/>
              <a:gd name="T65" fmla="*/ 0 h 301"/>
              <a:gd name="T66" fmla="*/ 26 w 99"/>
              <a:gd name="T67" fmla="*/ 0 h 301"/>
              <a:gd name="T68" fmla="*/ 32 w 99"/>
              <a:gd name="T69" fmla="*/ 2 h 301"/>
              <a:gd name="T70" fmla="*/ 37 w 99"/>
              <a:gd name="T71" fmla="*/ 4 h 301"/>
              <a:gd name="T72" fmla="*/ 41 w 99"/>
              <a:gd name="T73" fmla="*/ 6 h 301"/>
              <a:gd name="T74" fmla="*/ 47 w 99"/>
              <a:gd name="T75" fmla="*/ 10 h 301"/>
              <a:gd name="T76" fmla="*/ 53 w 99"/>
              <a:gd name="T77" fmla="*/ 12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25" name="Freeform 269">
            <a:extLst>
              <a:ext uri="{FF2B5EF4-FFF2-40B4-BE49-F238E27FC236}">
                <a16:creationId xmlns="" xmlns:a16="http://schemas.microsoft.com/office/drawing/2014/main" id="{5BEF9BA6-B753-4E99-9AE2-DAC4EC645149}"/>
              </a:ext>
            </a:extLst>
          </p:cNvPr>
          <p:cNvSpPr>
            <a:spLocks/>
          </p:cNvSpPr>
          <p:nvPr>
            <p:custDataLst>
              <p:tags r:id="rId195"/>
            </p:custDataLst>
          </p:nvPr>
        </p:nvSpPr>
        <p:spPr bwMode="auto">
          <a:xfrm>
            <a:off x="4090397" y="4064186"/>
            <a:ext cx="92824" cy="195276"/>
          </a:xfrm>
          <a:custGeom>
            <a:avLst/>
            <a:gdLst>
              <a:gd name="T0" fmla="*/ 0 w 173"/>
              <a:gd name="T1" fmla="*/ 80 h 357"/>
              <a:gd name="T2" fmla="*/ 9 w 173"/>
              <a:gd name="T3" fmla="*/ 72 h 357"/>
              <a:gd name="T4" fmla="*/ 17 w 173"/>
              <a:gd name="T5" fmla="*/ 65 h 357"/>
              <a:gd name="T6" fmla="*/ 25 w 173"/>
              <a:gd name="T7" fmla="*/ 60 h 357"/>
              <a:gd name="T8" fmla="*/ 33 w 173"/>
              <a:gd name="T9" fmla="*/ 56 h 357"/>
              <a:gd name="T10" fmla="*/ 40 w 173"/>
              <a:gd name="T11" fmla="*/ 50 h 357"/>
              <a:gd name="T12" fmla="*/ 67 w 173"/>
              <a:gd name="T13" fmla="*/ 50 h 357"/>
              <a:gd name="T14" fmla="*/ 94 w 173"/>
              <a:gd name="T15" fmla="*/ 0 h 357"/>
              <a:gd name="T16" fmla="*/ 101 w 173"/>
              <a:gd name="T17" fmla="*/ 3 h 357"/>
              <a:gd name="T18" fmla="*/ 108 w 173"/>
              <a:gd name="T19" fmla="*/ 7 h 357"/>
              <a:gd name="T20" fmla="*/ 116 w 173"/>
              <a:gd name="T21" fmla="*/ 12 h 357"/>
              <a:gd name="T22" fmla="*/ 123 w 173"/>
              <a:gd name="T23" fmla="*/ 18 h 357"/>
              <a:gd name="T24" fmla="*/ 131 w 173"/>
              <a:gd name="T25" fmla="*/ 22 h 357"/>
              <a:gd name="T26" fmla="*/ 139 w 173"/>
              <a:gd name="T27" fmla="*/ 27 h 357"/>
              <a:gd name="T28" fmla="*/ 145 w 173"/>
              <a:gd name="T29" fmla="*/ 29 h 357"/>
              <a:gd name="T30" fmla="*/ 153 w 173"/>
              <a:gd name="T31" fmla="*/ 30 h 357"/>
              <a:gd name="T32" fmla="*/ 163 w 173"/>
              <a:gd name="T33" fmla="*/ 39 h 357"/>
              <a:gd name="T34" fmla="*/ 173 w 173"/>
              <a:gd name="T35" fmla="*/ 50 h 357"/>
              <a:gd name="T36" fmla="*/ 173 w 173"/>
              <a:gd name="T37" fmla="*/ 61 h 357"/>
              <a:gd name="T38" fmla="*/ 173 w 173"/>
              <a:gd name="T39" fmla="*/ 69 h 357"/>
              <a:gd name="T40" fmla="*/ 173 w 173"/>
              <a:gd name="T41" fmla="*/ 80 h 357"/>
              <a:gd name="T42" fmla="*/ 173 w 173"/>
              <a:gd name="T43" fmla="*/ 98 h 357"/>
              <a:gd name="T44" fmla="*/ 173 w 173"/>
              <a:gd name="T45" fmla="*/ 109 h 357"/>
              <a:gd name="T46" fmla="*/ 171 w 173"/>
              <a:gd name="T47" fmla="*/ 118 h 357"/>
              <a:gd name="T48" fmla="*/ 167 w 173"/>
              <a:gd name="T49" fmla="*/ 127 h 357"/>
              <a:gd name="T50" fmla="*/ 163 w 173"/>
              <a:gd name="T51" fmla="*/ 135 h 357"/>
              <a:gd name="T52" fmla="*/ 152 w 173"/>
              <a:gd name="T53" fmla="*/ 151 h 357"/>
              <a:gd name="T54" fmla="*/ 140 w 173"/>
              <a:gd name="T55" fmla="*/ 167 h 357"/>
              <a:gd name="T56" fmla="*/ 128 w 173"/>
              <a:gd name="T57" fmla="*/ 183 h 357"/>
              <a:gd name="T58" fmla="*/ 117 w 173"/>
              <a:gd name="T59" fmla="*/ 200 h 357"/>
              <a:gd name="T60" fmla="*/ 112 w 173"/>
              <a:gd name="T61" fmla="*/ 209 h 357"/>
              <a:gd name="T62" fmla="*/ 109 w 173"/>
              <a:gd name="T63" fmla="*/ 219 h 357"/>
              <a:gd name="T64" fmla="*/ 108 w 173"/>
              <a:gd name="T65" fmla="*/ 229 h 357"/>
              <a:gd name="T66" fmla="*/ 107 w 173"/>
              <a:gd name="T67" fmla="*/ 240 h 357"/>
              <a:gd name="T68" fmla="*/ 108 w 173"/>
              <a:gd name="T69" fmla="*/ 273 h 357"/>
              <a:gd name="T70" fmla="*/ 109 w 173"/>
              <a:gd name="T71" fmla="*/ 293 h 357"/>
              <a:gd name="T72" fmla="*/ 110 w 173"/>
              <a:gd name="T73" fmla="*/ 302 h 357"/>
              <a:gd name="T74" fmla="*/ 109 w 173"/>
              <a:gd name="T75" fmla="*/ 313 h 357"/>
              <a:gd name="T76" fmla="*/ 109 w 173"/>
              <a:gd name="T77" fmla="*/ 327 h 357"/>
              <a:gd name="T78" fmla="*/ 107 w 173"/>
              <a:gd name="T79" fmla="*/ 345 h 357"/>
              <a:gd name="T80" fmla="*/ 97 w 173"/>
              <a:gd name="T81" fmla="*/ 346 h 357"/>
              <a:gd name="T82" fmla="*/ 88 w 173"/>
              <a:gd name="T83" fmla="*/ 347 h 357"/>
              <a:gd name="T84" fmla="*/ 79 w 173"/>
              <a:gd name="T85" fmla="*/ 349 h 357"/>
              <a:gd name="T86" fmla="*/ 71 w 173"/>
              <a:gd name="T87" fmla="*/ 351 h 357"/>
              <a:gd name="T88" fmla="*/ 63 w 173"/>
              <a:gd name="T89" fmla="*/ 353 h 357"/>
              <a:gd name="T90" fmla="*/ 55 w 173"/>
              <a:gd name="T91" fmla="*/ 355 h 357"/>
              <a:gd name="T92" fmla="*/ 48 w 173"/>
              <a:gd name="T93" fmla="*/ 357 h 357"/>
              <a:gd name="T94" fmla="*/ 40 w 173"/>
              <a:gd name="T95" fmla="*/ 357 h 357"/>
              <a:gd name="T96" fmla="*/ 40 w 173"/>
              <a:gd name="T97" fmla="*/ 216 h 357"/>
              <a:gd name="T98" fmla="*/ 40 w 173"/>
              <a:gd name="T99" fmla="*/ 206 h 357"/>
              <a:gd name="T100" fmla="*/ 39 w 173"/>
              <a:gd name="T101" fmla="*/ 197 h 357"/>
              <a:gd name="T102" fmla="*/ 37 w 173"/>
              <a:gd name="T103" fmla="*/ 188 h 357"/>
              <a:gd name="T104" fmla="*/ 34 w 173"/>
              <a:gd name="T105" fmla="*/ 179 h 357"/>
              <a:gd name="T106" fmla="*/ 28 w 173"/>
              <a:gd name="T107" fmla="*/ 161 h 357"/>
              <a:gd name="T108" fmla="*/ 20 w 173"/>
              <a:gd name="T109" fmla="*/ 143 h 357"/>
              <a:gd name="T110" fmla="*/ 13 w 173"/>
              <a:gd name="T111" fmla="*/ 126 h 357"/>
              <a:gd name="T112" fmla="*/ 7 w 173"/>
              <a:gd name="T113" fmla="*/ 110 h 357"/>
              <a:gd name="T114" fmla="*/ 4 w 173"/>
              <a:gd name="T115" fmla="*/ 101 h 357"/>
              <a:gd name="T116" fmla="*/ 3 w 173"/>
              <a:gd name="T117" fmla="*/ 94 h 357"/>
              <a:gd name="T118" fmla="*/ 0 w 173"/>
              <a:gd name="T119" fmla="*/ 87 h 357"/>
              <a:gd name="T120" fmla="*/ 0 w 173"/>
              <a:gd name="T121" fmla="*/ 8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26" name="Freeform 270">
            <a:extLst>
              <a:ext uri="{FF2B5EF4-FFF2-40B4-BE49-F238E27FC236}">
                <a16:creationId xmlns="" xmlns:a16="http://schemas.microsoft.com/office/drawing/2014/main" id="{0AED3949-52FA-4E76-90AC-B17A0E732003}"/>
              </a:ext>
            </a:extLst>
          </p:cNvPr>
          <p:cNvSpPr>
            <a:spLocks/>
          </p:cNvSpPr>
          <p:nvPr>
            <p:custDataLst>
              <p:tags r:id="rId196"/>
            </p:custDataLst>
          </p:nvPr>
        </p:nvSpPr>
        <p:spPr bwMode="auto">
          <a:xfrm>
            <a:off x="4978037" y="5309686"/>
            <a:ext cx="30942" cy="62357"/>
          </a:xfrm>
          <a:custGeom>
            <a:avLst/>
            <a:gdLst>
              <a:gd name="T0" fmla="*/ 10 w 50"/>
              <a:gd name="T1" fmla="*/ 0 h 74"/>
              <a:gd name="T2" fmla="*/ 6 w 50"/>
              <a:gd name="T3" fmla="*/ 14 h 74"/>
              <a:gd name="T4" fmla="*/ 2 w 50"/>
              <a:gd name="T5" fmla="*/ 26 h 74"/>
              <a:gd name="T6" fmla="*/ 0 w 50"/>
              <a:gd name="T7" fmla="*/ 36 h 74"/>
              <a:gd name="T8" fmla="*/ 0 w 50"/>
              <a:gd name="T9" fmla="*/ 43 h 74"/>
              <a:gd name="T10" fmla="*/ 0 w 50"/>
              <a:gd name="T11" fmla="*/ 50 h 74"/>
              <a:gd name="T12" fmla="*/ 2 w 50"/>
              <a:gd name="T13" fmla="*/ 56 h 74"/>
              <a:gd name="T14" fmla="*/ 6 w 50"/>
              <a:gd name="T15" fmla="*/ 61 h 74"/>
              <a:gd name="T16" fmla="*/ 10 w 50"/>
              <a:gd name="T17" fmla="*/ 68 h 74"/>
              <a:gd name="T18" fmla="*/ 50 w 50"/>
              <a:gd name="T19" fmla="*/ 74 h 74"/>
              <a:gd name="T20" fmla="*/ 50 w 50"/>
              <a:gd name="T21" fmla="*/ 51 h 74"/>
              <a:gd name="T22" fmla="*/ 50 w 50"/>
              <a:gd name="T23" fmla="*/ 34 h 74"/>
              <a:gd name="T24" fmla="*/ 50 w 50"/>
              <a:gd name="T25" fmla="*/ 19 h 74"/>
              <a:gd name="T26" fmla="*/ 50 w 50"/>
              <a:gd name="T27" fmla="*/ 0 h 74"/>
              <a:gd name="T28" fmla="*/ 38 w 50"/>
              <a:gd name="T29" fmla="*/ 0 h 74"/>
              <a:gd name="T30" fmla="*/ 25 w 50"/>
              <a:gd name="T31" fmla="*/ 0 h 74"/>
              <a:gd name="T32" fmla="*/ 14 w 50"/>
              <a:gd name="T33" fmla="*/ 0 h 74"/>
              <a:gd name="T34" fmla="*/ 10 w 50"/>
              <a:gd name="T3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chemeClr val="accent2"/>
          </a:solidFill>
          <a:ln w="9525" cmpd="sng">
            <a:solidFill>
              <a:srgbClr val="FFFFFF"/>
            </a:solidFill>
            <a:prstDash val="solid"/>
            <a:round/>
            <a:headEnd/>
            <a:tailEnd/>
          </a:ln>
        </p:spPr>
        <p:txBody>
          <a:bodyPr/>
          <a:lstStyle/>
          <a:p>
            <a:endParaRPr lang="en-GB" dirty="0"/>
          </a:p>
        </p:txBody>
      </p:sp>
      <p:sp>
        <p:nvSpPr>
          <p:cNvPr id="327" name="Freeform 271">
            <a:extLst>
              <a:ext uri="{FF2B5EF4-FFF2-40B4-BE49-F238E27FC236}">
                <a16:creationId xmlns="" xmlns:a16="http://schemas.microsoft.com/office/drawing/2014/main" id="{0BCB7B76-D3CC-44CC-AF25-2E69C704D486}"/>
              </a:ext>
            </a:extLst>
          </p:cNvPr>
          <p:cNvSpPr>
            <a:spLocks/>
          </p:cNvSpPr>
          <p:nvPr>
            <p:custDataLst>
              <p:tags r:id="rId197"/>
            </p:custDataLst>
          </p:nvPr>
        </p:nvSpPr>
        <p:spPr bwMode="auto">
          <a:xfrm>
            <a:off x="4850402" y="5409786"/>
            <a:ext cx="75419" cy="59076"/>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28" name="Freeform 272">
            <a:extLst>
              <a:ext uri="{FF2B5EF4-FFF2-40B4-BE49-F238E27FC236}">
                <a16:creationId xmlns="" xmlns:a16="http://schemas.microsoft.com/office/drawing/2014/main" id="{A25788B4-2565-441F-85E1-4A3F75335AA8}"/>
              </a:ext>
            </a:extLst>
          </p:cNvPr>
          <p:cNvSpPr>
            <a:spLocks/>
          </p:cNvSpPr>
          <p:nvPr>
            <p:custDataLst>
              <p:tags r:id="rId198"/>
            </p:custDataLst>
          </p:nvPr>
        </p:nvSpPr>
        <p:spPr bwMode="auto">
          <a:xfrm>
            <a:off x="7551994" y="3046781"/>
            <a:ext cx="146973" cy="177226"/>
          </a:xfrm>
          <a:custGeom>
            <a:avLst/>
            <a:gdLst>
              <a:gd name="T0" fmla="*/ 240 w 266"/>
              <a:gd name="T1" fmla="*/ 9 h 326"/>
              <a:gd name="T2" fmla="*/ 240 w 266"/>
              <a:gd name="T3" fmla="*/ 28 h 326"/>
              <a:gd name="T4" fmla="*/ 249 w 266"/>
              <a:gd name="T5" fmla="*/ 42 h 326"/>
              <a:gd name="T6" fmla="*/ 245 w 266"/>
              <a:gd name="T7" fmla="*/ 55 h 326"/>
              <a:gd name="T8" fmla="*/ 225 w 266"/>
              <a:gd name="T9" fmla="*/ 50 h 326"/>
              <a:gd name="T10" fmla="*/ 210 w 266"/>
              <a:gd name="T11" fmla="*/ 51 h 326"/>
              <a:gd name="T12" fmla="*/ 195 w 266"/>
              <a:gd name="T13" fmla="*/ 65 h 326"/>
              <a:gd name="T14" fmla="*/ 193 w 266"/>
              <a:gd name="T15" fmla="*/ 78 h 326"/>
              <a:gd name="T16" fmla="*/ 198 w 266"/>
              <a:gd name="T17" fmla="*/ 89 h 326"/>
              <a:gd name="T18" fmla="*/ 215 w 266"/>
              <a:gd name="T19" fmla="*/ 110 h 326"/>
              <a:gd name="T20" fmla="*/ 224 w 266"/>
              <a:gd name="T21" fmla="*/ 122 h 326"/>
              <a:gd name="T22" fmla="*/ 225 w 266"/>
              <a:gd name="T23" fmla="*/ 133 h 326"/>
              <a:gd name="T24" fmla="*/ 222 w 266"/>
              <a:gd name="T25" fmla="*/ 143 h 326"/>
              <a:gd name="T26" fmla="*/ 207 w 266"/>
              <a:gd name="T27" fmla="*/ 154 h 326"/>
              <a:gd name="T28" fmla="*/ 200 w 266"/>
              <a:gd name="T29" fmla="*/ 160 h 326"/>
              <a:gd name="T30" fmla="*/ 181 w 266"/>
              <a:gd name="T31" fmla="*/ 166 h 326"/>
              <a:gd name="T32" fmla="*/ 164 w 266"/>
              <a:gd name="T33" fmla="*/ 178 h 326"/>
              <a:gd name="T34" fmla="*/ 160 w 266"/>
              <a:gd name="T35" fmla="*/ 191 h 326"/>
              <a:gd name="T36" fmla="*/ 173 w 266"/>
              <a:gd name="T37" fmla="*/ 207 h 326"/>
              <a:gd name="T38" fmla="*/ 189 w 266"/>
              <a:gd name="T39" fmla="*/ 215 h 326"/>
              <a:gd name="T40" fmla="*/ 214 w 266"/>
              <a:gd name="T41" fmla="*/ 227 h 326"/>
              <a:gd name="T42" fmla="*/ 245 w 266"/>
              <a:gd name="T43" fmla="*/ 259 h 326"/>
              <a:gd name="T44" fmla="*/ 251 w 266"/>
              <a:gd name="T45" fmla="*/ 285 h 326"/>
              <a:gd name="T46" fmla="*/ 220 w 266"/>
              <a:gd name="T47" fmla="*/ 291 h 326"/>
              <a:gd name="T48" fmla="*/ 207 w 266"/>
              <a:gd name="T49" fmla="*/ 298 h 326"/>
              <a:gd name="T50" fmla="*/ 198 w 266"/>
              <a:gd name="T51" fmla="*/ 312 h 326"/>
              <a:gd name="T52" fmla="*/ 189 w 266"/>
              <a:gd name="T53" fmla="*/ 326 h 326"/>
              <a:gd name="T54" fmla="*/ 170 w 266"/>
              <a:gd name="T55" fmla="*/ 321 h 326"/>
              <a:gd name="T56" fmla="*/ 167 w 266"/>
              <a:gd name="T57" fmla="*/ 316 h 326"/>
              <a:gd name="T58" fmla="*/ 154 w 266"/>
              <a:gd name="T59" fmla="*/ 310 h 326"/>
              <a:gd name="T60" fmla="*/ 139 w 266"/>
              <a:gd name="T61" fmla="*/ 301 h 326"/>
              <a:gd name="T62" fmla="*/ 126 w 266"/>
              <a:gd name="T63" fmla="*/ 295 h 326"/>
              <a:gd name="T64" fmla="*/ 98 w 266"/>
              <a:gd name="T65" fmla="*/ 290 h 326"/>
              <a:gd name="T66" fmla="*/ 63 w 266"/>
              <a:gd name="T67" fmla="*/ 277 h 326"/>
              <a:gd name="T68" fmla="*/ 54 w 266"/>
              <a:gd name="T69" fmla="*/ 268 h 326"/>
              <a:gd name="T70" fmla="*/ 55 w 266"/>
              <a:gd name="T71" fmla="*/ 256 h 326"/>
              <a:gd name="T72" fmla="*/ 70 w 266"/>
              <a:gd name="T73" fmla="*/ 244 h 326"/>
              <a:gd name="T74" fmla="*/ 59 w 266"/>
              <a:gd name="T75" fmla="*/ 221 h 326"/>
              <a:gd name="T76" fmla="*/ 34 w 266"/>
              <a:gd name="T77" fmla="*/ 194 h 326"/>
              <a:gd name="T78" fmla="*/ 13 w 266"/>
              <a:gd name="T79" fmla="*/ 182 h 326"/>
              <a:gd name="T80" fmla="*/ 4 w 266"/>
              <a:gd name="T81" fmla="*/ 171 h 326"/>
              <a:gd name="T82" fmla="*/ 19 w 266"/>
              <a:gd name="T83" fmla="*/ 152 h 326"/>
              <a:gd name="T84" fmla="*/ 54 w 266"/>
              <a:gd name="T85" fmla="*/ 124 h 326"/>
              <a:gd name="T86" fmla="*/ 73 w 266"/>
              <a:gd name="T87" fmla="*/ 105 h 326"/>
              <a:gd name="T88" fmla="*/ 88 w 266"/>
              <a:gd name="T89" fmla="*/ 92 h 326"/>
              <a:gd name="T90" fmla="*/ 110 w 266"/>
              <a:gd name="T91" fmla="*/ 88 h 326"/>
              <a:gd name="T92" fmla="*/ 144 w 266"/>
              <a:gd name="T93" fmla="*/ 70 h 326"/>
              <a:gd name="T94" fmla="*/ 168 w 266"/>
              <a:gd name="T95" fmla="*/ 46 h 326"/>
              <a:gd name="T96" fmla="*/ 191 w 266"/>
              <a:gd name="T97" fmla="*/ 21 h 326"/>
              <a:gd name="T98" fmla="*/ 220 w 266"/>
              <a:gd name="T99" fmla="*/ 4 h 326"/>
              <a:gd name="T100" fmla="*/ 238 w 266"/>
              <a:gd name="T101"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29" name="Freeform 273">
            <a:extLst>
              <a:ext uri="{FF2B5EF4-FFF2-40B4-BE49-F238E27FC236}">
                <a16:creationId xmlns="" xmlns:a16="http://schemas.microsoft.com/office/drawing/2014/main" id="{0942FA88-0B43-484A-AD4C-D4082A09A21A}"/>
              </a:ext>
            </a:extLst>
          </p:cNvPr>
          <p:cNvSpPr>
            <a:spLocks/>
          </p:cNvSpPr>
          <p:nvPr>
            <p:custDataLst>
              <p:tags r:id="rId199"/>
            </p:custDataLst>
          </p:nvPr>
        </p:nvSpPr>
        <p:spPr bwMode="auto">
          <a:xfrm>
            <a:off x="6420691" y="3475076"/>
            <a:ext cx="251401" cy="127996"/>
          </a:xfrm>
          <a:custGeom>
            <a:avLst/>
            <a:gdLst>
              <a:gd name="T0" fmla="*/ 86 w 471"/>
              <a:gd name="T1" fmla="*/ 0 h 237"/>
              <a:gd name="T2" fmla="*/ 92 w 471"/>
              <a:gd name="T3" fmla="*/ 7 h 237"/>
              <a:gd name="T4" fmla="*/ 102 w 471"/>
              <a:gd name="T5" fmla="*/ 13 h 237"/>
              <a:gd name="T6" fmla="*/ 125 w 471"/>
              <a:gd name="T7" fmla="*/ 23 h 237"/>
              <a:gd name="T8" fmla="*/ 159 w 471"/>
              <a:gd name="T9" fmla="*/ 37 h 237"/>
              <a:gd name="T10" fmla="*/ 223 w 471"/>
              <a:gd name="T11" fmla="*/ 77 h 237"/>
              <a:gd name="T12" fmla="*/ 253 w 471"/>
              <a:gd name="T13" fmla="*/ 97 h 237"/>
              <a:gd name="T14" fmla="*/ 283 w 471"/>
              <a:gd name="T15" fmla="*/ 113 h 237"/>
              <a:gd name="T16" fmla="*/ 316 w 471"/>
              <a:gd name="T17" fmla="*/ 127 h 237"/>
              <a:gd name="T18" fmla="*/ 355 w 471"/>
              <a:gd name="T19" fmla="*/ 139 h 237"/>
              <a:gd name="T20" fmla="*/ 399 w 471"/>
              <a:gd name="T21" fmla="*/ 146 h 237"/>
              <a:gd name="T22" fmla="*/ 451 w 471"/>
              <a:gd name="T23" fmla="*/ 148 h 237"/>
              <a:gd name="T24" fmla="*/ 452 w 471"/>
              <a:gd name="T25" fmla="*/ 187 h 237"/>
              <a:gd name="T26" fmla="*/ 459 w 471"/>
              <a:gd name="T27" fmla="*/ 211 h 237"/>
              <a:gd name="T28" fmla="*/ 467 w 471"/>
              <a:gd name="T29" fmla="*/ 227 h 237"/>
              <a:gd name="T30" fmla="*/ 467 w 471"/>
              <a:gd name="T31" fmla="*/ 236 h 237"/>
              <a:gd name="T32" fmla="*/ 451 w 471"/>
              <a:gd name="T33" fmla="*/ 236 h 237"/>
              <a:gd name="T34" fmla="*/ 416 w 471"/>
              <a:gd name="T35" fmla="*/ 231 h 237"/>
              <a:gd name="T36" fmla="*/ 362 w 471"/>
              <a:gd name="T37" fmla="*/ 219 h 237"/>
              <a:gd name="T38" fmla="*/ 315 w 471"/>
              <a:gd name="T39" fmla="*/ 207 h 237"/>
              <a:gd name="T40" fmla="*/ 294 w 471"/>
              <a:gd name="T41" fmla="*/ 203 h 237"/>
              <a:gd name="T42" fmla="*/ 287 w 471"/>
              <a:gd name="T43" fmla="*/ 199 h 237"/>
              <a:gd name="T44" fmla="*/ 277 w 471"/>
              <a:gd name="T45" fmla="*/ 190 h 237"/>
              <a:gd name="T46" fmla="*/ 267 w 471"/>
              <a:gd name="T47" fmla="*/ 178 h 237"/>
              <a:gd name="T48" fmla="*/ 255 w 471"/>
              <a:gd name="T49" fmla="*/ 166 h 237"/>
              <a:gd name="T50" fmla="*/ 240 w 471"/>
              <a:gd name="T51" fmla="*/ 159 h 237"/>
              <a:gd name="T52" fmla="*/ 227 w 471"/>
              <a:gd name="T53" fmla="*/ 159 h 237"/>
              <a:gd name="T54" fmla="*/ 205 w 471"/>
              <a:gd name="T55" fmla="*/ 163 h 237"/>
              <a:gd name="T56" fmla="*/ 183 w 471"/>
              <a:gd name="T57" fmla="*/ 167 h 237"/>
              <a:gd name="T58" fmla="*/ 169 w 471"/>
              <a:gd name="T59" fmla="*/ 168 h 237"/>
              <a:gd name="T60" fmla="*/ 158 w 471"/>
              <a:gd name="T61" fmla="*/ 164 h 237"/>
              <a:gd name="T62" fmla="*/ 148 w 471"/>
              <a:gd name="T63" fmla="*/ 155 h 237"/>
              <a:gd name="T64" fmla="*/ 139 w 471"/>
              <a:gd name="T65" fmla="*/ 148 h 237"/>
              <a:gd name="T66" fmla="*/ 122 w 471"/>
              <a:gd name="T67" fmla="*/ 145 h 237"/>
              <a:gd name="T68" fmla="*/ 92 w 471"/>
              <a:gd name="T69" fmla="*/ 135 h 237"/>
              <a:gd name="T70" fmla="*/ 48 w 471"/>
              <a:gd name="T71" fmla="*/ 117 h 237"/>
              <a:gd name="T72" fmla="*/ 12 w 471"/>
              <a:gd name="T73" fmla="*/ 96 h 237"/>
              <a:gd name="T74" fmla="*/ 7 w 471"/>
              <a:gd name="T75"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30" name="Freeform 274">
            <a:extLst>
              <a:ext uri="{FF2B5EF4-FFF2-40B4-BE49-F238E27FC236}">
                <a16:creationId xmlns="" xmlns:a16="http://schemas.microsoft.com/office/drawing/2014/main" id="{52279A08-AD99-49BB-89EA-9D2210EE7374}"/>
              </a:ext>
            </a:extLst>
          </p:cNvPr>
          <p:cNvSpPr>
            <a:spLocks/>
          </p:cNvSpPr>
          <p:nvPr>
            <p:custDataLst>
              <p:tags r:id="rId200"/>
            </p:custDataLst>
          </p:nvPr>
        </p:nvSpPr>
        <p:spPr bwMode="auto">
          <a:xfrm>
            <a:off x="6683694" y="3532511"/>
            <a:ext cx="88957" cy="67280"/>
          </a:xfrm>
          <a:custGeom>
            <a:avLst/>
            <a:gdLst>
              <a:gd name="T0" fmla="*/ 167 w 167"/>
              <a:gd name="T1" fmla="*/ 43 h 123"/>
              <a:gd name="T2" fmla="*/ 164 w 167"/>
              <a:gd name="T3" fmla="*/ 54 h 123"/>
              <a:gd name="T4" fmla="*/ 161 w 167"/>
              <a:gd name="T5" fmla="*/ 66 h 123"/>
              <a:gd name="T6" fmla="*/ 155 w 167"/>
              <a:gd name="T7" fmla="*/ 79 h 123"/>
              <a:gd name="T8" fmla="*/ 150 w 167"/>
              <a:gd name="T9" fmla="*/ 93 h 123"/>
              <a:gd name="T10" fmla="*/ 146 w 167"/>
              <a:gd name="T11" fmla="*/ 99 h 123"/>
              <a:gd name="T12" fmla="*/ 142 w 167"/>
              <a:gd name="T13" fmla="*/ 105 h 123"/>
              <a:gd name="T14" fmla="*/ 138 w 167"/>
              <a:gd name="T15" fmla="*/ 110 h 123"/>
              <a:gd name="T16" fmla="*/ 132 w 167"/>
              <a:gd name="T17" fmla="*/ 114 h 123"/>
              <a:gd name="T18" fmla="*/ 127 w 167"/>
              <a:gd name="T19" fmla="*/ 118 h 123"/>
              <a:gd name="T20" fmla="*/ 121 w 167"/>
              <a:gd name="T21" fmla="*/ 121 h 123"/>
              <a:gd name="T22" fmla="*/ 115 w 167"/>
              <a:gd name="T23" fmla="*/ 122 h 123"/>
              <a:gd name="T24" fmla="*/ 107 w 167"/>
              <a:gd name="T25" fmla="*/ 123 h 123"/>
              <a:gd name="T26" fmla="*/ 100 w 167"/>
              <a:gd name="T27" fmla="*/ 122 h 123"/>
              <a:gd name="T28" fmla="*/ 92 w 167"/>
              <a:gd name="T29" fmla="*/ 119 h 123"/>
              <a:gd name="T30" fmla="*/ 87 w 167"/>
              <a:gd name="T31" fmla="*/ 116 h 123"/>
              <a:gd name="T32" fmla="*/ 84 w 167"/>
              <a:gd name="T33" fmla="*/ 113 h 123"/>
              <a:gd name="T34" fmla="*/ 82 w 167"/>
              <a:gd name="T35" fmla="*/ 109 h 123"/>
              <a:gd name="T36" fmla="*/ 81 w 167"/>
              <a:gd name="T37" fmla="*/ 105 h 123"/>
              <a:gd name="T38" fmla="*/ 71 w 167"/>
              <a:gd name="T39" fmla="*/ 104 h 123"/>
              <a:gd name="T40" fmla="*/ 61 w 167"/>
              <a:gd name="T41" fmla="*/ 103 h 123"/>
              <a:gd name="T42" fmla="*/ 51 w 167"/>
              <a:gd name="T43" fmla="*/ 101 h 123"/>
              <a:gd name="T44" fmla="*/ 41 w 167"/>
              <a:gd name="T45" fmla="*/ 98 h 123"/>
              <a:gd name="T46" fmla="*/ 21 w 167"/>
              <a:gd name="T47" fmla="*/ 92 h 123"/>
              <a:gd name="T48" fmla="*/ 0 w 167"/>
              <a:gd name="T49" fmla="*/ 86 h 123"/>
              <a:gd name="T50" fmla="*/ 2 w 167"/>
              <a:gd name="T51" fmla="*/ 77 h 123"/>
              <a:gd name="T52" fmla="*/ 5 w 167"/>
              <a:gd name="T53" fmla="*/ 67 h 123"/>
              <a:gd name="T54" fmla="*/ 9 w 167"/>
              <a:gd name="T55" fmla="*/ 56 h 123"/>
              <a:gd name="T56" fmla="*/ 15 w 167"/>
              <a:gd name="T57" fmla="*/ 43 h 123"/>
              <a:gd name="T58" fmla="*/ 20 w 167"/>
              <a:gd name="T59" fmla="*/ 43 h 123"/>
              <a:gd name="T60" fmla="*/ 26 w 167"/>
              <a:gd name="T61" fmla="*/ 42 h 123"/>
              <a:gd name="T62" fmla="*/ 30 w 167"/>
              <a:gd name="T63" fmla="*/ 41 h 123"/>
              <a:gd name="T64" fmla="*/ 33 w 167"/>
              <a:gd name="T65" fmla="*/ 38 h 123"/>
              <a:gd name="T66" fmla="*/ 40 w 167"/>
              <a:gd name="T67" fmla="*/ 33 h 123"/>
              <a:gd name="T68" fmla="*/ 45 w 167"/>
              <a:gd name="T69" fmla="*/ 26 h 123"/>
              <a:gd name="T70" fmla="*/ 52 w 167"/>
              <a:gd name="T71" fmla="*/ 12 h 123"/>
              <a:gd name="T72" fmla="*/ 61 w 167"/>
              <a:gd name="T73" fmla="*/ 0 h 123"/>
              <a:gd name="T74" fmla="*/ 64 w 167"/>
              <a:gd name="T75" fmla="*/ 4 h 123"/>
              <a:gd name="T76" fmla="*/ 67 w 167"/>
              <a:gd name="T77" fmla="*/ 7 h 123"/>
              <a:gd name="T78" fmla="*/ 73 w 167"/>
              <a:gd name="T79" fmla="*/ 11 h 123"/>
              <a:gd name="T80" fmla="*/ 78 w 167"/>
              <a:gd name="T81" fmla="*/ 14 h 123"/>
              <a:gd name="T82" fmla="*/ 92 w 167"/>
              <a:gd name="T83" fmla="*/ 21 h 123"/>
              <a:gd name="T84" fmla="*/ 107 w 167"/>
              <a:gd name="T85" fmla="*/ 28 h 123"/>
              <a:gd name="T86" fmla="*/ 122 w 167"/>
              <a:gd name="T87" fmla="*/ 35 h 123"/>
              <a:gd name="T88" fmla="*/ 139 w 167"/>
              <a:gd name="T89" fmla="*/ 39 h 123"/>
              <a:gd name="T90" fmla="*/ 153 w 167"/>
              <a:gd name="T91" fmla="*/ 42 h 123"/>
              <a:gd name="T92" fmla="*/ 167 w 167"/>
              <a:gd name="T93" fmla="*/ 4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31" name="Freeform 275">
            <a:extLst>
              <a:ext uri="{FF2B5EF4-FFF2-40B4-BE49-F238E27FC236}">
                <a16:creationId xmlns="" xmlns:a16="http://schemas.microsoft.com/office/drawing/2014/main" id="{F11BBCE5-7B7C-4488-9EC6-0AEE4FB79D0D}"/>
              </a:ext>
            </a:extLst>
          </p:cNvPr>
          <p:cNvSpPr>
            <a:spLocks/>
          </p:cNvSpPr>
          <p:nvPr>
            <p:custDataLst>
              <p:tags r:id="rId201"/>
            </p:custDataLst>
          </p:nvPr>
        </p:nvSpPr>
        <p:spPr bwMode="auto">
          <a:xfrm>
            <a:off x="6672092" y="3606354"/>
            <a:ext cx="162444" cy="172303"/>
          </a:xfrm>
          <a:custGeom>
            <a:avLst/>
            <a:gdLst>
              <a:gd name="T0" fmla="*/ 259 w 306"/>
              <a:gd name="T1" fmla="*/ 160 h 321"/>
              <a:gd name="T2" fmla="*/ 252 w 306"/>
              <a:gd name="T3" fmla="*/ 173 h 321"/>
              <a:gd name="T4" fmla="*/ 243 w 306"/>
              <a:gd name="T5" fmla="*/ 182 h 321"/>
              <a:gd name="T6" fmla="*/ 233 w 306"/>
              <a:gd name="T7" fmla="*/ 186 h 321"/>
              <a:gd name="T8" fmla="*/ 223 w 306"/>
              <a:gd name="T9" fmla="*/ 184 h 321"/>
              <a:gd name="T10" fmla="*/ 214 w 306"/>
              <a:gd name="T11" fmla="*/ 178 h 321"/>
              <a:gd name="T12" fmla="*/ 209 w 306"/>
              <a:gd name="T13" fmla="*/ 169 h 321"/>
              <a:gd name="T14" fmla="*/ 206 w 306"/>
              <a:gd name="T15" fmla="*/ 160 h 321"/>
              <a:gd name="T16" fmla="*/ 209 w 306"/>
              <a:gd name="T17" fmla="*/ 148 h 321"/>
              <a:gd name="T18" fmla="*/ 213 w 306"/>
              <a:gd name="T19" fmla="*/ 136 h 321"/>
              <a:gd name="T20" fmla="*/ 230 w 306"/>
              <a:gd name="T21" fmla="*/ 114 h 321"/>
              <a:gd name="T22" fmla="*/ 246 w 306"/>
              <a:gd name="T23" fmla="*/ 93 h 321"/>
              <a:gd name="T24" fmla="*/ 250 w 306"/>
              <a:gd name="T25" fmla="*/ 82 h 321"/>
              <a:gd name="T26" fmla="*/ 253 w 306"/>
              <a:gd name="T27" fmla="*/ 69 h 321"/>
              <a:gd name="T28" fmla="*/ 129 w 306"/>
              <a:gd name="T29" fmla="*/ 68 h 321"/>
              <a:gd name="T30" fmla="*/ 119 w 306"/>
              <a:gd name="T31" fmla="*/ 59 h 321"/>
              <a:gd name="T32" fmla="*/ 112 w 306"/>
              <a:gd name="T33" fmla="*/ 45 h 321"/>
              <a:gd name="T34" fmla="*/ 108 w 306"/>
              <a:gd name="T35" fmla="*/ 28 h 321"/>
              <a:gd name="T36" fmla="*/ 101 w 306"/>
              <a:gd name="T37" fmla="*/ 19 h 321"/>
              <a:gd name="T38" fmla="*/ 90 w 306"/>
              <a:gd name="T39" fmla="*/ 17 h 321"/>
              <a:gd name="T40" fmla="*/ 80 w 306"/>
              <a:gd name="T41" fmla="*/ 12 h 321"/>
              <a:gd name="T42" fmla="*/ 75 w 306"/>
              <a:gd name="T43" fmla="*/ 4 h 321"/>
              <a:gd name="T44" fmla="*/ 65 w 306"/>
              <a:gd name="T45" fmla="*/ 0 h 321"/>
              <a:gd name="T46" fmla="*/ 49 w 306"/>
              <a:gd name="T47" fmla="*/ 0 h 321"/>
              <a:gd name="T48" fmla="*/ 34 w 306"/>
              <a:gd name="T49" fmla="*/ 1 h 321"/>
              <a:gd name="T50" fmla="*/ 22 w 306"/>
              <a:gd name="T51" fmla="*/ 5 h 321"/>
              <a:gd name="T52" fmla="*/ 10 w 306"/>
              <a:gd name="T53" fmla="*/ 14 h 321"/>
              <a:gd name="T54" fmla="*/ 1 w 306"/>
              <a:gd name="T55" fmla="*/ 25 h 321"/>
              <a:gd name="T56" fmla="*/ 2 w 306"/>
              <a:gd name="T57" fmla="*/ 35 h 321"/>
              <a:gd name="T58" fmla="*/ 15 w 306"/>
              <a:gd name="T59" fmla="*/ 46 h 321"/>
              <a:gd name="T60" fmla="*/ 35 w 306"/>
              <a:gd name="T61" fmla="*/ 58 h 321"/>
              <a:gd name="T62" fmla="*/ 54 w 306"/>
              <a:gd name="T63" fmla="*/ 67 h 321"/>
              <a:gd name="T64" fmla="*/ 47 w 306"/>
              <a:gd name="T65" fmla="*/ 79 h 321"/>
              <a:gd name="T66" fmla="*/ 25 w 306"/>
              <a:gd name="T67" fmla="*/ 97 h 321"/>
              <a:gd name="T68" fmla="*/ 17 w 306"/>
              <a:gd name="T69" fmla="*/ 107 h 321"/>
              <a:gd name="T70" fmla="*/ 14 w 306"/>
              <a:gd name="T71" fmla="*/ 114 h 321"/>
              <a:gd name="T72" fmla="*/ 14 w 306"/>
              <a:gd name="T73" fmla="*/ 122 h 321"/>
              <a:gd name="T74" fmla="*/ 18 w 306"/>
              <a:gd name="T75" fmla="*/ 129 h 321"/>
              <a:gd name="T76" fmla="*/ 28 w 306"/>
              <a:gd name="T77" fmla="*/ 141 h 321"/>
              <a:gd name="T78" fmla="*/ 47 w 306"/>
              <a:gd name="T79" fmla="*/ 156 h 321"/>
              <a:gd name="T80" fmla="*/ 64 w 306"/>
              <a:gd name="T81" fmla="*/ 164 h 321"/>
              <a:gd name="T82" fmla="*/ 75 w 306"/>
              <a:gd name="T83" fmla="*/ 166 h 321"/>
              <a:gd name="T84" fmla="*/ 107 w 306"/>
              <a:gd name="T85" fmla="*/ 271 h 321"/>
              <a:gd name="T86" fmla="*/ 108 w 306"/>
              <a:gd name="T87" fmla="*/ 263 h 321"/>
              <a:gd name="T88" fmla="*/ 112 w 306"/>
              <a:gd name="T89" fmla="*/ 256 h 321"/>
              <a:gd name="T90" fmla="*/ 127 w 306"/>
              <a:gd name="T91" fmla="*/ 246 h 321"/>
              <a:gd name="T92" fmla="*/ 148 w 306"/>
              <a:gd name="T93" fmla="*/ 240 h 321"/>
              <a:gd name="T94" fmla="*/ 174 w 306"/>
              <a:gd name="T95" fmla="*/ 235 h 321"/>
              <a:gd name="T96" fmla="*/ 174 w 306"/>
              <a:gd name="T97" fmla="*/ 210 h 321"/>
              <a:gd name="T98" fmla="*/ 183 w 306"/>
              <a:gd name="T99" fmla="*/ 212 h 321"/>
              <a:gd name="T100" fmla="*/ 193 w 306"/>
              <a:gd name="T101" fmla="*/ 212 h 321"/>
              <a:gd name="T102" fmla="*/ 213 w 306"/>
              <a:gd name="T103" fmla="*/ 210 h 321"/>
              <a:gd name="T104" fmla="*/ 232 w 306"/>
              <a:gd name="T105" fmla="*/ 261 h 321"/>
              <a:gd name="T106" fmla="*/ 259 w 306"/>
              <a:gd name="T107" fmla="*/ 321 h 321"/>
              <a:gd name="T108" fmla="*/ 272 w 306"/>
              <a:gd name="T109" fmla="*/ 311 h 321"/>
              <a:gd name="T110" fmla="*/ 282 w 306"/>
              <a:gd name="T111" fmla="*/ 302 h 321"/>
              <a:gd name="T112" fmla="*/ 295 w 306"/>
              <a:gd name="T113" fmla="*/ 280 h 321"/>
              <a:gd name="T114" fmla="*/ 306 w 306"/>
              <a:gd name="T115" fmla="*/ 23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32" name="Freeform 276">
            <a:extLst>
              <a:ext uri="{FF2B5EF4-FFF2-40B4-BE49-F238E27FC236}">
                <a16:creationId xmlns="" xmlns:a16="http://schemas.microsoft.com/office/drawing/2014/main" id="{87B5C923-96B6-4E7C-AC8B-5DDB17F1DF8F}"/>
              </a:ext>
            </a:extLst>
          </p:cNvPr>
          <p:cNvSpPr>
            <a:spLocks/>
          </p:cNvSpPr>
          <p:nvPr>
            <p:custDataLst>
              <p:tags r:id="rId202"/>
            </p:custDataLst>
          </p:nvPr>
        </p:nvSpPr>
        <p:spPr bwMode="auto">
          <a:xfrm>
            <a:off x="7058862" y="3726145"/>
            <a:ext cx="245598" cy="278966"/>
          </a:xfrm>
          <a:custGeom>
            <a:avLst/>
            <a:gdLst>
              <a:gd name="T0" fmla="*/ 94 w 471"/>
              <a:gd name="T1" fmla="*/ 12 h 518"/>
              <a:gd name="T2" fmla="*/ 67 w 471"/>
              <a:gd name="T3" fmla="*/ 32 h 518"/>
              <a:gd name="T4" fmla="*/ 40 w 471"/>
              <a:gd name="T5" fmla="*/ 49 h 518"/>
              <a:gd name="T6" fmla="*/ 27 w 471"/>
              <a:gd name="T7" fmla="*/ 82 h 518"/>
              <a:gd name="T8" fmla="*/ 8 w 471"/>
              <a:gd name="T9" fmla="*/ 118 h 518"/>
              <a:gd name="T10" fmla="*/ 7 w 471"/>
              <a:gd name="T11" fmla="*/ 136 h 518"/>
              <a:gd name="T12" fmla="*/ 30 w 471"/>
              <a:gd name="T13" fmla="*/ 153 h 518"/>
              <a:gd name="T14" fmla="*/ 50 w 471"/>
              <a:gd name="T15" fmla="*/ 168 h 518"/>
              <a:gd name="T16" fmla="*/ 62 w 471"/>
              <a:gd name="T17" fmla="*/ 172 h 518"/>
              <a:gd name="T18" fmla="*/ 75 w 471"/>
              <a:gd name="T19" fmla="*/ 211 h 518"/>
              <a:gd name="T20" fmla="*/ 84 w 471"/>
              <a:gd name="T21" fmla="*/ 272 h 518"/>
              <a:gd name="T22" fmla="*/ 94 w 471"/>
              <a:gd name="T23" fmla="*/ 299 h 518"/>
              <a:gd name="T24" fmla="*/ 104 w 471"/>
              <a:gd name="T25" fmla="*/ 302 h 518"/>
              <a:gd name="T26" fmla="*/ 112 w 471"/>
              <a:gd name="T27" fmla="*/ 297 h 518"/>
              <a:gd name="T28" fmla="*/ 128 w 471"/>
              <a:gd name="T29" fmla="*/ 268 h 518"/>
              <a:gd name="T30" fmla="*/ 145 w 471"/>
              <a:gd name="T31" fmla="*/ 262 h 518"/>
              <a:gd name="T32" fmla="*/ 160 w 471"/>
              <a:gd name="T33" fmla="*/ 272 h 518"/>
              <a:gd name="T34" fmla="*/ 173 w 471"/>
              <a:gd name="T35" fmla="*/ 277 h 518"/>
              <a:gd name="T36" fmla="*/ 183 w 471"/>
              <a:gd name="T37" fmla="*/ 274 h 518"/>
              <a:gd name="T38" fmla="*/ 192 w 471"/>
              <a:gd name="T39" fmla="*/ 259 h 518"/>
              <a:gd name="T40" fmla="*/ 203 w 471"/>
              <a:gd name="T41" fmla="*/ 244 h 518"/>
              <a:gd name="T42" fmla="*/ 212 w 471"/>
              <a:gd name="T43" fmla="*/ 241 h 518"/>
              <a:gd name="T44" fmla="*/ 241 w 471"/>
              <a:gd name="T45" fmla="*/ 247 h 518"/>
              <a:gd name="T46" fmla="*/ 259 w 471"/>
              <a:gd name="T47" fmla="*/ 271 h 518"/>
              <a:gd name="T48" fmla="*/ 308 w 471"/>
              <a:gd name="T49" fmla="*/ 336 h 518"/>
              <a:gd name="T50" fmla="*/ 341 w 471"/>
              <a:gd name="T51" fmla="*/ 382 h 518"/>
              <a:gd name="T52" fmla="*/ 358 w 471"/>
              <a:gd name="T53" fmla="*/ 419 h 518"/>
              <a:gd name="T54" fmla="*/ 366 w 471"/>
              <a:gd name="T55" fmla="*/ 457 h 518"/>
              <a:gd name="T56" fmla="*/ 359 w 471"/>
              <a:gd name="T57" fmla="*/ 470 h 518"/>
              <a:gd name="T58" fmla="*/ 339 w 471"/>
              <a:gd name="T59" fmla="*/ 487 h 518"/>
              <a:gd name="T60" fmla="*/ 363 w 471"/>
              <a:gd name="T61" fmla="*/ 496 h 518"/>
              <a:gd name="T62" fmla="*/ 392 w 471"/>
              <a:gd name="T63" fmla="*/ 518 h 518"/>
              <a:gd name="T64" fmla="*/ 401 w 471"/>
              <a:gd name="T65" fmla="*/ 499 h 518"/>
              <a:gd name="T66" fmla="*/ 413 w 471"/>
              <a:gd name="T67" fmla="*/ 489 h 518"/>
              <a:gd name="T68" fmla="*/ 444 w 471"/>
              <a:gd name="T69" fmla="*/ 483 h 518"/>
              <a:gd name="T70" fmla="*/ 468 w 471"/>
              <a:gd name="T71" fmla="*/ 438 h 518"/>
              <a:gd name="T72" fmla="*/ 449 w 471"/>
              <a:gd name="T73" fmla="*/ 387 h 518"/>
              <a:gd name="T74" fmla="*/ 421 w 471"/>
              <a:gd name="T75" fmla="*/ 347 h 518"/>
              <a:gd name="T76" fmla="*/ 345 w 471"/>
              <a:gd name="T77" fmla="*/ 277 h 518"/>
              <a:gd name="T78" fmla="*/ 279 w 471"/>
              <a:gd name="T79" fmla="*/ 218 h 518"/>
              <a:gd name="T80" fmla="*/ 224 w 471"/>
              <a:gd name="T81" fmla="*/ 162 h 518"/>
              <a:gd name="T82" fmla="*/ 179 w 471"/>
              <a:gd name="T83" fmla="*/ 105 h 518"/>
              <a:gd name="T84" fmla="*/ 127 w 471"/>
              <a:gd name="T85" fmla="*/ 40 h 518"/>
              <a:gd name="T86" fmla="*/ 115 w 471"/>
              <a:gd name="T87" fmla="*/ 14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33" name="Freeform 277">
            <a:extLst>
              <a:ext uri="{FF2B5EF4-FFF2-40B4-BE49-F238E27FC236}">
                <a16:creationId xmlns="" xmlns:a16="http://schemas.microsoft.com/office/drawing/2014/main" id="{56A9BEEF-6444-41F3-906C-F4FF411577B0}"/>
              </a:ext>
            </a:extLst>
          </p:cNvPr>
          <p:cNvSpPr>
            <a:spLocks/>
          </p:cNvSpPr>
          <p:nvPr>
            <p:custDataLst>
              <p:tags r:id="rId203"/>
            </p:custDataLst>
          </p:nvPr>
        </p:nvSpPr>
        <p:spPr bwMode="auto">
          <a:xfrm>
            <a:off x="7159423" y="3985419"/>
            <a:ext cx="162444" cy="134560"/>
          </a:xfrm>
          <a:custGeom>
            <a:avLst/>
            <a:gdLst>
              <a:gd name="T0" fmla="*/ 152 w 293"/>
              <a:gd name="T1" fmla="*/ 19 h 246"/>
              <a:gd name="T2" fmla="*/ 179 w 293"/>
              <a:gd name="T3" fmla="*/ 30 h 246"/>
              <a:gd name="T4" fmla="*/ 196 w 293"/>
              <a:gd name="T5" fmla="*/ 30 h 246"/>
              <a:gd name="T6" fmla="*/ 202 w 293"/>
              <a:gd name="T7" fmla="*/ 18 h 246"/>
              <a:gd name="T8" fmla="*/ 210 w 293"/>
              <a:gd name="T9" fmla="*/ 10 h 246"/>
              <a:gd name="T10" fmla="*/ 219 w 293"/>
              <a:gd name="T11" fmla="*/ 6 h 246"/>
              <a:gd name="T12" fmla="*/ 245 w 293"/>
              <a:gd name="T13" fmla="*/ 2 h 246"/>
              <a:gd name="T14" fmla="*/ 293 w 293"/>
              <a:gd name="T15" fmla="*/ 80 h 246"/>
              <a:gd name="T16" fmla="*/ 266 w 293"/>
              <a:gd name="T17" fmla="*/ 107 h 246"/>
              <a:gd name="T18" fmla="*/ 237 w 293"/>
              <a:gd name="T19" fmla="*/ 141 h 246"/>
              <a:gd name="T20" fmla="*/ 225 w 293"/>
              <a:gd name="T21" fmla="*/ 159 h 246"/>
              <a:gd name="T22" fmla="*/ 215 w 293"/>
              <a:gd name="T23" fmla="*/ 178 h 246"/>
              <a:gd name="T24" fmla="*/ 209 w 293"/>
              <a:gd name="T25" fmla="*/ 197 h 246"/>
              <a:gd name="T26" fmla="*/ 206 w 293"/>
              <a:gd name="T27" fmla="*/ 216 h 246"/>
              <a:gd name="T28" fmla="*/ 196 w 293"/>
              <a:gd name="T29" fmla="*/ 217 h 246"/>
              <a:gd name="T30" fmla="*/ 186 w 293"/>
              <a:gd name="T31" fmla="*/ 220 h 246"/>
              <a:gd name="T32" fmla="*/ 170 w 293"/>
              <a:gd name="T33" fmla="*/ 229 h 246"/>
              <a:gd name="T34" fmla="*/ 154 w 293"/>
              <a:gd name="T35" fmla="*/ 239 h 246"/>
              <a:gd name="T36" fmla="*/ 133 w 293"/>
              <a:gd name="T37" fmla="*/ 246 h 246"/>
              <a:gd name="T38" fmla="*/ 102 w 293"/>
              <a:gd name="T39" fmla="*/ 240 h 246"/>
              <a:gd name="T40" fmla="*/ 71 w 293"/>
              <a:gd name="T41" fmla="*/ 232 h 246"/>
              <a:gd name="T42" fmla="*/ 59 w 293"/>
              <a:gd name="T43" fmla="*/ 226 h 246"/>
              <a:gd name="T44" fmla="*/ 49 w 293"/>
              <a:gd name="T45" fmla="*/ 220 h 246"/>
              <a:gd name="T46" fmla="*/ 43 w 293"/>
              <a:gd name="T47" fmla="*/ 212 h 246"/>
              <a:gd name="T48" fmla="*/ 41 w 293"/>
              <a:gd name="T49" fmla="*/ 204 h 246"/>
              <a:gd name="T50" fmla="*/ 47 w 293"/>
              <a:gd name="T51" fmla="*/ 178 h 246"/>
              <a:gd name="T52" fmla="*/ 45 w 293"/>
              <a:gd name="T53" fmla="*/ 162 h 246"/>
              <a:gd name="T54" fmla="*/ 40 w 293"/>
              <a:gd name="T55" fmla="*/ 147 h 246"/>
              <a:gd name="T56" fmla="*/ 24 w 293"/>
              <a:gd name="T57" fmla="*/ 119 h 246"/>
              <a:gd name="T58" fmla="*/ 8 w 293"/>
              <a:gd name="T59" fmla="*/ 91 h 246"/>
              <a:gd name="T60" fmla="*/ 2 w 293"/>
              <a:gd name="T61" fmla="*/ 74 h 246"/>
              <a:gd name="T62" fmla="*/ 0 w 293"/>
              <a:gd name="T63" fmla="*/ 55 h 246"/>
              <a:gd name="T64" fmla="*/ 2 w 293"/>
              <a:gd name="T65" fmla="*/ 45 h 246"/>
              <a:gd name="T66" fmla="*/ 8 w 293"/>
              <a:gd name="T67" fmla="*/ 36 h 246"/>
              <a:gd name="T68" fmla="*/ 17 w 293"/>
              <a:gd name="T69" fmla="*/ 29 h 246"/>
              <a:gd name="T70" fmla="*/ 26 w 293"/>
              <a:gd name="T71" fmla="*/ 22 h 246"/>
              <a:gd name="T72" fmla="*/ 48 w 293"/>
              <a:gd name="T73" fmla="*/ 14 h 246"/>
              <a:gd name="T74" fmla="*/ 67 w 293"/>
              <a:gd name="T75" fmla="*/ 12 h 246"/>
              <a:gd name="T76" fmla="*/ 96 w 293"/>
              <a:gd name="T77" fmla="*/ 12 h 246"/>
              <a:gd name="T78" fmla="*/ 133 w 293"/>
              <a:gd name="T79" fmla="*/ 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34" name="Freeform 278">
            <a:extLst>
              <a:ext uri="{FF2B5EF4-FFF2-40B4-BE49-F238E27FC236}">
                <a16:creationId xmlns="" xmlns:a16="http://schemas.microsoft.com/office/drawing/2014/main" id="{AF4742D7-05B1-4DBA-BB98-655F66D57A91}"/>
              </a:ext>
            </a:extLst>
          </p:cNvPr>
          <p:cNvSpPr>
            <a:spLocks/>
          </p:cNvSpPr>
          <p:nvPr>
            <p:custDataLst>
              <p:tags r:id="rId204"/>
            </p:custDataLst>
          </p:nvPr>
        </p:nvSpPr>
        <p:spPr bwMode="auto">
          <a:xfrm>
            <a:off x="7648686" y="3196110"/>
            <a:ext cx="104428" cy="134560"/>
          </a:xfrm>
          <a:custGeom>
            <a:avLst/>
            <a:gdLst>
              <a:gd name="T0" fmla="*/ 18 w 200"/>
              <a:gd name="T1" fmla="*/ 41 h 246"/>
              <a:gd name="T2" fmla="*/ 28 w 200"/>
              <a:gd name="T3" fmla="*/ 26 h 246"/>
              <a:gd name="T4" fmla="*/ 38 w 200"/>
              <a:gd name="T5" fmla="*/ 16 h 246"/>
              <a:gd name="T6" fmla="*/ 50 w 200"/>
              <a:gd name="T7" fmla="*/ 9 h 246"/>
              <a:gd name="T8" fmla="*/ 73 w 200"/>
              <a:gd name="T9" fmla="*/ 1 h 246"/>
              <a:gd name="T10" fmla="*/ 88 w 200"/>
              <a:gd name="T11" fmla="*/ 12 h 246"/>
              <a:gd name="T12" fmla="*/ 108 w 200"/>
              <a:gd name="T13" fmla="*/ 34 h 246"/>
              <a:gd name="T14" fmla="*/ 125 w 200"/>
              <a:gd name="T15" fmla="*/ 50 h 246"/>
              <a:gd name="T16" fmla="*/ 139 w 200"/>
              <a:gd name="T17" fmla="*/ 58 h 246"/>
              <a:gd name="T18" fmla="*/ 152 w 200"/>
              <a:gd name="T19" fmla="*/ 64 h 246"/>
              <a:gd name="T20" fmla="*/ 166 w 200"/>
              <a:gd name="T21" fmla="*/ 67 h 246"/>
              <a:gd name="T22" fmla="*/ 184 w 200"/>
              <a:gd name="T23" fmla="*/ 96 h 246"/>
              <a:gd name="T24" fmla="*/ 195 w 200"/>
              <a:gd name="T25" fmla="*/ 137 h 246"/>
              <a:gd name="T26" fmla="*/ 199 w 200"/>
              <a:gd name="T27" fmla="*/ 165 h 246"/>
              <a:gd name="T28" fmla="*/ 200 w 200"/>
              <a:gd name="T29" fmla="*/ 185 h 246"/>
              <a:gd name="T30" fmla="*/ 198 w 200"/>
              <a:gd name="T31" fmla="*/ 197 h 246"/>
              <a:gd name="T32" fmla="*/ 195 w 200"/>
              <a:gd name="T33" fmla="*/ 207 h 246"/>
              <a:gd name="T34" fmla="*/ 189 w 200"/>
              <a:gd name="T35" fmla="*/ 214 h 246"/>
              <a:gd name="T36" fmla="*/ 179 w 200"/>
              <a:gd name="T37" fmla="*/ 220 h 246"/>
              <a:gd name="T38" fmla="*/ 164 w 200"/>
              <a:gd name="T39" fmla="*/ 224 h 246"/>
              <a:gd name="T40" fmla="*/ 140 w 200"/>
              <a:gd name="T41" fmla="*/ 224 h 246"/>
              <a:gd name="T42" fmla="*/ 118 w 200"/>
              <a:gd name="T43" fmla="*/ 229 h 246"/>
              <a:gd name="T44" fmla="*/ 111 w 200"/>
              <a:gd name="T45" fmla="*/ 235 h 246"/>
              <a:gd name="T46" fmla="*/ 108 w 200"/>
              <a:gd name="T47" fmla="*/ 242 h 246"/>
              <a:gd name="T48" fmla="*/ 98 w 200"/>
              <a:gd name="T49" fmla="*/ 245 h 246"/>
              <a:gd name="T50" fmla="*/ 85 w 200"/>
              <a:gd name="T51" fmla="*/ 240 h 246"/>
              <a:gd name="T52" fmla="*/ 77 w 200"/>
              <a:gd name="T53" fmla="*/ 230 h 246"/>
              <a:gd name="T54" fmla="*/ 73 w 200"/>
              <a:gd name="T55" fmla="*/ 216 h 246"/>
              <a:gd name="T56" fmla="*/ 72 w 200"/>
              <a:gd name="T57" fmla="*/ 192 h 246"/>
              <a:gd name="T58" fmla="*/ 71 w 200"/>
              <a:gd name="T59" fmla="*/ 168 h 246"/>
              <a:gd name="T60" fmla="*/ 69 w 200"/>
              <a:gd name="T61" fmla="*/ 154 h 246"/>
              <a:gd name="T62" fmla="*/ 64 w 200"/>
              <a:gd name="T63" fmla="*/ 142 h 246"/>
              <a:gd name="T64" fmla="*/ 56 w 200"/>
              <a:gd name="T65" fmla="*/ 134 h 246"/>
              <a:gd name="T66" fmla="*/ 40 w 200"/>
              <a:gd name="T67" fmla="*/ 125 h 246"/>
              <a:gd name="T68" fmla="*/ 18 w 200"/>
              <a:gd name="T69" fmla="*/ 115 h 246"/>
              <a:gd name="T70" fmla="*/ 6 w 200"/>
              <a:gd name="T71" fmla="*/ 106 h 246"/>
              <a:gd name="T72" fmla="*/ 1 w 200"/>
              <a:gd name="T73" fmla="*/ 98 h 246"/>
              <a:gd name="T74" fmla="*/ 1 w 200"/>
              <a:gd name="T75" fmla="*/ 87 h 246"/>
              <a:gd name="T76" fmla="*/ 5 w 200"/>
              <a:gd name="T77" fmla="*/ 78 h 246"/>
              <a:gd name="T78" fmla="*/ 10 w 200"/>
              <a:gd name="T79" fmla="*/ 68 h 246"/>
              <a:gd name="T80" fmla="*/ 13 w 200"/>
              <a:gd name="T81" fmla="*/ 5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35" name="Freeform 279">
            <a:extLst>
              <a:ext uri="{FF2B5EF4-FFF2-40B4-BE49-F238E27FC236}">
                <a16:creationId xmlns="" xmlns:a16="http://schemas.microsoft.com/office/drawing/2014/main" id="{FB32291B-2D24-4EA2-8425-39361C718EC1}"/>
              </a:ext>
            </a:extLst>
          </p:cNvPr>
          <p:cNvSpPr>
            <a:spLocks/>
          </p:cNvSpPr>
          <p:nvPr>
            <p:custDataLst>
              <p:tags r:id="rId205"/>
            </p:custDataLst>
          </p:nvPr>
        </p:nvSpPr>
        <p:spPr bwMode="auto">
          <a:xfrm>
            <a:off x="8341005" y="4536787"/>
            <a:ext cx="282343" cy="262556"/>
          </a:xfrm>
          <a:custGeom>
            <a:avLst/>
            <a:gdLst>
              <a:gd name="T0" fmla="*/ 91 w 538"/>
              <a:gd name="T1" fmla="*/ 21 h 487"/>
              <a:gd name="T2" fmla="*/ 160 w 538"/>
              <a:gd name="T3" fmla="*/ 47 h 487"/>
              <a:gd name="T4" fmla="*/ 202 w 538"/>
              <a:gd name="T5" fmla="*/ 70 h 487"/>
              <a:gd name="T6" fmla="*/ 253 w 538"/>
              <a:gd name="T7" fmla="*/ 110 h 487"/>
              <a:gd name="T8" fmla="*/ 300 w 538"/>
              <a:gd name="T9" fmla="*/ 136 h 487"/>
              <a:gd name="T10" fmla="*/ 299 w 538"/>
              <a:gd name="T11" fmla="*/ 161 h 487"/>
              <a:gd name="T12" fmla="*/ 347 w 538"/>
              <a:gd name="T13" fmla="*/ 205 h 487"/>
              <a:gd name="T14" fmla="*/ 393 w 538"/>
              <a:gd name="T15" fmla="*/ 248 h 487"/>
              <a:gd name="T16" fmla="*/ 379 w 538"/>
              <a:gd name="T17" fmla="*/ 250 h 487"/>
              <a:gd name="T18" fmla="*/ 372 w 538"/>
              <a:gd name="T19" fmla="*/ 256 h 487"/>
              <a:gd name="T20" fmla="*/ 372 w 538"/>
              <a:gd name="T21" fmla="*/ 278 h 487"/>
              <a:gd name="T22" fmla="*/ 377 w 538"/>
              <a:gd name="T23" fmla="*/ 301 h 487"/>
              <a:gd name="T24" fmla="*/ 389 w 538"/>
              <a:gd name="T25" fmla="*/ 325 h 487"/>
              <a:gd name="T26" fmla="*/ 407 w 538"/>
              <a:gd name="T27" fmla="*/ 348 h 487"/>
              <a:gd name="T28" fmla="*/ 428 w 538"/>
              <a:gd name="T29" fmla="*/ 366 h 487"/>
              <a:gd name="T30" fmla="*/ 451 w 538"/>
              <a:gd name="T31" fmla="*/ 376 h 487"/>
              <a:gd name="T32" fmla="*/ 461 w 538"/>
              <a:gd name="T33" fmla="*/ 390 h 487"/>
              <a:gd name="T34" fmla="*/ 472 w 538"/>
              <a:gd name="T35" fmla="*/ 406 h 487"/>
              <a:gd name="T36" fmla="*/ 489 w 538"/>
              <a:gd name="T37" fmla="*/ 417 h 487"/>
              <a:gd name="T38" fmla="*/ 513 w 538"/>
              <a:gd name="T39" fmla="*/ 432 h 487"/>
              <a:gd name="T40" fmla="*/ 518 w 538"/>
              <a:gd name="T41" fmla="*/ 444 h 487"/>
              <a:gd name="T42" fmla="*/ 525 w 538"/>
              <a:gd name="T43" fmla="*/ 450 h 487"/>
              <a:gd name="T44" fmla="*/ 538 w 538"/>
              <a:gd name="T45" fmla="*/ 456 h 487"/>
              <a:gd name="T46" fmla="*/ 534 w 538"/>
              <a:gd name="T47" fmla="*/ 472 h 487"/>
              <a:gd name="T48" fmla="*/ 519 w 538"/>
              <a:gd name="T49" fmla="*/ 484 h 487"/>
              <a:gd name="T50" fmla="*/ 490 w 538"/>
              <a:gd name="T51" fmla="*/ 487 h 487"/>
              <a:gd name="T52" fmla="*/ 448 w 538"/>
              <a:gd name="T53" fmla="*/ 480 h 487"/>
              <a:gd name="T54" fmla="*/ 414 w 538"/>
              <a:gd name="T55" fmla="*/ 466 h 487"/>
              <a:gd name="T56" fmla="*/ 386 w 538"/>
              <a:gd name="T57" fmla="*/ 446 h 487"/>
              <a:gd name="T58" fmla="*/ 355 w 538"/>
              <a:gd name="T59" fmla="*/ 415 h 487"/>
              <a:gd name="T60" fmla="*/ 312 w 538"/>
              <a:gd name="T61" fmla="*/ 365 h 487"/>
              <a:gd name="T62" fmla="*/ 274 w 538"/>
              <a:gd name="T63" fmla="*/ 330 h 487"/>
              <a:gd name="T64" fmla="*/ 246 w 538"/>
              <a:gd name="T65" fmla="*/ 316 h 487"/>
              <a:gd name="T66" fmla="*/ 212 w 538"/>
              <a:gd name="T67" fmla="*/ 309 h 487"/>
              <a:gd name="T68" fmla="*/ 180 w 538"/>
              <a:gd name="T69" fmla="*/ 310 h 487"/>
              <a:gd name="T70" fmla="*/ 153 w 538"/>
              <a:gd name="T71" fmla="*/ 317 h 487"/>
              <a:gd name="T72" fmla="*/ 113 w 538"/>
              <a:gd name="T73" fmla="*/ 345 h 487"/>
              <a:gd name="T74" fmla="*/ 136 w 538"/>
              <a:gd name="T75" fmla="*/ 361 h 487"/>
              <a:gd name="T76" fmla="*/ 140 w 538"/>
              <a:gd name="T77" fmla="*/ 370 h 487"/>
              <a:gd name="T78" fmla="*/ 124 w 538"/>
              <a:gd name="T79" fmla="*/ 401 h 487"/>
              <a:gd name="T80" fmla="*/ 113 w 538"/>
              <a:gd name="T81" fmla="*/ 414 h 487"/>
              <a:gd name="T82" fmla="*/ 47 w 538"/>
              <a:gd name="T83" fmla="*/ 403 h 487"/>
              <a:gd name="T84" fmla="*/ 20 w 538"/>
              <a:gd name="T85" fmla="*/ 259 h 487"/>
              <a:gd name="T86" fmla="*/ 20 w 538"/>
              <a:gd name="T87" fmla="*/ 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36" name="Freeform 280">
            <a:extLst>
              <a:ext uri="{FF2B5EF4-FFF2-40B4-BE49-F238E27FC236}">
                <a16:creationId xmlns="" xmlns:a16="http://schemas.microsoft.com/office/drawing/2014/main" id="{07F0F5C9-8689-4BC0-B431-B1A818FD6584}"/>
              </a:ext>
            </a:extLst>
          </p:cNvPr>
          <p:cNvSpPr>
            <a:spLocks/>
          </p:cNvSpPr>
          <p:nvPr>
            <p:custDataLst>
              <p:tags r:id="rId206"/>
            </p:custDataLst>
          </p:nvPr>
        </p:nvSpPr>
        <p:spPr bwMode="auto">
          <a:xfrm>
            <a:off x="8575002" y="4520377"/>
            <a:ext cx="129568" cy="132918"/>
          </a:xfrm>
          <a:custGeom>
            <a:avLst/>
            <a:gdLst>
              <a:gd name="T0" fmla="*/ 136 w 253"/>
              <a:gd name="T1" fmla="*/ 1 h 246"/>
              <a:gd name="T2" fmla="*/ 157 w 253"/>
              <a:gd name="T3" fmla="*/ 8 h 246"/>
              <a:gd name="T4" fmla="*/ 179 w 253"/>
              <a:gd name="T5" fmla="*/ 21 h 246"/>
              <a:gd name="T6" fmla="*/ 199 w 253"/>
              <a:gd name="T7" fmla="*/ 37 h 246"/>
              <a:gd name="T8" fmla="*/ 218 w 253"/>
              <a:gd name="T9" fmla="*/ 57 h 246"/>
              <a:gd name="T10" fmla="*/ 234 w 253"/>
              <a:gd name="T11" fmla="*/ 76 h 246"/>
              <a:gd name="T12" fmla="*/ 245 w 253"/>
              <a:gd name="T13" fmla="*/ 94 h 246"/>
              <a:gd name="T14" fmla="*/ 252 w 253"/>
              <a:gd name="T15" fmla="*/ 111 h 246"/>
              <a:gd name="T16" fmla="*/ 252 w 253"/>
              <a:gd name="T17" fmla="*/ 128 h 246"/>
              <a:gd name="T18" fmla="*/ 243 w 253"/>
              <a:gd name="T19" fmla="*/ 151 h 246"/>
              <a:gd name="T20" fmla="*/ 229 w 253"/>
              <a:gd name="T21" fmla="*/ 174 h 246"/>
              <a:gd name="T22" fmla="*/ 209 w 253"/>
              <a:gd name="T23" fmla="*/ 195 h 246"/>
              <a:gd name="T24" fmla="*/ 184 w 253"/>
              <a:gd name="T25" fmla="*/ 214 h 246"/>
              <a:gd name="T26" fmla="*/ 157 w 253"/>
              <a:gd name="T27" fmla="*/ 229 h 246"/>
              <a:gd name="T28" fmla="*/ 129 w 253"/>
              <a:gd name="T29" fmla="*/ 240 h 246"/>
              <a:gd name="T30" fmla="*/ 100 w 253"/>
              <a:gd name="T31" fmla="*/ 245 h 246"/>
              <a:gd name="T32" fmla="*/ 74 w 253"/>
              <a:gd name="T33" fmla="*/ 245 h 246"/>
              <a:gd name="T34" fmla="*/ 53 w 253"/>
              <a:gd name="T35" fmla="*/ 240 h 246"/>
              <a:gd name="T36" fmla="*/ 33 w 253"/>
              <a:gd name="T37" fmla="*/ 234 h 246"/>
              <a:gd name="T38" fmla="*/ 11 w 253"/>
              <a:gd name="T39" fmla="*/ 229 h 246"/>
              <a:gd name="T40" fmla="*/ 3 w 253"/>
              <a:gd name="T41" fmla="*/ 219 h 246"/>
              <a:gd name="T42" fmla="*/ 10 w 253"/>
              <a:gd name="T43" fmla="*/ 205 h 246"/>
              <a:gd name="T44" fmla="*/ 22 w 253"/>
              <a:gd name="T45" fmla="*/ 196 h 246"/>
              <a:gd name="T46" fmla="*/ 37 w 253"/>
              <a:gd name="T47" fmla="*/ 191 h 246"/>
              <a:gd name="T48" fmla="*/ 50 w 253"/>
              <a:gd name="T49" fmla="*/ 197 h 246"/>
              <a:gd name="T50" fmla="*/ 60 w 253"/>
              <a:gd name="T51" fmla="*/ 207 h 246"/>
              <a:gd name="T52" fmla="*/ 68 w 253"/>
              <a:gd name="T53" fmla="*/ 201 h 246"/>
              <a:gd name="T54" fmla="*/ 75 w 253"/>
              <a:gd name="T55" fmla="*/ 190 h 246"/>
              <a:gd name="T56" fmla="*/ 84 w 253"/>
              <a:gd name="T57" fmla="*/ 180 h 246"/>
              <a:gd name="T58" fmla="*/ 91 w 253"/>
              <a:gd name="T59" fmla="*/ 181 h 246"/>
              <a:gd name="T60" fmla="*/ 98 w 253"/>
              <a:gd name="T61" fmla="*/ 179 h 246"/>
              <a:gd name="T62" fmla="*/ 106 w 253"/>
              <a:gd name="T63" fmla="*/ 178 h 246"/>
              <a:gd name="T64" fmla="*/ 120 w 253"/>
              <a:gd name="T65" fmla="*/ 174 h 246"/>
              <a:gd name="T66" fmla="*/ 149 w 253"/>
              <a:gd name="T67" fmla="*/ 164 h 246"/>
              <a:gd name="T68" fmla="*/ 179 w 253"/>
              <a:gd name="T69" fmla="*/ 147 h 246"/>
              <a:gd name="T70" fmla="*/ 197 w 253"/>
              <a:gd name="T71" fmla="*/ 135 h 246"/>
              <a:gd name="T72" fmla="*/ 210 w 253"/>
              <a:gd name="T73" fmla="*/ 123 h 246"/>
              <a:gd name="T74" fmla="*/ 218 w 253"/>
              <a:gd name="T75" fmla="*/ 111 h 246"/>
              <a:gd name="T76" fmla="*/ 219 w 253"/>
              <a:gd name="T77" fmla="*/ 98 h 246"/>
              <a:gd name="T78" fmla="*/ 214 w 253"/>
              <a:gd name="T79" fmla="*/ 88 h 246"/>
              <a:gd name="T80" fmla="*/ 210 w 253"/>
              <a:gd name="T81" fmla="*/ 80 h 246"/>
              <a:gd name="T82" fmla="*/ 207 w 253"/>
              <a:gd name="T83" fmla="*/ 72 h 246"/>
              <a:gd name="T84" fmla="*/ 201 w 253"/>
              <a:gd name="T85" fmla="*/ 67 h 246"/>
              <a:gd name="T86" fmla="*/ 191 w 253"/>
              <a:gd name="T87" fmla="*/ 65 h 246"/>
              <a:gd name="T88" fmla="*/ 184 w 253"/>
              <a:gd name="T89" fmla="*/ 61 h 246"/>
              <a:gd name="T90" fmla="*/ 180 w 253"/>
              <a:gd name="T91" fmla="*/ 54 h 246"/>
              <a:gd name="T92" fmla="*/ 140 w 253"/>
              <a:gd name="T93" fmla="*/ 49 h 246"/>
              <a:gd name="T94" fmla="*/ 136 w 253"/>
              <a:gd name="T95" fmla="*/ 44 h 246"/>
              <a:gd name="T96" fmla="*/ 136 w 253"/>
              <a:gd name="T97" fmla="*/ 36 h 246"/>
              <a:gd name="T98" fmla="*/ 140 w 253"/>
              <a:gd name="T99" fmla="*/ 18 h 246"/>
              <a:gd name="T100" fmla="*/ 110 w 253"/>
              <a:gd name="T101" fmla="*/ 11 h 246"/>
              <a:gd name="T102" fmla="*/ 97 w 253"/>
              <a:gd name="T103" fmla="*/ 12 h 246"/>
              <a:gd name="T104" fmla="*/ 86 w 253"/>
              <a:gd name="T105" fmla="*/ 18 h 246"/>
              <a:gd name="T106" fmla="*/ 104 w 253"/>
              <a:gd name="T107" fmla="*/ 5 h 246"/>
              <a:gd name="T108" fmla="*/ 113 w 253"/>
              <a:gd name="T109" fmla="*/ 1 h 246"/>
              <a:gd name="T110" fmla="*/ 127 w 253"/>
              <a:gd name="T11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37" name="Freeform 281">
            <a:extLst>
              <a:ext uri="{FF2B5EF4-FFF2-40B4-BE49-F238E27FC236}">
                <a16:creationId xmlns="" xmlns:a16="http://schemas.microsoft.com/office/drawing/2014/main" id="{0BD13D83-F262-44A8-BD34-1D88F67902D2}"/>
              </a:ext>
            </a:extLst>
          </p:cNvPr>
          <p:cNvSpPr>
            <a:spLocks/>
          </p:cNvSpPr>
          <p:nvPr>
            <p:custDataLst>
              <p:tags r:id="rId207"/>
            </p:custDataLst>
          </p:nvPr>
        </p:nvSpPr>
        <p:spPr bwMode="auto">
          <a:xfrm>
            <a:off x="6474838" y="4141312"/>
            <a:ext cx="77355" cy="123074"/>
          </a:xfrm>
          <a:custGeom>
            <a:avLst/>
            <a:gdLst>
              <a:gd name="T0" fmla="*/ 41 w 141"/>
              <a:gd name="T1" fmla="*/ 228 h 228"/>
              <a:gd name="T2" fmla="*/ 36 w 141"/>
              <a:gd name="T3" fmla="*/ 220 h 228"/>
              <a:gd name="T4" fmla="*/ 29 w 141"/>
              <a:gd name="T5" fmla="*/ 208 h 228"/>
              <a:gd name="T6" fmla="*/ 22 w 141"/>
              <a:gd name="T7" fmla="*/ 194 h 228"/>
              <a:gd name="T8" fmla="*/ 16 w 141"/>
              <a:gd name="T9" fmla="*/ 178 h 228"/>
              <a:gd name="T10" fmla="*/ 10 w 141"/>
              <a:gd name="T11" fmla="*/ 163 h 228"/>
              <a:gd name="T12" fmla="*/ 5 w 141"/>
              <a:gd name="T13" fmla="*/ 148 h 228"/>
              <a:gd name="T14" fmla="*/ 2 w 141"/>
              <a:gd name="T15" fmla="*/ 135 h 228"/>
              <a:gd name="T16" fmla="*/ 0 w 141"/>
              <a:gd name="T17" fmla="*/ 123 h 228"/>
              <a:gd name="T18" fmla="*/ 2 w 141"/>
              <a:gd name="T19" fmla="*/ 104 h 228"/>
              <a:gd name="T20" fmla="*/ 4 w 141"/>
              <a:gd name="T21" fmla="*/ 87 h 228"/>
              <a:gd name="T22" fmla="*/ 6 w 141"/>
              <a:gd name="T23" fmla="*/ 70 h 228"/>
              <a:gd name="T24" fmla="*/ 9 w 141"/>
              <a:gd name="T25" fmla="*/ 55 h 228"/>
              <a:gd name="T26" fmla="*/ 18 w 141"/>
              <a:gd name="T27" fmla="*/ 28 h 228"/>
              <a:gd name="T28" fmla="*/ 28 w 141"/>
              <a:gd name="T29" fmla="*/ 0 h 228"/>
              <a:gd name="T30" fmla="*/ 45 w 141"/>
              <a:gd name="T31" fmla="*/ 16 h 228"/>
              <a:gd name="T32" fmla="*/ 62 w 141"/>
              <a:gd name="T33" fmla="*/ 28 h 228"/>
              <a:gd name="T34" fmla="*/ 76 w 141"/>
              <a:gd name="T35" fmla="*/ 37 h 228"/>
              <a:gd name="T36" fmla="*/ 89 w 141"/>
              <a:gd name="T37" fmla="*/ 48 h 228"/>
              <a:gd name="T38" fmla="*/ 95 w 141"/>
              <a:gd name="T39" fmla="*/ 55 h 228"/>
              <a:gd name="T40" fmla="*/ 101 w 141"/>
              <a:gd name="T41" fmla="*/ 63 h 228"/>
              <a:gd name="T42" fmla="*/ 107 w 141"/>
              <a:gd name="T43" fmla="*/ 74 h 228"/>
              <a:gd name="T44" fmla="*/ 114 w 141"/>
              <a:gd name="T45" fmla="*/ 86 h 228"/>
              <a:gd name="T46" fmla="*/ 120 w 141"/>
              <a:gd name="T47" fmla="*/ 100 h 228"/>
              <a:gd name="T48" fmla="*/ 127 w 141"/>
              <a:gd name="T49" fmla="*/ 117 h 228"/>
              <a:gd name="T50" fmla="*/ 133 w 141"/>
              <a:gd name="T51" fmla="*/ 138 h 228"/>
              <a:gd name="T52" fmla="*/ 141 w 141"/>
              <a:gd name="T53" fmla="*/ 161 h 228"/>
              <a:gd name="T54" fmla="*/ 140 w 141"/>
              <a:gd name="T55" fmla="*/ 169 h 228"/>
              <a:gd name="T56" fmla="*/ 138 w 141"/>
              <a:gd name="T57" fmla="*/ 177 h 228"/>
              <a:gd name="T58" fmla="*/ 135 w 141"/>
              <a:gd name="T59" fmla="*/ 186 h 228"/>
              <a:gd name="T60" fmla="*/ 131 w 141"/>
              <a:gd name="T61" fmla="*/ 192 h 228"/>
              <a:gd name="T62" fmla="*/ 127 w 141"/>
              <a:gd name="T63" fmla="*/ 199 h 228"/>
              <a:gd name="T64" fmla="*/ 121 w 141"/>
              <a:gd name="T65" fmla="*/ 204 h 228"/>
              <a:gd name="T66" fmla="*/ 115 w 141"/>
              <a:gd name="T67" fmla="*/ 209 h 228"/>
              <a:gd name="T68" fmla="*/ 108 w 141"/>
              <a:gd name="T69" fmla="*/ 213 h 228"/>
              <a:gd name="T70" fmla="*/ 100 w 141"/>
              <a:gd name="T71" fmla="*/ 217 h 228"/>
              <a:gd name="T72" fmla="*/ 93 w 141"/>
              <a:gd name="T73" fmla="*/ 220 h 228"/>
              <a:gd name="T74" fmla="*/ 85 w 141"/>
              <a:gd name="T75" fmla="*/ 223 h 228"/>
              <a:gd name="T76" fmla="*/ 76 w 141"/>
              <a:gd name="T77" fmla="*/ 225 h 228"/>
              <a:gd name="T78" fmla="*/ 59 w 141"/>
              <a:gd name="T79" fmla="*/ 227 h 228"/>
              <a:gd name="T80" fmla="*/ 41 w 141"/>
              <a:gd name="T81"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endParaRPr lang="en-GB" dirty="0"/>
          </a:p>
        </p:txBody>
      </p:sp>
      <p:grpSp>
        <p:nvGrpSpPr>
          <p:cNvPr id="338" name="Group 282">
            <a:extLst>
              <a:ext uri="{FF2B5EF4-FFF2-40B4-BE49-F238E27FC236}">
                <a16:creationId xmlns="" xmlns:a16="http://schemas.microsoft.com/office/drawing/2014/main" id="{450F6F04-4872-4E40-8606-D86F8F0EB71A}"/>
              </a:ext>
            </a:extLst>
          </p:cNvPr>
          <p:cNvGrpSpPr>
            <a:grpSpLocks/>
          </p:cNvGrpSpPr>
          <p:nvPr>
            <p:custDataLst>
              <p:tags r:id="rId208"/>
            </p:custDataLst>
          </p:nvPr>
        </p:nvGrpSpPr>
        <p:grpSpPr bwMode="auto">
          <a:xfrm>
            <a:off x="7619679" y="3842654"/>
            <a:ext cx="284276" cy="454551"/>
            <a:chOff x="5062" y="2295"/>
            <a:chExt cx="177" cy="279"/>
          </a:xfrm>
        </p:grpSpPr>
        <p:sp>
          <p:nvSpPr>
            <p:cNvPr id="585" name="Freeform 283">
              <a:extLst>
                <a:ext uri="{FF2B5EF4-FFF2-40B4-BE49-F238E27FC236}">
                  <a16:creationId xmlns="" xmlns:a16="http://schemas.microsoft.com/office/drawing/2014/main" id="{89228B97-7004-4B55-82A3-739BA480A058}"/>
                </a:ext>
              </a:extLst>
            </p:cNvPr>
            <p:cNvSpPr>
              <a:spLocks/>
            </p:cNvSpPr>
            <p:nvPr/>
          </p:nvSpPr>
          <p:spPr bwMode="auto">
            <a:xfrm>
              <a:off x="5154" y="2449"/>
              <a:ext cx="19" cy="37"/>
            </a:xfrm>
            <a:custGeom>
              <a:avLst/>
              <a:gdLst>
                <a:gd name="T0" fmla="*/ 39 w 60"/>
                <a:gd name="T1" fmla="*/ 110 h 110"/>
                <a:gd name="T2" fmla="*/ 42 w 60"/>
                <a:gd name="T3" fmla="*/ 109 h 110"/>
                <a:gd name="T4" fmla="*/ 46 w 60"/>
                <a:gd name="T5" fmla="*/ 106 h 110"/>
                <a:gd name="T6" fmla="*/ 49 w 60"/>
                <a:gd name="T7" fmla="*/ 101 h 110"/>
                <a:gd name="T8" fmla="*/ 52 w 60"/>
                <a:gd name="T9" fmla="*/ 96 h 110"/>
                <a:gd name="T10" fmla="*/ 54 w 60"/>
                <a:gd name="T11" fmla="*/ 90 h 110"/>
                <a:gd name="T12" fmla="*/ 57 w 60"/>
                <a:gd name="T13" fmla="*/ 84 h 110"/>
                <a:gd name="T14" fmla="*/ 59 w 60"/>
                <a:gd name="T15" fmla="*/ 78 h 110"/>
                <a:gd name="T16" fmla="*/ 60 w 60"/>
                <a:gd name="T17" fmla="*/ 73 h 110"/>
                <a:gd name="T18" fmla="*/ 59 w 60"/>
                <a:gd name="T19" fmla="*/ 60 h 110"/>
                <a:gd name="T20" fmla="*/ 58 w 60"/>
                <a:gd name="T21" fmla="*/ 48 h 110"/>
                <a:gd name="T22" fmla="*/ 57 w 60"/>
                <a:gd name="T23" fmla="*/ 38 h 110"/>
                <a:gd name="T24" fmla="*/ 54 w 60"/>
                <a:gd name="T25" fmla="*/ 29 h 110"/>
                <a:gd name="T26" fmla="*/ 51 w 60"/>
                <a:gd name="T27" fmla="*/ 21 h 110"/>
                <a:gd name="T28" fmla="*/ 48 w 60"/>
                <a:gd name="T29" fmla="*/ 13 h 110"/>
                <a:gd name="T30" fmla="*/ 45 w 60"/>
                <a:gd name="T31" fmla="*/ 6 h 110"/>
                <a:gd name="T32" fmla="*/ 39 w 60"/>
                <a:gd name="T33" fmla="*/ 0 h 110"/>
                <a:gd name="T34" fmla="*/ 35 w 60"/>
                <a:gd name="T35" fmla="*/ 3 h 110"/>
                <a:gd name="T36" fmla="*/ 30 w 60"/>
                <a:gd name="T37" fmla="*/ 8 h 110"/>
                <a:gd name="T38" fmla="*/ 27 w 60"/>
                <a:gd name="T39" fmla="*/ 13 h 110"/>
                <a:gd name="T40" fmla="*/ 24 w 60"/>
                <a:gd name="T41" fmla="*/ 18 h 110"/>
                <a:gd name="T42" fmla="*/ 18 w 60"/>
                <a:gd name="T43" fmla="*/ 29 h 110"/>
                <a:gd name="T44" fmla="*/ 15 w 60"/>
                <a:gd name="T45" fmla="*/ 40 h 110"/>
                <a:gd name="T46" fmla="*/ 10 w 60"/>
                <a:gd name="T47" fmla="*/ 51 h 110"/>
                <a:gd name="T48" fmla="*/ 7 w 60"/>
                <a:gd name="T49" fmla="*/ 62 h 110"/>
                <a:gd name="T50" fmla="*/ 6 w 60"/>
                <a:gd name="T51" fmla="*/ 66 h 110"/>
                <a:gd name="T52" fmla="*/ 4 w 60"/>
                <a:gd name="T53" fmla="*/ 69 h 110"/>
                <a:gd name="T54" fmla="*/ 2 w 60"/>
                <a:gd name="T55" fmla="*/ 72 h 110"/>
                <a:gd name="T56" fmla="*/ 0 w 60"/>
                <a:gd name="T57" fmla="*/ 73 h 110"/>
                <a:gd name="T58" fmla="*/ 1 w 60"/>
                <a:gd name="T59" fmla="*/ 78 h 110"/>
                <a:gd name="T60" fmla="*/ 3 w 60"/>
                <a:gd name="T61" fmla="*/ 84 h 110"/>
                <a:gd name="T62" fmla="*/ 7 w 60"/>
                <a:gd name="T63" fmla="*/ 90 h 110"/>
                <a:gd name="T64" fmla="*/ 12 w 60"/>
                <a:gd name="T65" fmla="*/ 96 h 110"/>
                <a:gd name="T66" fmla="*/ 18 w 60"/>
                <a:gd name="T67" fmla="*/ 101 h 110"/>
                <a:gd name="T68" fmla="*/ 25 w 60"/>
                <a:gd name="T69" fmla="*/ 106 h 110"/>
                <a:gd name="T70" fmla="*/ 32 w 60"/>
                <a:gd name="T71" fmla="*/ 109 h 110"/>
                <a:gd name="T72" fmla="*/ 39 w 60"/>
                <a:gd name="T7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586" name="Freeform 284">
              <a:extLst>
                <a:ext uri="{FF2B5EF4-FFF2-40B4-BE49-F238E27FC236}">
                  <a16:creationId xmlns="" xmlns:a16="http://schemas.microsoft.com/office/drawing/2014/main" id="{E2CADFE7-8BE7-49CF-8A77-7A3697B51607}"/>
                </a:ext>
              </a:extLst>
            </p:cNvPr>
            <p:cNvSpPr>
              <a:spLocks/>
            </p:cNvSpPr>
            <p:nvPr/>
          </p:nvSpPr>
          <p:spPr bwMode="auto">
            <a:xfrm>
              <a:off x="5189" y="2422"/>
              <a:ext cx="24" cy="25"/>
            </a:xfrm>
            <a:custGeom>
              <a:avLst/>
              <a:gdLst>
                <a:gd name="T0" fmla="*/ 0 w 72"/>
                <a:gd name="T1" fmla="*/ 13 h 75"/>
                <a:gd name="T2" fmla="*/ 8 w 72"/>
                <a:gd name="T3" fmla="*/ 18 h 75"/>
                <a:gd name="T4" fmla="*/ 15 w 72"/>
                <a:gd name="T5" fmla="*/ 25 h 75"/>
                <a:gd name="T6" fmla="*/ 23 w 72"/>
                <a:gd name="T7" fmla="*/ 32 h 75"/>
                <a:gd name="T8" fmla="*/ 31 w 72"/>
                <a:gd name="T9" fmla="*/ 40 h 75"/>
                <a:gd name="T10" fmla="*/ 37 w 72"/>
                <a:gd name="T11" fmla="*/ 48 h 75"/>
                <a:gd name="T12" fmla="*/ 42 w 72"/>
                <a:gd name="T13" fmla="*/ 57 h 75"/>
                <a:gd name="T14" fmla="*/ 45 w 72"/>
                <a:gd name="T15" fmla="*/ 65 h 75"/>
                <a:gd name="T16" fmla="*/ 46 w 72"/>
                <a:gd name="T17" fmla="*/ 75 h 75"/>
                <a:gd name="T18" fmla="*/ 72 w 72"/>
                <a:gd name="T19" fmla="*/ 75 h 75"/>
                <a:gd name="T20" fmla="*/ 65 w 72"/>
                <a:gd name="T21" fmla="*/ 50 h 75"/>
                <a:gd name="T22" fmla="*/ 60 w 72"/>
                <a:gd name="T23" fmla="*/ 34 h 75"/>
                <a:gd name="T24" fmla="*/ 60 w 72"/>
                <a:gd name="T25" fmla="*/ 27 h 75"/>
                <a:gd name="T26" fmla="*/ 63 w 72"/>
                <a:gd name="T27" fmla="*/ 19 h 75"/>
                <a:gd name="T28" fmla="*/ 67 w 72"/>
                <a:gd name="T29" fmla="*/ 11 h 75"/>
                <a:gd name="T30" fmla="*/ 72 w 72"/>
                <a:gd name="T31" fmla="*/ 1 h 75"/>
                <a:gd name="T32" fmla="*/ 52 w 72"/>
                <a:gd name="T33" fmla="*/ 0 h 75"/>
                <a:gd name="T34" fmla="*/ 32 w 72"/>
                <a:gd name="T35" fmla="*/ 0 h 75"/>
                <a:gd name="T36" fmla="*/ 22 w 72"/>
                <a:gd name="T37" fmla="*/ 1 h 75"/>
                <a:gd name="T38" fmla="*/ 13 w 72"/>
                <a:gd name="T39" fmla="*/ 3 h 75"/>
                <a:gd name="T40" fmla="*/ 9 w 72"/>
                <a:gd name="T41" fmla="*/ 5 h 75"/>
                <a:gd name="T42" fmla="*/ 6 w 72"/>
                <a:gd name="T43" fmla="*/ 7 h 75"/>
                <a:gd name="T44" fmla="*/ 2 w 72"/>
                <a:gd name="T45" fmla="*/ 10 h 75"/>
                <a:gd name="T46" fmla="*/ 0 w 72"/>
                <a:gd name="T47"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endParaRPr lang="en-GB" dirty="0"/>
            </a:p>
          </p:txBody>
        </p:sp>
        <p:sp>
          <p:nvSpPr>
            <p:cNvPr id="587" name="Freeform 285">
              <a:extLst>
                <a:ext uri="{FF2B5EF4-FFF2-40B4-BE49-F238E27FC236}">
                  <a16:creationId xmlns="" xmlns:a16="http://schemas.microsoft.com/office/drawing/2014/main" id="{264B5292-01A6-4A30-B80D-3852DC093B6F}"/>
                </a:ext>
              </a:extLst>
            </p:cNvPr>
            <p:cNvSpPr>
              <a:spLocks/>
            </p:cNvSpPr>
            <p:nvPr/>
          </p:nvSpPr>
          <p:spPr bwMode="auto">
            <a:xfrm>
              <a:off x="5160" y="2389"/>
              <a:ext cx="5" cy="16"/>
            </a:xfrm>
            <a:custGeom>
              <a:avLst/>
              <a:gdLst>
                <a:gd name="T0" fmla="*/ 15 w 15"/>
                <a:gd name="T1" fmla="*/ 49 h 49"/>
                <a:gd name="T2" fmla="*/ 15 w 15"/>
                <a:gd name="T3" fmla="*/ 33 h 49"/>
                <a:gd name="T4" fmla="*/ 15 w 15"/>
                <a:gd name="T5" fmla="*/ 19 h 49"/>
                <a:gd name="T6" fmla="*/ 14 w 15"/>
                <a:gd name="T7" fmla="*/ 13 h 49"/>
                <a:gd name="T8" fmla="*/ 13 w 15"/>
                <a:gd name="T9" fmla="*/ 7 h 49"/>
                <a:gd name="T10" fmla="*/ 11 w 15"/>
                <a:gd name="T11" fmla="*/ 3 h 49"/>
                <a:gd name="T12" fmla="*/ 9 w 15"/>
                <a:gd name="T13" fmla="*/ 0 h 49"/>
                <a:gd name="T14" fmla="*/ 4 w 15"/>
                <a:gd name="T15" fmla="*/ 7 h 49"/>
                <a:gd name="T16" fmla="*/ 2 w 15"/>
                <a:gd name="T17" fmla="*/ 15 h 49"/>
                <a:gd name="T18" fmla="*/ 0 w 15"/>
                <a:gd name="T19" fmla="*/ 23 h 49"/>
                <a:gd name="T20" fmla="*/ 0 w 15"/>
                <a:gd name="T21" fmla="*/ 30 h 49"/>
                <a:gd name="T22" fmla="*/ 1 w 15"/>
                <a:gd name="T23" fmla="*/ 36 h 49"/>
                <a:gd name="T24" fmla="*/ 4 w 15"/>
                <a:gd name="T25" fmla="*/ 42 h 49"/>
                <a:gd name="T26" fmla="*/ 7 w 15"/>
                <a:gd name="T27" fmla="*/ 44 h 49"/>
                <a:gd name="T28" fmla="*/ 9 w 15"/>
                <a:gd name="T29" fmla="*/ 46 h 49"/>
                <a:gd name="T30" fmla="*/ 12 w 15"/>
                <a:gd name="T31" fmla="*/ 48 h 49"/>
                <a:gd name="T32" fmla="*/ 15 w 15"/>
                <a:gd name="T3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endParaRPr lang="en-GB" dirty="0"/>
            </a:p>
          </p:txBody>
        </p:sp>
        <p:sp>
          <p:nvSpPr>
            <p:cNvPr id="588" name="Freeform 286">
              <a:extLst>
                <a:ext uri="{FF2B5EF4-FFF2-40B4-BE49-F238E27FC236}">
                  <a16:creationId xmlns="" xmlns:a16="http://schemas.microsoft.com/office/drawing/2014/main" id="{41255550-1ECA-45EA-A04D-87106199B3DE}"/>
                </a:ext>
              </a:extLst>
            </p:cNvPr>
            <p:cNvSpPr>
              <a:spLocks/>
            </p:cNvSpPr>
            <p:nvPr/>
          </p:nvSpPr>
          <p:spPr bwMode="auto">
            <a:xfrm>
              <a:off x="5139" y="2387"/>
              <a:ext cx="15" cy="13"/>
            </a:xfrm>
            <a:custGeom>
              <a:avLst/>
              <a:gdLst>
                <a:gd name="T0" fmla="*/ 20 w 47"/>
                <a:gd name="T1" fmla="*/ 6 h 40"/>
                <a:gd name="T2" fmla="*/ 0 w 47"/>
                <a:gd name="T3" fmla="*/ 37 h 40"/>
                <a:gd name="T4" fmla="*/ 6 w 47"/>
                <a:gd name="T5" fmla="*/ 39 h 40"/>
                <a:gd name="T6" fmla="*/ 12 w 47"/>
                <a:gd name="T7" fmla="*/ 40 h 40"/>
                <a:gd name="T8" fmla="*/ 19 w 47"/>
                <a:gd name="T9" fmla="*/ 39 h 40"/>
                <a:gd name="T10" fmla="*/ 26 w 47"/>
                <a:gd name="T11" fmla="*/ 38 h 40"/>
                <a:gd name="T12" fmla="*/ 32 w 47"/>
                <a:gd name="T13" fmla="*/ 36 h 40"/>
                <a:gd name="T14" fmla="*/ 39 w 47"/>
                <a:gd name="T15" fmla="*/ 33 h 40"/>
                <a:gd name="T16" fmla="*/ 43 w 47"/>
                <a:gd name="T17" fmla="*/ 30 h 40"/>
                <a:gd name="T18" fmla="*/ 47 w 47"/>
                <a:gd name="T19" fmla="*/ 25 h 40"/>
                <a:gd name="T20" fmla="*/ 47 w 47"/>
                <a:gd name="T21" fmla="*/ 0 h 40"/>
                <a:gd name="T22" fmla="*/ 41 w 47"/>
                <a:gd name="T23" fmla="*/ 0 h 40"/>
                <a:gd name="T24" fmla="*/ 33 w 47"/>
                <a:gd name="T25" fmla="*/ 1 h 40"/>
                <a:gd name="T26" fmla="*/ 26 w 47"/>
                <a:gd name="T27" fmla="*/ 3 h 40"/>
                <a:gd name="T28" fmla="*/ 20 w 47"/>
                <a:gd name="T2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589" name="Freeform 287">
              <a:extLst>
                <a:ext uri="{FF2B5EF4-FFF2-40B4-BE49-F238E27FC236}">
                  <a16:creationId xmlns="" xmlns:a16="http://schemas.microsoft.com/office/drawing/2014/main" id="{5A4D288F-21F6-4058-8CFB-3EC6145F718D}"/>
                </a:ext>
              </a:extLst>
            </p:cNvPr>
            <p:cNvSpPr>
              <a:spLocks/>
            </p:cNvSpPr>
            <p:nvPr/>
          </p:nvSpPr>
          <p:spPr bwMode="auto">
            <a:xfrm>
              <a:off x="5184" y="2465"/>
              <a:ext cx="13" cy="10"/>
            </a:xfrm>
            <a:custGeom>
              <a:avLst/>
              <a:gdLst>
                <a:gd name="T0" fmla="*/ 0 w 39"/>
                <a:gd name="T1" fmla="*/ 0 h 31"/>
                <a:gd name="T2" fmla="*/ 3 w 39"/>
                <a:gd name="T3" fmla="*/ 8 h 31"/>
                <a:gd name="T4" fmla="*/ 6 w 39"/>
                <a:gd name="T5" fmla="*/ 13 h 31"/>
                <a:gd name="T6" fmla="*/ 12 w 39"/>
                <a:gd name="T7" fmla="*/ 19 h 31"/>
                <a:gd name="T8" fmla="*/ 17 w 39"/>
                <a:gd name="T9" fmla="*/ 23 h 31"/>
                <a:gd name="T10" fmla="*/ 23 w 39"/>
                <a:gd name="T11" fmla="*/ 26 h 31"/>
                <a:gd name="T12" fmla="*/ 28 w 39"/>
                <a:gd name="T13" fmla="*/ 29 h 31"/>
                <a:gd name="T14" fmla="*/ 34 w 39"/>
                <a:gd name="T15" fmla="*/ 31 h 31"/>
                <a:gd name="T16" fmla="*/ 39 w 39"/>
                <a:gd name="T17" fmla="*/ 31 h 31"/>
                <a:gd name="T18" fmla="*/ 33 w 39"/>
                <a:gd name="T19" fmla="*/ 22 h 31"/>
                <a:gd name="T20" fmla="*/ 25 w 39"/>
                <a:gd name="T21" fmla="*/ 14 h 31"/>
                <a:gd name="T22" fmla="*/ 16 w 39"/>
                <a:gd name="T23" fmla="*/ 7 h 31"/>
                <a:gd name="T24" fmla="*/ 6 w 39"/>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590" name="Freeform 288">
              <a:extLst>
                <a:ext uri="{FF2B5EF4-FFF2-40B4-BE49-F238E27FC236}">
                  <a16:creationId xmlns="" xmlns:a16="http://schemas.microsoft.com/office/drawing/2014/main" id="{53945F6D-584A-483F-8061-67E9CBCD89A0}"/>
                </a:ext>
              </a:extLst>
            </p:cNvPr>
            <p:cNvSpPr>
              <a:spLocks/>
            </p:cNvSpPr>
            <p:nvPr/>
          </p:nvSpPr>
          <p:spPr bwMode="auto">
            <a:xfrm>
              <a:off x="5172" y="2410"/>
              <a:ext cx="10" cy="6"/>
            </a:xfrm>
            <a:custGeom>
              <a:avLst/>
              <a:gdLst>
                <a:gd name="T0" fmla="*/ 0 w 34"/>
                <a:gd name="T1" fmla="*/ 0 h 19"/>
                <a:gd name="T2" fmla="*/ 34 w 34"/>
                <a:gd name="T3" fmla="*/ 19 h 19"/>
                <a:gd name="T4" fmla="*/ 34 w 34"/>
                <a:gd name="T5" fmla="*/ 0 h 19"/>
                <a:gd name="T6" fmla="*/ 24 w 34"/>
                <a:gd name="T7" fmla="*/ 0 h 19"/>
                <a:gd name="T8" fmla="*/ 14 w 34"/>
                <a:gd name="T9" fmla="*/ 0 h 19"/>
                <a:gd name="T10" fmla="*/ 7 w 34"/>
                <a:gd name="T11" fmla="*/ 0 h 19"/>
                <a:gd name="T12" fmla="*/ 0 w 3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591" name="Freeform 289">
              <a:extLst>
                <a:ext uri="{FF2B5EF4-FFF2-40B4-BE49-F238E27FC236}">
                  <a16:creationId xmlns="" xmlns:a16="http://schemas.microsoft.com/office/drawing/2014/main" id="{1638D6FF-2454-4EF2-A2BB-D601B2911555}"/>
                </a:ext>
              </a:extLst>
            </p:cNvPr>
            <p:cNvSpPr>
              <a:spLocks/>
            </p:cNvSpPr>
            <p:nvPr/>
          </p:nvSpPr>
          <p:spPr bwMode="auto">
            <a:xfrm>
              <a:off x="5180" y="2471"/>
              <a:ext cx="6" cy="4"/>
            </a:xfrm>
            <a:custGeom>
              <a:avLst/>
              <a:gdLst>
                <a:gd name="T0" fmla="*/ 0 w 19"/>
                <a:gd name="T1" fmla="*/ 0 h 12"/>
                <a:gd name="T2" fmla="*/ 19 w 19"/>
                <a:gd name="T3" fmla="*/ 12 h 12"/>
                <a:gd name="T4" fmla="*/ 13 w 19"/>
                <a:gd name="T5" fmla="*/ 6 h 12"/>
                <a:gd name="T6" fmla="*/ 6 w 19"/>
                <a:gd name="T7" fmla="*/ 6 h 12"/>
              </a:gdLst>
              <a:ahLst/>
              <a:cxnLst>
                <a:cxn ang="0">
                  <a:pos x="T0" y="T1"/>
                </a:cxn>
                <a:cxn ang="0">
                  <a:pos x="T2" y="T3"/>
                </a:cxn>
                <a:cxn ang="0">
                  <a:pos x="T4" y="T5"/>
                </a:cxn>
                <a:cxn ang="0">
                  <a:pos x="T6" y="T7"/>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592" name="Freeform 290">
              <a:extLst>
                <a:ext uri="{FF2B5EF4-FFF2-40B4-BE49-F238E27FC236}">
                  <a16:creationId xmlns="" xmlns:a16="http://schemas.microsoft.com/office/drawing/2014/main" id="{FB08EA61-C1C3-47AD-A31C-80902652239B}"/>
                </a:ext>
              </a:extLst>
            </p:cNvPr>
            <p:cNvSpPr>
              <a:spLocks/>
            </p:cNvSpPr>
            <p:nvPr/>
          </p:nvSpPr>
          <p:spPr bwMode="auto">
            <a:xfrm>
              <a:off x="5062" y="2447"/>
              <a:ext cx="42" cy="55"/>
            </a:xfrm>
            <a:custGeom>
              <a:avLst/>
              <a:gdLst>
                <a:gd name="T0" fmla="*/ 113 w 126"/>
                <a:gd name="T1" fmla="*/ 0 h 166"/>
                <a:gd name="T2" fmla="*/ 117 w 126"/>
                <a:gd name="T3" fmla="*/ 5 h 166"/>
                <a:gd name="T4" fmla="*/ 121 w 126"/>
                <a:gd name="T5" fmla="*/ 10 h 166"/>
                <a:gd name="T6" fmla="*/ 124 w 126"/>
                <a:gd name="T7" fmla="*/ 13 h 166"/>
                <a:gd name="T8" fmla="*/ 125 w 126"/>
                <a:gd name="T9" fmla="*/ 17 h 166"/>
                <a:gd name="T10" fmla="*/ 126 w 126"/>
                <a:gd name="T11" fmla="*/ 20 h 166"/>
                <a:gd name="T12" fmla="*/ 126 w 126"/>
                <a:gd name="T13" fmla="*/ 25 h 166"/>
                <a:gd name="T14" fmla="*/ 123 w 126"/>
                <a:gd name="T15" fmla="*/ 32 h 166"/>
                <a:gd name="T16" fmla="*/ 118 w 126"/>
                <a:gd name="T17" fmla="*/ 41 h 166"/>
                <a:gd name="T18" fmla="*/ 113 w 126"/>
                <a:gd name="T19" fmla="*/ 50 h 166"/>
                <a:gd name="T20" fmla="*/ 106 w 126"/>
                <a:gd name="T21" fmla="*/ 61 h 166"/>
                <a:gd name="T22" fmla="*/ 91 w 126"/>
                <a:gd name="T23" fmla="*/ 83 h 166"/>
                <a:gd name="T24" fmla="*/ 72 w 126"/>
                <a:gd name="T25" fmla="*/ 104 h 166"/>
                <a:gd name="T26" fmla="*/ 53 w 126"/>
                <a:gd name="T27" fmla="*/ 126 h 166"/>
                <a:gd name="T28" fmla="*/ 34 w 126"/>
                <a:gd name="T29" fmla="*/ 144 h 166"/>
                <a:gd name="T30" fmla="*/ 25 w 126"/>
                <a:gd name="T31" fmla="*/ 152 h 166"/>
                <a:gd name="T32" fmla="*/ 16 w 126"/>
                <a:gd name="T33" fmla="*/ 158 h 166"/>
                <a:gd name="T34" fmla="*/ 7 w 126"/>
                <a:gd name="T35" fmla="*/ 163 h 166"/>
                <a:gd name="T36" fmla="*/ 0 w 126"/>
                <a:gd name="T37" fmla="*/ 166 h 166"/>
                <a:gd name="T38" fmla="*/ 0 w 126"/>
                <a:gd name="T39" fmla="*/ 160 h 166"/>
                <a:gd name="T40" fmla="*/ 0 w 126"/>
                <a:gd name="T41" fmla="*/ 153 h 166"/>
                <a:gd name="T42" fmla="*/ 0 w 126"/>
                <a:gd name="T43" fmla="*/ 145 h 166"/>
                <a:gd name="T44" fmla="*/ 0 w 126"/>
                <a:gd name="T45" fmla="*/ 136 h 166"/>
                <a:gd name="T46" fmla="*/ 3 w 126"/>
                <a:gd name="T47" fmla="*/ 131 h 166"/>
                <a:gd name="T48" fmla="*/ 6 w 126"/>
                <a:gd name="T49" fmla="*/ 128 h 166"/>
                <a:gd name="T50" fmla="*/ 12 w 126"/>
                <a:gd name="T51" fmla="*/ 124 h 166"/>
                <a:gd name="T52" fmla="*/ 16 w 126"/>
                <a:gd name="T53" fmla="*/ 121 h 166"/>
                <a:gd name="T54" fmla="*/ 26 w 126"/>
                <a:gd name="T55" fmla="*/ 116 h 166"/>
                <a:gd name="T56" fmla="*/ 33 w 126"/>
                <a:gd name="T57" fmla="*/ 110 h 166"/>
                <a:gd name="T58" fmla="*/ 40 w 126"/>
                <a:gd name="T59" fmla="*/ 104 h 166"/>
                <a:gd name="T60" fmla="*/ 48 w 126"/>
                <a:gd name="T61" fmla="*/ 96 h 166"/>
                <a:gd name="T62" fmla="*/ 53 w 126"/>
                <a:gd name="T63" fmla="*/ 89 h 166"/>
                <a:gd name="T64" fmla="*/ 58 w 126"/>
                <a:gd name="T65" fmla="*/ 82 h 166"/>
                <a:gd name="T66" fmla="*/ 67 w 126"/>
                <a:gd name="T67" fmla="*/ 66 h 166"/>
                <a:gd name="T68" fmla="*/ 72 w 126"/>
                <a:gd name="T69" fmla="*/ 50 h 166"/>
                <a:gd name="T70" fmla="*/ 79 w 126"/>
                <a:gd name="T71" fmla="*/ 36 h 166"/>
                <a:gd name="T72" fmla="*/ 87 w 126"/>
                <a:gd name="T73" fmla="*/ 23 h 166"/>
                <a:gd name="T74" fmla="*/ 92 w 126"/>
                <a:gd name="T75" fmla="*/ 16 h 166"/>
                <a:gd name="T76" fmla="*/ 97 w 126"/>
                <a:gd name="T77" fmla="*/ 11 h 166"/>
                <a:gd name="T78" fmla="*/ 104 w 126"/>
                <a:gd name="T79" fmla="*/ 5 h 166"/>
                <a:gd name="T80" fmla="*/ 113 w 126"/>
                <a:gd name="T8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593" name="Freeform 291">
              <a:extLst>
                <a:ext uri="{FF2B5EF4-FFF2-40B4-BE49-F238E27FC236}">
                  <a16:creationId xmlns="" xmlns:a16="http://schemas.microsoft.com/office/drawing/2014/main" id="{099BFBEA-AB0E-4C50-A077-55BF5907A887}"/>
                </a:ext>
              </a:extLst>
            </p:cNvPr>
            <p:cNvSpPr>
              <a:spLocks/>
            </p:cNvSpPr>
            <p:nvPr/>
          </p:nvSpPr>
          <p:spPr bwMode="auto">
            <a:xfrm>
              <a:off x="5154" y="2465"/>
              <a:ext cx="85" cy="86"/>
            </a:xfrm>
            <a:custGeom>
              <a:avLst/>
              <a:gdLst>
                <a:gd name="T0" fmla="*/ 8 w 259"/>
                <a:gd name="T1" fmla="*/ 182 h 259"/>
                <a:gd name="T2" fmla="*/ 1 w 259"/>
                <a:gd name="T3" fmla="*/ 163 h 259"/>
                <a:gd name="T4" fmla="*/ 0 w 259"/>
                <a:gd name="T5" fmla="*/ 142 h 259"/>
                <a:gd name="T6" fmla="*/ 6 w 259"/>
                <a:gd name="T7" fmla="*/ 130 h 259"/>
                <a:gd name="T8" fmla="*/ 19 w 259"/>
                <a:gd name="T9" fmla="*/ 126 h 259"/>
                <a:gd name="T10" fmla="*/ 34 w 259"/>
                <a:gd name="T11" fmla="*/ 117 h 259"/>
                <a:gd name="T12" fmla="*/ 48 w 259"/>
                <a:gd name="T13" fmla="*/ 100 h 259"/>
                <a:gd name="T14" fmla="*/ 60 w 259"/>
                <a:gd name="T15" fmla="*/ 91 h 259"/>
                <a:gd name="T16" fmla="*/ 68 w 259"/>
                <a:gd name="T17" fmla="*/ 87 h 259"/>
                <a:gd name="T18" fmla="*/ 83 w 259"/>
                <a:gd name="T19" fmla="*/ 87 h 259"/>
                <a:gd name="T20" fmla="*/ 94 w 259"/>
                <a:gd name="T21" fmla="*/ 93 h 259"/>
                <a:gd name="T22" fmla="*/ 101 w 259"/>
                <a:gd name="T23" fmla="*/ 105 h 259"/>
                <a:gd name="T24" fmla="*/ 108 w 259"/>
                <a:gd name="T25" fmla="*/ 110 h 259"/>
                <a:gd name="T26" fmla="*/ 120 w 259"/>
                <a:gd name="T27" fmla="*/ 110 h 259"/>
                <a:gd name="T28" fmla="*/ 135 w 259"/>
                <a:gd name="T29" fmla="*/ 104 h 259"/>
                <a:gd name="T30" fmla="*/ 148 w 259"/>
                <a:gd name="T31" fmla="*/ 93 h 259"/>
                <a:gd name="T32" fmla="*/ 160 w 259"/>
                <a:gd name="T33" fmla="*/ 78 h 259"/>
                <a:gd name="T34" fmla="*/ 174 w 259"/>
                <a:gd name="T35" fmla="*/ 51 h 259"/>
                <a:gd name="T36" fmla="*/ 188 w 259"/>
                <a:gd name="T37" fmla="*/ 16 h 259"/>
                <a:gd name="T38" fmla="*/ 195 w 259"/>
                <a:gd name="T39" fmla="*/ 4 h 259"/>
                <a:gd name="T40" fmla="*/ 202 w 259"/>
                <a:gd name="T41" fmla="*/ 12 h 259"/>
                <a:gd name="T42" fmla="*/ 213 w 259"/>
                <a:gd name="T43" fmla="*/ 18 h 259"/>
                <a:gd name="T44" fmla="*/ 219 w 259"/>
                <a:gd name="T45" fmla="*/ 32 h 259"/>
                <a:gd name="T46" fmla="*/ 219 w 259"/>
                <a:gd name="T47" fmla="*/ 52 h 259"/>
                <a:gd name="T48" fmla="*/ 227 w 259"/>
                <a:gd name="T49" fmla="*/ 61 h 259"/>
                <a:gd name="T50" fmla="*/ 234 w 259"/>
                <a:gd name="T51" fmla="*/ 70 h 259"/>
                <a:gd name="T52" fmla="*/ 234 w 259"/>
                <a:gd name="T53" fmla="*/ 88 h 259"/>
                <a:gd name="T54" fmla="*/ 234 w 259"/>
                <a:gd name="T55" fmla="*/ 104 h 259"/>
                <a:gd name="T56" fmla="*/ 237 w 259"/>
                <a:gd name="T57" fmla="*/ 110 h 259"/>
                <a:gd name="T58" fmla="*/ 243 w 259"/>
                <a:gd name="T59" fmla="*/ 121 h 259"/>
                <a:gd name="T60" fmla="*/ 249 w 259"/>
                <a:gd name="T61" fmla="*/ 137 h 259"/>
                <a:gd name="T62" fmla="*/ 254 w 259"/>
                <a:gd name="T63" fmla="*/ 161 h 259"/>
                <a:gd name="T64" fmla="*/ 245 w 259"/>
                <a:gd name="T65" fmla="*/ 235 h 259"/>
                <a:gd name="T66" fmla="*/ 239 w 259"/>
                <a:gd name="T67" fmla="*/ 222 h 259"/>
                <a:gd name="T68" fmla="*/ 237 w 259"/>
                <a:gd name="T69" fmla="*/ 208 h 259"/>
                <a:gd name="T70" fmla="*/ 239 w 259"/>
                <a:gd name="T71" fmla="*/ 192 h 259"/>
                <a:gd name="T72" fmla="*/ 222 w 259"/>
                <a:gd name="T73" fmla="*/ 188 h 259"/>
                <a:gd name="T74" fmla="*/ 206 w 259"/>
                <a:gd name="T75" fmla="*/ 179 h 259"/>
                <a:gd name="T76" fmla="*/ 194 w 259"/>
                <a:gd name="T77" fmla="*/ 199 h 259"/>
                <a:gd name="T78" fmla="*/ 188 w 259"/>
                <a:gd name="T79" fmla="*/ 219 h 259"/>
                <a:gd name="T80" fmla="*/ 185 w 259"/>
                <a:gd name="T81" fmla="*/ 259 h 259"/>
                <a:gd name="T82" fmla="*/ 124 w 259"/>
                <a:gd name="T83" fmla="*/ 242 h 259"/>
                <a:gd name="T84" fmla="*/ 110 w 259"/>
                <a:gd name="T85" fmla="*/ 220 h 259"/>
                <a:gd name="T86" fmla="*/ 99 w 259"/>
                <a:gd name="T87" fmla="*/ 209 h 259"/>
                <a:gd name="T88" fmla="*/ 97 w 259"/>
                <a:gd name="T89" fmla="*/ 196 h 259"/>
                <a:gd name="T90" fmla="*/ 105 w 259"/>
                <a:gd name="T91" fmla="*/ 186 h 259"/>
                <a:gd name="T92" fmla="*/ 112 w 259"/>
                <a:gd name="T93" fmla="*/ 180 h 259"/>
                <a:gd name="T94" fmla="*/ 117 w 259"/>
                <a:gd name="T95" fmla="*/ 173 h 259"/>
                <a:gd name="T96" fmla="*/ 93 w 259"/>
                <a:gd name="T97" fmla="*/ 154 h 259"/>
                <a:gd name="T98" fmla="*/ 28 w 259"/>
                <a:gd name="T99" fmla="*/ 155 h 259"/>
                <a:gd name="T100" fmla="*/ 20 w 259"/>
                <a:gd name="T101" fmla="*/ 163 h 259"/>
                <a:gd name="T102" fmla="*/ 16 w 259"/>
                <a:gd name="T103" fmla="*/ 175 h 259"/>
                <a:gd name="T104" fmla="*/ 13 w 259"/>
                <a:gd name="T105" fmla="*/ 18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endParaRPr lang="en-GB" dirty="0"/>
            </a:p>
          </p:txBody>
        </p:sp>
        <p:sp>
          <p:nvSpPr>
            <p:cNvPr id="594" name="Freeform 292">
              <a:extLst>
                <a:ext uri="{FF2B5EF4-FFF2-40B4-BE49-F238E27FC236}">
                  <a16:creationId xmlns="" xmlns:a16="http://schemas.microsoft.com/office/drawing/2014/main" id="{F46423AD-A8E2-42A9-A426-B4C25375C28E}"/>
                </a:ext>
              </a:extLst>
            </p:cNvPr>
            <p:cNvSpPr>
              <a:spLocks/>
            </p:cNvSpPr>
            <p:nvPr/>
          </p:nvSpPr>
          <p:spPr bwMode="auto">
            <a:xfrm>
              <a:off x="5104" y="2395"/>
              <a:ext cx="23" cy="31"/>
            </a:xfrm>
            <a:custGeom>
              <a:avLst/>
              <a:gdLst>
                <a:gd name="T0" fmla="*/ 72 w 72"/>
                <a:gd name="T1" fmla="*/ 43 h 92"/>
                <a:gd name="T2" fmla="*/ 72 w 72"/>
                <a:gd name="T3" fmla="*/ 92 h 92"/>
                <a:gd name="T4" fmla="*/ 65 w 72"/>
                <a:gd name="T5" fmla="*/ 86 h 92"/>
                <a:gd name="T6" fmla="*/ 58 w 72"/>
                <a:gd name="T7" fmla="*/ 81 h 92"/>
                <a:gd name="T8" fmla="*/ 51 w 72"/>
                <a:gd name="T9" fmla="*/ 75 h 92"/>
                <a:gd name="T10" fmla="*/ 46 w 72"/>
                <a:gd name="T11" fmla="*/ 69 h 92"/>
                <a:gd name="T12" fmla="*/ 38 w 72"/>
                <a:gd name="T13" fmla="*/ 58 h 92"/>
                <a:gd name="T14" fmla="*/ 32 w 72"/>
                <a:gd name="T15" fmla="*/ 46 h 92"/>
                <a:gd name="T16" fmla="*/ 25 w 72"/>
                <a:gd name="T17" fmla="*/ 34 h 92"/>
                <a:gd name="T18" fmla="*/ 19 w 72"/>
                <a:gd name="T19" fmla="*/ 23 h 92"/>
                <a:gd name="T20" fmla="*/ 11 w 72"/>
                <a:gd name="T21" fmla="*/ 12 h 92"/>
                <a:gd name="T22" fmla="*/ 0 w 72"/>
                <a:gd name="T23" fmla="*/ 0 h 92"/>
                <a:gd name="T24" fmla="*/ 25 w 72"/>
                <a:gd name="T25" fmla="*/ 12 h 92"/>
                <a:gd name="T26" fmla="*/ 44 w 72"/>
                <a:gd name="T27" fmla="*/ 21 h 92"/>
                <a:gd name="T28" fmla="*/ 51 w 72"/>
                <a:gd name="T29" fmla="*/ 26 h 92"/>
                <a:gd name="T30" fmla="*/ 58 w 72"/>
                <a:gd name="T31" fmla="*/ 31 h 92"/>
                <a:gd name="T32" fmla="*/ 66 w 72"/>
                <a:gd name="T33" fmla="*/ 36 h 92"/>
                <a:gd name="T34" fmla="*/ 72 w 72"/>
                <a:gd name="T35" fmla="*/ 4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endParaRPr lang="en-GB" dirty="0"/>
            </a:p>
          </p:txBody>
        </p:sp>
        <p:sp>
          <p:nvSpPr>
            <p:cNvPr id="595" name="Freeform 293">
              <a:extLst>
                <a:ext uri="{FF2B5EF4-FFF2-40B4-BE49-F238E27FC236}">
                  <a16:creationId xmlns="" xmlns:a16="http://schemas.microsoft.com/office/drawing/2014/main" id="{C616F00F-4062-4178-B0A1-463A5D52AC0A}"/>
                </a:ext>
              </a:extLst>
            </p:cNvPr>
            <p:cNvSpPr>
              <a:spLocks/>
            </p:cNvSpPr>
            <p:nvPr/>
          </p:nvSpPr>
          <p:spPr bwMode="auto">
            <a:xfrm>
              <a:off x="5143" y="2436"/>
              <a:ext cx="16" cy="21"/>
            </a:xfrm>
            <a:custGeom>
              <a:avLst/>
              <a:gdLst>
                <a:gd name="T0" fmla="*/ 6 w 46"/>
                <a:gd name="T1" fmla="*/ 6 h 62"/>
                <a:gd name="T2" fmla="*/ 19 w 46"/>
                <a:gd name="T3" fmla="*/ 5 h 62"/>
                <a:gd name="T4" fmla="*/ 31 w 46"/>
                <a:gd name="T5" fmla="*/ 3 h 62"/>
                <a:gd name="T6" fmla="*/ 39 w 46"/>
                <a:gd name="T7" fmla="*/ 1 h 62"/>
                <a:gd name="T8" fmla="*/ 46 w 46"/>
                <a:gd name="T9" fmla="*/ 0 h 62"/>
                <a:gd name="T10" fmla="*/ 46 w 46"/>
                <a:gd name="T11" fmla="*/ 9 h 62"/>
                <a:gd name="T12" fmla="*/ 46 w 46"/>
                <a:gd name="T13" fmla="*/ 18 h 62"/>
                <a:gd name="T14" fmla="*/ 46 w 46"/>
                <a:gd name="T15" fmla="*/ 27 h 62"/>
                <a:gd name="T16" fmla="*/ 46 w 46"/>
                <a:gd name="T17" fmla="*/ 38 h 62"/>
                <a:gd name="T18" fmla="*/ 45 w 46"/>
                <a:gd name="T19" fmla="*/ 46 h 62"/>
                <a:gd name="T20" fmla="*/ 41 w 46"/>
                <a:gd name="T21" fmla="*/ 54 h 62"/>
                <a:gd name="T22" fmla="*/ 39 w 46"/>
                <a:gd name="T23" fmla="*/ 57 h 62"/>
                <a:gd name="T24" fmla="*/ 37 w 46"/>
                <a:gd name="T25" fmla="*/ 60 h 62"/>
                <a:gd name="T26" fmla="*/ 35 w 46"/>
                <a:gd name="T27" fmla="*/ 61 h 62"/>
                <a:gd name="T28" fmla="*/ 33 w 46"/>
                <a:gd name="T29" fmla="*/ 62 h 62"/>
                <a:gd name="T30" fmla="*/ 27 w 46"/>
                <a:gd name="T31" fmla="*/ 61 h 62"/>
                <a:gd name="T32" fmla="*/ 22 w 46"/>
                <a:gd name="T33" fmla="*/ 60 h 62"/>
                <a:gd name="T34" fmla="*/ 17 w 46"/>
                <a:gd name="T35" fmla="*/ 59 h 62"/>
                <a:gd name="T36" fmla="*/ 14 w 46"/>
                <a:gd name="T37" fmla="*/ 57 h 62"/>
                <a:gd name="T38" fmla="*/ 11 w 46"/>
                <a:gd name="T39" fmla="*/ 54 h 62"/>
                <a:gd name="T40" fmla="*/ 7 w 46"/>
                <a:gd name="T41" fmla="*/ 51 h 62"/>
                <a:gd name="T42" fmla="*/ 5 w 46"/>
                <a:gd name="T43" fmla="*/ 47 h 62"/>
                <a:gd name="T44" fmla="*/ 4 w 46"/>
                <a:gd name="T45" fmla="*/ 44 h 62"/>
                <a:gd name="T46" fmla="*/ 1 w 46"/>
                <a:gd name="T47" fmla="*/ 34 h 62"/>
                <a:gd name="T48" fmla="*/ 0 w 46"/>
                <a:gd name="T49" fmla="*/ 25 h 62"/>
                <a:gd name="T50" fmla="*/ 0 w 46"/>
                <a:gd name="T51" fmla="*/ 16 h 62"/>
                <a:gd name="T52" fmla="*/ 0 w 46"/>
                <a:gd name="T53" fmla="*/ 6 h 62"/>
                <a:gd name="T54" fmla="*/ 6 w 46"/>
                <a:gd name="T55" fmla="*/ 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596" name="Freeform 294">
              <a:extLst>
                <a:ext uri="{FF2B5EF4-FFF2-40B4-BE49-F238E27FC236}">
                  <a16:creationId xmlns="" xmlns:a16="http://schemas.microsoft.com/office/drawing/2014/main" id="{17DDB297-FFCB-4AD4-A1E0-22F32AC322A0}"/>
                </a:ext>
              </a:extLst>
            </p:cNvPr>
            <p:cNvSpPr>
              <a:spLocks/>
            </p:cNvSpPr>
            <p:nvPr/>
          </p:nvSpPr>
          <p:spPr bwMode="auto">
            <a:xfrm>
              <a:off x="5089" y="2295"/>
              <a:ext cx="50" cy="98"/>
            </a:xfrm>
            <a:custGeom>
              <a:avLst/>
              <a:gdLst>
                <a:gd name="T0" fmla="*/ 59 w 152"/>
                <a:gd name="T1" fmla="*/ 0 h 296"/>
                <a:gd name="T2" fmla="*/ 66 w 152"/>
                <a:gd name="T3" fmla="*/ 9 h 296"/>
                <a:gd name="T4" fmla="*/ 77 w 152"/>
                <a:gd name="T5" fmla="*/ 17 h 296"/>
                <a:gd name="T6" fmla="*/ 88 w 152"/>
                <a:gd name="T7" fmla="*/ 23 h 296"/>
                <a:gd name="T8" fmla="*/ 99 w 152"/>
                <a:gd name="T9" fmla="*/ 25 h 296"/>
                <a:gd name="T10" fmla="*/ 108 w 152"/>
                <a:gd name="T11" fmla="*/ 21 h 296"/>
                <a:gd name="T12" fmla="*/ 118 w 152"/>
                <a:gd name="T13" fmla="*/ 12 h 296"/>
                <a:gd name="T14" fmla="*/ 122 w 152"/>
                <a:gd name="T15" fmla="*/ 35 h 296"/>
                <a:gd name="T16" fmla="*/ 130 w 152"/>
                <a:gd name="T17" fmla="*/ 62 h 296"/>
                <a:gd name="T18" fmla="*/ 141 w 152"/>
                <a:gd name="T19" fmla="*/ 86 h 296"/>
                <a:gd name="T20" fmla="*/ 147 w 152"/>
                <a:gd name="T21" fmla="*/ 94 h 296"/>
                <a:gd name="T22" fmla="*/ 152 w 152"/>
                <a:gd name="T23" fmla="*/ 99 h 296"/>
                <a:gd name="T24" fmla="*/ 143 w 152"/>
                <a:gd name="T25" fmla="*/ 120 h 296"/>
                <a:gd name="T26" fmla="*/ 129 w 152"/>
                <a:gd name="T27" fmla="*/ 140 h 296"/>
                <a:gd name="T28" fmla="*/ 117 w 152"/>
                <a:gd name="T29" fmla="*/ 157 h 296"/>
                <a:gd name="T30" fmla="*/ 112 w 152"/>
                <a:gd name="T31" fmla="*/ 172 h 296"/>
                <a:gd name="T32" fmla="*/ 115 w 152"/>
                <a:gd name="T33" fmla="*/ 197 h 296"/>
                <a:gd name="T34" fmla="*/ 115 w 152"/>
                <a:gd name="T35" fmla="*/ 205 h 296"/>
                <a:gd name="T36" fmla="*/ 112 w 152"/>
                <a:gd name="T37" fmla="*/ 216 h 296"/>
                <a:gd name="T38" fmla="*/ 126 w 152"/>
                <a:gd name="T39" fmla="*/ 216 h 296"/>
                <a:gd name="T40" fmla="*/ 146 w 152"/>
                <a:gd name="T41" fmla="*/ 216 h 296"/>
                <a:gd name="T42" fmla="*/ 136 w 152"/>
                <a:gd name="T43" fmla="*/ 252 h 296"/>
                <a:gd name="T44" fmla="*/ 136 w 152"/>
                <a:gd name="T45" fmla="*/ 267 h 296"/>
                <a:gd name="T46" fmla="*/ 146 w 152"/>
                <a:gd name="T47" fmla="*/ 283 h 296"/>
                <a:gd name="T48" fmla="*/ 125 w 152"/>
                <a:gd name="T49" fmla="*/ 291 h 296"/>
                <a:gd name="T50" fmla="*/ 105 w 152"/>
                <a:gd name="T51" fmla="*/ 296 h 296"/>
                <a:gd name="T52" fmla="*/ 85 w 152"/>
                <a:gd name="T53" fmla="*/ 294 h 296"/>
                <a:gd name="T54" fmla="*/ 73 w 152"/>
                <a:gd name="T55" fmla="*/ 288 h 296"/>
                <a:gd name="T56" fmla="*/ 67 w 152"/>
                <a:gd name="T57" fmla="*/ 280 h 296"/>
                <a:gd name="T58" fmla="*/ 66 w 152"/>
                <a:gd name="T59" fmla="*/ 271 h 296"/>
                <a:gd name="T60" fmla="*/ 85 w 152"/>
                <a:gd name="T61" fmla="*/ 253 h 296"/>
                <a:gd name="T62" fmla="*/ 69 w 152"/>
                <a:gd name="T63" fmla="*/ 249 h 296"/>
                <a:gd name="T64" fmla="*/ 52 w 152"/>
                <a:gd name="T65" fmla="*/ 242 h 296"/>
                <a:gd name="T66" fmla="*/ 38 w 152"/>
                <a:gd name="T67" fmla="*/ 231 h 296"/>
                <a:gd name="T68" fmla="*/ 25 w 152"/>
                <a:gd name="T69" fmla="*/ 219 h 296"/>
                <a:gd name="T70" fmla="*/ 14 w 152"/>
                <a:gd name="T71" fmla="*/ 205 h 296"/>
                <a:gd name="T72" fmla="*/ 6 w 152"/>
                <a:gd name="T73" fmla="*/ 190 h 296"/>
                <a:gd name="T74" fmla="*/ 1 w 152"/>
                <a:gd name="T75" fmla="*/ 172 h 296"/>
                <a:gd name="T76" fmla="*/ 0 w 152"/>
                <a:gd name="T77" fmla="*/ 154 h 296"/>
                <a:gd name="T78" fmla="*/ 0 w 152"/>
                <a:gd name="T79" fmla="*/ 130 h 296"/>
                <a:gd name="T80" fmla="*/ 27 w 152"/>
                <a:gd name="T81" fmla="*/ 106 h 296"/>
                <a:gd name="T82" fmla="*/ 32 w 152"/>
                <a:gd name="T83" fmla="*/ 46 h 296"/>
                <a:gd name="T84" fmla="*/ 31 w 152"/>
                <a:gd name="T85" fmla="*/ 18 h 296"/>
                <a:gd name="T86" fmla="*/ 28 w 152"/>
                <a:gd name="T87" fmla="*/ 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597" name="Freeform 295">
              <a:extLst>
                <a:ext uri="{FF2B5EF4-FFF2-40B4-BE49-F238E27FC236}">
                  <a16:creationId xmlns="" xmlns:a16="http://schemas.microsoft.com/office/drawing/2014/main" id="{18A3B9D1-EA90-4C12-9C9D-E38127DD8BC4}"/>
                </a:ext>
              </a:extLst>
            </p:cNvPr>
            <p:cNvSpPr>
              <a:spLocks/>
            </p:cNvSpPr>
            <p:nvPr/>
          </p:nvSpPr>
          <p:spPr bwMode="auto">
            <a:xfrm>
              <a:off x="5189" y="2442"/>
              <a:ext cx="8" cy="13"/>
            </a:xfrm>
            <a:custGeom>
              <a:avLst/>
              <a:gdLst>
                <a:gd name="T0" fmla="*/ 26 w 26"/>
                <a:gd name="T1" fmla="*/ 38 h 38"/>
                <a:gd name="T2" fmla="*/ 26 w 26"/>
                <a:gd name="T3" fmla="*/ 0 h 38"/>
                <a:gd name="T4" fmla="*/ 21 w 26"/>
                <a:gd name="T5" fmla="*/ 1 h 38"/>
                <a:gd name="T6" fmla="*/ 13 w 26"/>
                <a:gd name="T7" fmla="*/ 4 h 38"/>
                <a:gd name="T8" fmla="*/ 6 w 26"/>
                <a:gd name="T9" fmla="*/ 8 h 38"/>
                <a:gd name="T10" fmla="*/ 0 w 26"/>
                <a:gd name="T11" fmla="*/ 13 h 38"/>
                <a:gd name="T12" fmla="*/ 18 w 26"/>
                <a:gd name="T13" fmla="*/ 30 h 38"/>
                <a:gd name="T14" fmla="*/ 26 w 26"/>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endParaRPr lang="en-GB" dirty="0"/>
            </a:p>
          </p:txBody>
        </p:sp>
        <p:sp>
          <p:nvSpPr>
            <p:cNvPr id="598" name="Freeform 296">
              <a:extLst>
                <a:ext uri="{FF2B5EF4-FFF2-40B4-BE49-F238E27FC236}">
                  <a16:creationId xmlns="" xmlns:a16="http://schemas.microsoft.com/office/drawing/2014/main" id="{CAAE6737-3E1B-45B9-B78B-D0D6760F79C8}"/>
                </a:ext>
              </a:extLst>
            </p:cNvPr>
            <p:cNvSpPr>
              <a:spLocks/>
            </p:cNvSpPr>
            <p:nvPr/>
          </p:nvSpPr>
          <p:spPr bwMode="auto">
            <a:xfrm>
              <a:off x="5165" y="2420"/>
              <a:ext cx="10" cy="10"/>
            </a:xfrm>
            <a:custGeom>
              <a:avLst/>
              <a:gdLst>
                <a:gd name="T0" fmla="*/ 0 w 34"/>
                <a:gd name="T1" fmla="*/ 18 h 31"/>
                <a:gd name="T2" fmla="*/ 8 w 34"/>
                <a:gd name="T3" fmla="*/ 22 h 31"/>
                <a:gd name="T4" fmla="*/ 17 w 34"/>
                <a:gd name="T5" fmla="*/ 26 h 31"/>
                <a:gd name="T6" fmla="*/ 27 w 34"/>
                <a:gd name="T7" fmla="*/ 30 h 31"/>
                <a:gd name="T8" fmla="*/ 34 w 34"/>
                <a:gd name="T9" fmla="*/ 31 h 31"/>
                <a:gd name="T10" fmla="*/ 33 w 34"/>
                <a:gd name="T11" fmla="*/ 24 h 31"/>
                <a:gd name="T12" fmla="*/ 30 w 34"/>
                <a:gd name="T13" fmla="*/ 15 h 31"/>
                <a:gd name="T14" fmla="*/ 26 w 34"/>
                <a:gd name="T15" fmla="*/ 6 h 31"/>
                <a:gd name="T16" fmla="*/ 20 w 34"/>
                <a:gd name="T17" fmla="*/ 0 h 31"/>
                <a:gd name="T18" fmla="*/ 16 w 34"/>
                <a:gd name="T19" fmla="*/ 5 h 31"/>
                <a:gd name="T20" fmla="*/ 10 w 34"/>
                <a:gd name="T21" fmla="*/ 11 h 31"/>
                <a:gd name="T22" fmla="*/ 8 w 34"/>
                <a:gd name="T23" fmla="*/ 14 h 31"/>
                <a:gd name="T24" fmla="*/ 6 w 34"/>
                <a:gd name="T25" fmla="*/ 16 h 31"/>
                <a:gd name="T26" fmla="*/ 4 w 34"/>
                <a:gd name="T27" fmla="*/ 18 h 31"/>
                <a:gd name="T28" fmla="*/ 0 w 34"/>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endParaRPr lang="en-GB" dirty="0"/>
            </a:p>
          </p:txBody>
        </p:sp>
        <p:sp>
          <p:nvSpPr>
            <p:cNvPr id="599" name="Freeform 297">
              <a:extLst>
                <a:ext uri="{FF2B5EF4-FFF2-40B4-BE49-F238E27FC236}">
                  <a16:creationId xmlns="" xmlns:a16="http://schemas.microsoft.com/office/drawing/2014/main" id="{E16B3371-AE36-4911-BF2A-6E61280D5EEA}"/>
                </a:ext>
              </a:extLst>
            </p:cNvPr>
            <p:cNvSpPr>
              <a:spLocks/>
            </p:cNvSpPr>
            <p:nvPr/>
          </p:nvSpPr>
          <p:spPr bwMode="auto">
            <a:xfrm>
              <a:off x="5139" y="2418"/>
              <a:ext cx="6" cy="12"/>
            </a:xfrm>
            <a:custGeom>
              <a:avLst/>
              <a:gdLst>
                <a:gd name="T0" fmla="*/ 0 w 20"/>
                <a:gd name="T1" fmla="*/ 6 h 37"/>
                <a:gd name="T2" fmla="*/ 0 w 20"/>
                <a:gd name="T3" fmla="*/ 37 h 37"/>
                <a:gd name="T4" fmla="*/ 7 w 20"/>
                <a:gd name="T5" fmla="*/ 33 h 37"/>
                <a:gd name="T6" fmla="*/ 20 w 20"/>
                <a:gd name="T7" fmla="*/ 30 h 37"/>
                <a:gd name="T8" fmla="*/ 20 w 20"/>
                <a:gd name="T9" fmla="*/ 0 h 37"/>
                <a:gd name="T10" fmla="*/ 0 w 20"/>
                <a:gd name="T11" fmla="*/ 6 h 37"/>
              </a:gdLst>
              <a:ahLst/>
              <a:cxnLst>
                <a:cxn ang="0">
                  <a:pos x="T0" y="T1"/>
                </a:cxn>
                <a:cxn ang="0">
                  <a:pos x="T2" y="T3"/>
                </a:cxn>
                <a:cxn ang="0">
                  <a:pos x="T4" y="T5"/>
                </a:cxn>
                <a:cxn ang="0">
                  <a:pos x="T6" y="T7"/>
                </a:cxn>
                <a:cxn ang="0">
                  <a:pos x="T8" y="T9"/>
                </a:cxn>
                <a:cxn ang="0">
                  <a:pos x="T10" y="T11"/>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00" name="Line 298">
              <a:extLst>
                <a:ext uri="{FF2B5EF4-FFF2-40B4-BE49-F238E27FC236}">
                  <a16:creationId xmlns="" xmlns:a16="http://schemas.microsoft.com/office/drawing/2014/main" id="{68A70B0C-EFA7-478A-9E67-377B23431319}"/>
                </a:ext>
              </a:extLst>
            </p:cNvPr>
            <p:cNvSpPr>
              <a:spLocks noChangeShapeType="1"/>
            </p:cNvSpPr>
            <p:nvPr/>
          </p:nvSpPr>
          <p:spPr bwMode="auto">
            <a:xfrm>
              <a:off x="5180" y="2449"/>
              <a:ext cx="1" cy="10"/>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601" name="Freeform 299">
              <a:extLst>
                <a:ext uri="{FF2B5EF4-FFF2-40B4-BE49-F238E27FC236}">
                  <a16:creationId xmlns="" xmlns:a16="http://schemas.microsoft.com/office/drawing/2014/main" id="{FDAABB01-AD93-4963-9FC6-8A80844E481A}"/>
                </a:ext>
              </a:extLst>
            </p:cNvPr>
            <p:cNvSpPr>
              <a:spLocks/>
            </p:cNvSpPr>
            <p:nvPr/>
          </p:nvSpPr>
          <p:spPr bwMode="auto">
            <a:xfrm>
              <a:off x="5180" y="2453"/>
              <a:ext cx="4" cy="6"/>
            </a:xfrm>
            <a:custGeom>
              <a:avLst/>
              <a:gdLst>
                <a:gd name="T0" fmla="*/ 0 w 13"/>
                <a:gd name="T1" fmla="*/ 18 h 18"/>
                <a:gd name="T2" fmla="*/ 1 w 13"/>
                <a:gd name="T3" fmla="*/ 13 h 18"/>
                <a:gd name="T4" fmla="*/ 3 w 13"/>
                <a:gd name="T5" fmla="*/ 9 h 18"/>
                <a:gd name="T6" fmla="*/ 7 w 13"/>
                <a:gd name="T7" fmla="*/ 4 h 18"/>
                <a:gd name="T8" fmla="*/ 13 w 13"/>
                <a:gd name="T9" fmla="*/ 0 h 18"/>
              </a:gdLst>
              <a:ahLst/>
              <a:cxnLst>
                <a:cxn ang="0">
                  <a:pos x="T0" y="T1"/>
                </a:cxn>
                <a:cxn ang="0">
                  <a:pos x="T2" y="T3"/>
                </a:cxn>
                <a:cxn ang="0">
                  <a:pos x="T4" y="T5"/>
                </a:cxn>
                <a:cxn ang="0">
                  <a:pos x="T6" y="T7"/>
                </a:cxn>
                <a:cxn ang="0">
                  <a:pos x="T8" y="T9"/>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02" name="Line 300">
              <a:extLst>
                <a:ext uri="{FF2B5EF4-FFF2-40B4-BE49-F238E27FC236}">
                  <a16:creationId xmlns="" xmlns:a16="http://schemas.microsoft.com/office/drawing/2014/main" id="{63002085-E4EC-4011-8BC7-628DEAF953E7}"/>
                </a:ext>
              </a:extLst>
            </p:cNvPr>
            <p:cNvSpPr>
              <a:spLocks noChangeShapeType="1"/>
            </p:cNvSpPr>
            <p:nvPr/>
          </p:nvSpPr>
          <p:spPr bwMode="auto">
            <a:xfrm flipH="1" flipV="1">
              <a:off x="5178" y="2447"/>
              <a:ext cx="6" cy="6"/>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603" name="Freeform 301">
              <a:extLst>
                <a:ext uri="{FF2B5EF4-FFF2-40B4-BE49-F238E27FC236}">
                  <a16:creationId xmlns="" xmlns:a16="http://schemas.microsoft.com/office/drawing/2014/main" id="{E20A16E2-72AE-4AE2-9D7D-CFD6B22954D7}"/>
                </a:ext>
              </a:extLst>
            </p:cNvPr>
            <p:cNvSpPr>
              <a:spLocks/>
            </p:cNvSpPr>
            <p:nvPr/>
          </p:nvSpPr>
          <p:spPr bwMode="auto">
            <a:xfrm>
              <a:off x="5116" y="2564"/>
              <a:ext cx="9" cy="10"/>
            </a:xfrm>
            <a:custGeom>
              <a:avLst/>
              <a:gdLst>
                <a:gd name="T0" fmla="*/ 0 w 27"/>
                <a:gd name="T1" fmla="*/ 0 h 31"/>
                <a:gd name="T2" fmla="*/ 20 w 27"/>
                <a:gd name="T3" fmla="*/ 31 h 31"/>
                <a:gd name="T4" fmla="*/ 27 w 27"/>
                <a:gd name="T5" fmla="*/ 13 h 31"/>
              </a:gdLst>
              <a:ahLst/>
              <a:cxnLst>
                <a:cxn ang="0">
                  <a:pos x="T0" y="T1"/>
                </a:cxn>
                <a:cxn ang="0">
                  <a:pos x="T2" y="T3"/>
                </a:cxn>
                <a:cxn ang="0">
                  <a:pos x="T4" y="T5"/>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04" name="Freeform 302">
              <a:extLst>
                <a:ext uri="{FF2B5EF4-FFF2-40B4-BE49-F238E27FC236}">
                  <a16:creationId xmlns="" xmlns:a16="http://schemas.microsoft.com/office/drawing/2014/main" id="{E4B81972-761E-47CF-B3A5-08255646D250}"/>
                </a:ext>
              </a:extLst>
            </p:cNvPr>
            <p:cNvSpPr>
              <a:spLocks/>
            </p:cNvSpPr>
            <p:nvPr/>
          </p:nvSpPr>
          <p:spPr bwMode="auto">
            <a:xfrm>
              <a:off x="5119" y="2568"/>
              <a:ext cx="6" cy="1"/>
            </a:xfrm>
            <a:custGeom>
              <a:avLst/>
              <a:gdLst>
                <a:gd name="T0" fmla="*/ 20 w 20"/>
                <a:gd name="T1" fmla="*/ 10 w 20"/>
                <a:gd name="T2" fmla="*/ 0 w 20"/>
              </a:gdLst>
              <a:ahLst/>
              <a:cxnLst>
                <a:cxn ang="0">
                  <a:pos x="T0" y="0"/>
                </a:cxn>
                <a:cxn ang="0">
                  <a:pos x="T1" y="0"/>
                </a:cxn>
                <a:cxn ang="0">
                  <a:pos x="T2" y="0"/>
                </a:cxn>
              </a:cxnLst>
              <a:rect l="0" t="0" r="r" b="b"/>
              <a:pathLst>
                <a:path w="20">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05" name="Freeform 303">
              <a:extLst>
                <a:ext uri="{FF2B5EF4-FFF2-40B4-BE49-F238E27FC236}">
                  <a16:creationId xmlns="" xmlns:a16="http://schemas.microsoft.com/office/drawing/2014/main" id="{389B296A-7386-4526-B77F-7883D6538D3B}"/>
                </a:ext>
              </a:extLst>
            </p:cNvPr>
            <p:cNvSpPr>
              <a:spLocks/>
            </p:cNvSpPr>
            <p:nvPr/>
          </p:nvSpPr>
          <p:spPr bwMode="auto">
            <a:xfrm>
              <a:off x="5127" y="2557"/>
              <a:ext cx="12" cy="5"/>
            </a:xfrm>
            <a:custGeom>
              <a:avLst/>
              <a:gdLst>
                <a:gd name="T0" fmla="*/ 0 w 34"/>
                <a:gd name="T1" fmla="*/ 13 h 13"/>
                <a:gd name="T2" fmla="*/ 6 w 34"/>
                <a:gd name="T3" fmla="*/ 13 h 13"/>
                <a:gd name="T4" fmla="*/ 10 w 34"/>
                <a:gd name="T5" fmla="*/ 11 h 13"/>
                <a:gd name="T6" fmla="*/ 16 w 34"/>
                <a:gd name="T7" fmla="*/ 10 h 13"/>
                <a:gd name="T8" fmla="*/ 20 w 34"/>
                <a:gd name="T9" fmla="*/ 7 h 13"/>
                <a:gd name="T10" fmla="*/ 28 w 34"/>
                <a:gd name="T11" fmla="*/ 2 h 13"/>
                <a:gd name="T12" fmla="*/ 34 w 34"/>
                <a:gd name="T13" fmla="*/ 0 h 13"/>
                <a:gd name="T14" fmla="*/ 25 w 34"/>
                <a:gd name="T15" fmla="*/ 0 h 13"/>
                <a:gd name="T16" fmla="*/ 15 w 3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06" name="Freeform 304">
              <a:extLst>
                <a:ext uri="{FF2B5EF4-FFF2-40B4-BE49-F238E27FC236}">
                  <a16:creationId xmlns="" xmlns:a16="http://schemas.microsoft.com/office/drawing/2014/main" id="{8A3D2311-BEF8-4D50-A443-49E7EFDD60FE}"/>
                </a:ext>
              </a:extLst>
            </p:cNvPr>
            <p:cNvSpPr>
              <a:spLocks/>
            </p:cNvSpPr>
            <p:nvPr/>
          </p:nvSpPr>
          <p:spPr bwMode="auto">
            <a:xfrm>
              <a:off x="5127" y="2547"/>
              <a:ext cx="12" cy="6"/>
            </a:xfrm>
            <a:custGeom>
              <a:avLst/>
              <a:gdLst>
                <a:gd name="T0" fmla="*/ 34 w 34"/>
                <a:gd name="T1" fmla="*/ 18 h 18"/>
                <a:gd name="T2" fmla="*/ 34 w 34"/>
                <a:gd name="T3" fmla="*/ 0 h 18"/>
                <a:gd name="T4" fmla="*/ 28 w 34"/>
                <a:gd name="T5" fmla="*/ 0 h 18"/>
                <a:gd name="T6" fmla="*/ 20 w 34"/>
                <a:gd name="T7" fmla="*/ 0 h 18"/>
                <a:gd name="T8" fmla="*/ 10 w 34"/>
                <a:gd name="T9" fmla="*/ 0 h 18"/>
                <a:gd name="T10" fmla="*/ 0 w 34"/>
                <a:gd name="T11" fmla="*/ 0 h 18"/>
                <a:gd name="T12" fmla="*/ 34 w 3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07" name="Freeform 305">
              <a:extLst>
                <a:ext uri="{FF2B5EF4-FFF2-40B4-BE49-F238E27FC236}">
                  <a16:creationId xmlns="" xmlns:a16="http://schemas.microsoft.com/office/drawing/2014/main" id="{8EA0D87D-ABAB-44AB-AA0C-EEFAA97779D4}"/>
                </a:ext>
              </a:extLst>
            </p:cNvPr>
            <p:cNvSpPr>
              <a:spLocks/>
            </p:cNvSpPr>
            <p:nvPr/>
          </p:nvSpPr>
          <p:spPr bwMode="auto">
            <a:xfrm>
              <a:off x="5141" y="2535"/>
              <a:ext cx="20" cy="8"/>
            </a:xfrm>
            <a:custGeom>
              <a:avLst/>
              <a:gdLst>
                <a:gd name="T0" fmla="*/ 53 w 59"/>
                <a:gd name="T1" fmla="*/ 25 h 25"/>
                <a:gd name="T2" fmla="*/ 56 w 59"/>
                <a:gd name="T3" fmla="*/ 12 h 25"/>
                <a:gd name="T4" fmla="*/ 59 w 59"/>
                <a:gd name="T5" fmla="*/ 0 h 25"/>
                <a:gd name="T6" fmla="*/ 44 w 59"/>
                <a:gd name="T7" fmla="*/ 0 h 25"/>
                <a:gd name="T8" fmla="*/ 27 w 59"/>
                <a:gd name="T9" fmla="*/ 0 h 25"/>
                <a:gd name="T10" fmla="*/ 19 w 59"/>
                <a:gd name="T11" fmla="*/ 1 h 25"/>
                <a:gd name="T12" fmla="*/ 12 w 59"/>
                <a:gd name="T13" fmla="*/ 2 h 25"/>
                <a:gd name="T14" fmla="*/ 5 w 59"/>
                <a:gd name="T15" fmla="*/ 4 h 25"/>
                <a:gd name="T16" fmla="*/ 0 w 59"/>
                <a:gd name="T17" fmla="*/ 6 h 25"/>
                <a:gd name="T18" fmla="*/ 13 w 59"/>
                <a:gd name="T19" fmla="*/ 14 h 25"/>
                <a:gd name="T20" fmla="*/ 26 w 59"/>
                <a:gd name="T21" fmla="*/ 20 h 25"/>
                <a:gd name="T22" fmla="*/ 33 w 59"/>
                <a:gd name="T23" fmla="*/ 22 h 25"/>
                <a:gd name="T24" fmla="*/ 38 w 59"/>
                <a:gd name="T25" fmla="*/ 24 h 25"/>
                <a:gd name="T26" fmla="*/ 46 w 59"/>
                <a:gd name="T27" fmla="*/ 25 h 25"/>
                <a:gd name="T28" fmla="*/ 53 w 59"/>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08" name="Line 306">
              <a:extLst>
                <a:ext uri="{FF2B5EF4-FFF2-40B4-BE49-F238E27FC236}">
                  <a16:creationId xmlns="" xmlns:a16="http://schemas.microsoft.com/office/drawing/2014/main" id="{3FFCB3F8-B572-4A2C-B454-B9931051004B}"/>
                </a:ext>
              </a:extLst>
            </p:cNvPr>
            <p:cNvSpPr>
              <a:spLocks noChangeShapeType="1"/>
            </p:cNvSpPr>
            <p:nvPr/>
          </p:nvSpPr>
          <p:spPr bwMode="auto">
            <a:xfrm flipV="1">
              <a:off x="5191" y="2516"/>
              <a:ext cx="6" cy="2"/>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GB" dirty="0"/>
            </a:p>
          </p:txBody>
        </p:sp>
      </p:grpSp>
      <p:sp>
        <p:nvSpPr>
          <p:cNvPr id="339" name="Freeform 307">
            <a:extLst>
              <a:ext uri="{FF2B5EF4-FFF2-40B4-BE49-F238E27FC236}">
                <a16:creationId xmlns="" xmlns:a16="http://schemas.microsoft.com/office/drawing/2014/main" id="{B2887F51-51BC-4902-8A2E-E8CDBE972349}"/>
              </a:ext>
            </a:extLst>
          </p:cNvPr>
          <p:cNvSpPr>
            <a:spLocks/>
          </p:cNvSpPr>
          <p:nvPr>
            <p:custDataLst>
              <p:tags r:id="rId209"/>
            </p:custDataLst>
          </p:nvPr>
        </p:nvSpPr>
        <p:spPr bwMode="auto">
          <a:xfrm>
            <a:off x="8039324" y="4689397"/>
            <a:ext cx="17405" cy="57435"/>
          </a:xfrm>
          <a:custGeom>
            <a:avLst/>
            <a:gdLst>
              <a:gd name="T0" fmla="*/ 0 w 33"/>
              <a:gd name="T1" fmla="*/ 43 h 43"/>
              <a:gd name="T2" fmla="*/ 1 w 33"/>
              <a:gd name="T3" fmla="*/ 34 h 43"/>
              <a:gd name="T4" fmla="*/ 2 w 33"/>
              <a:gd name="T5" fmla="*/ 27 h 43"/>
              <a:gd name="T6" fmla="*/ 5 w 33"/>
              <a:gd name="T7" fmla="*/ 21 h 43"/>
              <a:gd name="T8" fmla="*/ 9 w 33"/>
              <a:gd name="T9" fmla="*/ 15 h 43"/>
              <a:gd name="T10" fmla="*/ 14 w 33"/>
              <a:gd name="T11" fmla="*/ 9 h 43"/>
              <a:gd name="T12" fmla="*/ 20 w 33"/>
              <a:gd name="T13" fmla="*/ 5 h 43"/>
              <a:gd name="T14" fmla="*/ 26 w 33"/>
              <a:gd name="T15" fmla="*/ 2 h 43"/>
              <a:gd name="T16" fmla="*/ 33 w 33"/>
              <a:gd name="T17" fmla="*/ 0 h 43"/>
              <a:gd name="T18" fmla="*/ 33 w 33"/>
              <a:gd name="T19" fmla="*/ 25 h 43"/>
              <a:gd name="T20" fmla="*/ 23 w 33"/>
              <a:gd name="T21" fmla="*/ 27 h 43"/>
              <a:gd name="T22" fmla="*/ 18 w 33"/>
              <a:gd name="T23" fmla="*/ 29 h 43"/>
              <a:gd name="T24" fmla="*/ 16 w 33"/>
              <a:gd name="T25" fmla="*/ 32 h 43"/>
              <a:gd name="T26" fmla="*/ 16 w 33"/>
              <a:gd name="T27" fmla="*/ 34 h 43"/>
              <a:gd name="T28" fmla="*/ 16 w 33"/>
              <a:gd name="T29" fmla="*/ 36 h 43"/>
              <a:gd name="T30" fmla="*/ 14 w 33"/>
              <a:gd name="T31" fmla="*/ 38 h 43"/>
              <a:gd name="T32" fmla="*/ 10 w 33"/>
              <a:gd name="T33" fmla="*/ 41 h 43"/>
              <a:gd name="T34" fmla="*/ 0 w 33"/>
              <a:gd name="T3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40" name="Freeform 308">
            <a:extLst>
              <a:ext uri="{FF2B5EF4-FFF2-40B4-BE49-F238E27FC236}">
                <a16:creationId xmlns="" xmlns:a16="http://schemas.microsoft.com/office/drawing/2014/main" id="{815EB05C-126F-4F77-B98B-6DEB4A657F8E}"/>
              </a:ext>
            </a:extLst>
          </p:cNvPr>
          <p:cNvSpPr>
            <a:spLocks/>
          </p:cNvSpPr>
          <p:nvPr>
            <p:custDataLst>
              <p:tags r:id="rId210"/>
            </p:custDataLst>
          </p:nvPr>
        </p:nvSpPr>
        <p:spPr bwMode="auto">
          <a:xfrm>
            <a:off x="8132150" y="4627041"/>
            <a:ext cx="27074" cy="60716"/>
          </a:xfrm>
          <a:custGeom>
            <a:avLst/>
            <a:gdLst>
              <a:gd name="T0" fmla="*/ 0 w 54"/>
              <a:gd name="T1" fmla="*/ 55 h 92"/>
              <a:gd name="T2" fmla="*/ 1 w 54"/>
              <a:gd name="T3" fmla="*/ 51 h 92"/>
              <a:gd name="T4" fmla="*/ 2 w 54"/>
              <a:gd name="T5" fmla="*/ 46 h 92"/>
              <a:gd name="T6" fmla="*/ 3 w 54"/>
              <a:gd name="T7" fmla="*/ 42 h 92"/>
              <a:gd name="T8" fmla="*/ 6 w 54"/>
              <a:gd name="T9" fmla="*/ 37 h 92"/>
              <a:gd name="T10" fmla="*/ 11 w 54"/>
              <a:gd name="T11" fmla="*/ 29 h 92"/>
              <a:gd name="T12" fmla="*/ 18 w 54"/>
              <a:gd name="T13" fmla="*/ 21 h 92"/>
              <a:gd name="T14" fmla="*/ 31 w 54"/>
              <a:gd name="T15" fmla="*/ 7 h 92"/>
              <a:gd name="T16" fmla="*/ 41 w 54"/>
              <a:gd name="T17" fmla="*/ 0 h 92"/>
              <a:gd name="T18" fmla="*/ 54 w 54"/>
              <a:gd name="T19" fmla="*/ 12 h 92"/>
              <a:gd name="T20" fmla="*/ 51 w 54"/>
              <a:gd name="T21" fmla="*/ 21 h 92"/>
              <a:gd name="T22" fmla="*/ 47 w 54"/>
              <a:gd name="T23" fmla="*/ 29 h 92"/>
              <a:gd name="T24" fmla="*/ 44 w 54"/>
              <a:gd name="T25" fmla="*/ 35 h 92"/>
              <a:gd name="T26" fmla="*/ 41 w 54"/>
              <a:gd name="T27" fmla="*/ 41 h 92"/>
              <a:gd name="T28" fmla="*/ 33 w 54"/>
              <a:gd name="T29" fmla="*/ 49 h 92"/>
              <a:gd name="T30" fmla="*/ 28 w 54"/>
              <a:gd name="T31" fmla="*/ 55 h 92"/>
              <a:gd name="T32" fmla="*/ 26 w 54"/>
              <a:gd name="T33" fmla="*/ 64 h 92"/>
              <a:gd name="T34" fmla="*/ 26 w 54"/>
              <a:gd name="T35" fmla="*/ 74 h 92"/>
              <a:gd name="T36" fmla="*/ 24 w 54"/>
              <a:gd name="T37" fmla="*/ 83 h 92"/>
              <a:gd name="T38" fmla="*/ 20 w 54"/>
              <a:gd name="T39" fmla="*/ 92 h 92"/>
              <a:gd name="T40" fmla="*/ 14 w 54"/>
              <a:gd name="T41" fmla="*/ 83 h 92"/>
              <a:gd name="T42" fmla="*/ 8 w 54"/>
              <a:gd name="T43" fmla="*/ 74 h 92"/>
              <a:gd name="T44" fmla="*/ 5 w 54"/>
              <a:gd name="T45" fmla="*/ 70 h 92"/>
              <a:gd name="T46" fmla="*/ 2 w 54"/>
              <a:gd name="T47" fmla="*/ 64 h 92"/>
              <a:gd name="T48" fmla="*/ 1 w 54"/>
              <a:gd name="T49" fmla="*/ 60 h 92"/>
              <a:gd name="T50" fmla="*/ 0 w 54"/>
              <a:gd name="T51" fmla="*/ 5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41" name="Freeform 309">
            <a:extLst>
              <a:ext uri="{FF2B5EF4-FFF2-40B4-BE49-F238E27FC236}">
                <a16:creationId xmlns="" xmlns:a16="http://schemas.microsoft.com/office/drawing/2014/main" id="{7161B54B-4629-4A46-A12B-201770BB23FD}"/>
              </a:ext>
            </a:extLst>
          </p:cNvPr>
          <p:cNvSpPr>
            <a:spLocks/>
          </p:cNvSpPr>
          <p:nvPr>
            <p:custDataLst>
              <p:tags r:id="rId211"/>
            </p:custDataLst>
          </p:nvPr>
        </p:nvSpPr>
        <p:spPr bwMode="auto">
          <a:xfrm>
            <a:off x="8190165" y="4502326"/>
            <a:ext cx="29009" cy="59076"/>
          </a:xfrm>
          <a:custGeom>
            <a:avLst/>
            <a:gdLst>
              <a:gd name="T0" fmla="*/ 0 w 60"/>
              <a:gd name="T1" fmla="*/ 0 h 18"/>
              <a:gd name="T2" fmla="*/ 19 w 60"/>
              <a:gd name="T3" fmla="*/ 4 h 18"/>
              <a:gd name="T4" fmla="*/ 37 w 60"/>
              <a:gd name="T5" fmla="*/ 9 h 18"/>
              <a:gd name="T6" fmla="*/ 45 w 60"/>
              <a:gd name="T7" fmla="*/ 11 h 18"/>
              <a:gd name="T8" fmla="*/ 51 w 60"/>
              <a:gd name="T9" fmla="*/ 13 h 18"/>
              <a:gd name="T10" fmla="*/ 56 w 60"/>
              <a:gd name="T11" fmla="*/ 16 h 18"/>
              <a:gd name="T12" fmla="*/ 60 w 60"/>
              <a:gd name="T13" fmla="*/ 18 h 18"/>
              <a:gd name="T14" fmla="*/ 38 w 60"/>
              <a:gd name="T15" fmla="*/ 18 h 18"/>
              <a:gd name="T16" fmla="*/ 23 w 60"/>
              <a:gd name="T17" fmla="*/ 18 h 18"/>
              <a:gd name="T18" fmla="*/ 10 w 60"/>
              <a:gd name="T19" fmla="*/ 18 h 18"/>
              <a:gd name="T20" fmla="*/ 0 w 60"/>
              <a:gd name="T21" fmla="*/ 18 h 18"/>
              <a:gd name="T22" fmla="*/ 0 w 6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42" name="Freeform 310">
            <a:extLst>
              <a:ext uri="{FF2B5EF4-FFF2-40B4-BE49-F238E27FC236}">
                <a16:creationId xmlns="" xmlns:a16="http://schemas.microsoft.com/office/drawing/2014/main" id="{087A393C-D0BC-4740-8F70-15A71E0704E0}"/>
              </a:ext>
            </a:extLst>
          </p:cNvPr>
          <p:cNvSpPr>
            <a:spLocks/>
          </p:cNvSpPr>
          <p:nvPr>
            <p:custDataLst>
              <p:tags r:id="rId212"/>
            </p:custDataLst>
          </p:nvPr>
        </p:nvSpPr>
        <p:spPr bwMode="auto">
          <a:xfrm>
            <a:off x="8170826" y="4471148"/>
            <a:ext cx="30942" cy="59076"/>
          </a:xfrm>
          <a:custGeom>
            <a:avLst/>
            <a:gdLst>
              <a:gd name="T0" fmla="*/ 0 w 66"/>
              <a:gd name="T1" fmla="*/ 18 h 18"/>
              <a:gd name="T2" fmla="*/ 66 w 66"/>
              <a:gd name="T3" fmla="*/ 18 h 18"/>
              <a:gd name="T4" fmla="*/ 52 w 66"/>
              <a:gd name="T5" fmla="*/ 13 h 18"/>
              <a:gd name="T6" fmla="*/ 40 w 66"/>
              <a:gd name="T7" fmla="*/ 7 h 18"/>
              <a:gd name="T8" fmla="*/ 35 w 66"/>
              <a:gd name="T9" fmla="*/ 4 h 18"/>
              <a:gd name="T10" fmla="*/ 29 w 66"/>
              <a:gd name="T11" fmla="*/ 2 h 18"/>
              <a:gd name="T12" fmla="*/ 25 w 66"/>
              <a:gd name="T13" fmla="*/ 1 h 18"/>
              <a:gd name="T14" fmla="*/ 19 w 66"/>
              <a:gd name="T15" fmla="*/ 0 h 18"/>
              <a:gd name="T16" fmla="*/ 0 w 66"/>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43" name="Freeform 311">
            <a:extLst>
              <a:ext uri="{FF2B5EF4-FFF2-40B4-BE49-F238E27FC236}">
                <a16:creationId xmlns="" xmlns:a16="http://schemas.microsoft.com/office/drawing/2014/main" id="{656E1FC0-0877-42D6-87A6-6904A0F9CCF0}"/>
              </a:ext>
            </a:extLst>
          </p:cNvPr>
          <p:cNvSpPr>
            <a:spLocks/>
          </p:cNvSpPr>
          <p:nvPr>
            <p:custDataLst>
              <p:tags r:id="rId213"/>
            </p:custDataLst>
          </p:nvPr>
        </p:nvSpPr>
        <p:spPr bwMode="auto">
          <a:xfrm>
            <a:off x="7958103" y="4364485"/>
            <a:ext cx="9670" cy="59076"/>
          </a:xfrm>
          <a:custGeom>
            <a:avLst/>
            <a:gdLst>
              <a:gd name="T0" fmla="*/ 0 w 17"/>
              <a:gd name="T1" fmla="*/ 36 h 42"/>
              <a:gd name="T2" fmla="*/ 13 w 17"/>
              <a:gd name="T3" fmla="*/ 42 h 42"/>
              <a:gd name="T4" fmla="*/ 14 w 17"/>
              <a:gd name="T5" fmla="*/ 33 h 42"/>
              <a:gd name="T6" fmla="*/ 16 w 17"/>
              <a:gd name="T7" fmla="*/ 23 h 42"/>
              <a:gd name="T8" fmla="*/ 17 w 17"/>
              <a:gd name="T9" fmla="*/ 18 h 42"/>
              <a:gd name="T10" fmla="*/ 16 w 17"/>
              <a:gd name="T11" fmla="*/ 12 h 42"/>
              <a:gd name="T12" fmla="*/ 16 w 17"/>
              <a:gd name="T13" fmla="*/ 6 h 42"/>
              <a:gd name="T14" fmla="*/ 13 w 17"/>
              <a:gd name="T15" fmla="*/ 0 h 42"/>
              <a:gd name="T16" fmla="*/ 0 w 17"/>
              <a:gd name="T17"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44" name="Freeform 312">
            <a:extLst>
              <a:ext uri="{FF2B5EF4-FFF2-40B4-BE49-F238E27FC236}">
                <a16:creationId xmlns="" xmlns:a16="http://schemas.microsoft.com/office/drawing/2014/main" id="{3519BBD1-A576-4693-9774-760ADB313E17}"/>
              </a:ext>
            </a:extLst>
          </p:cNvPr>
          <p:cNvSpPr>
            <a:spLocks/>
          </p:cNvSpPr>
          <p:nvPr>
            <p:custDataLst>
              <p:tags r:id="rId214"/>
            </p:custDataLst>
          </p:nvPr>
        </p:nvSpPr>
        <p:spPr bwMode="auto">
          <a:xfrm>
            <a:off x="7869145" y="4503968"/>
            <a:ext cx="36744" cy="60715"/>
          </a:xfrm>
          <a:custGeom>
            <a:avLst/>
            <a:gdLst>
              <a:gd name="T0" fmla="*/ 6 w 72"/>
              <a:gd name="T1" fmla="*/ 29 h 29"/>
              <a:gd name="T2" fmla="*/ 15 w 72"/>
              <a:gd name="T3" fmla="*/ 26 h 29"/>
              <a:gd name="T4" fmla="*/ 24 w 72"/>
              <a:gd name="T5" fmla="*/ 24 h 29"/>
              <a:gd name="T6" fmla="*/ 32 w 72"/>
              <a:gd name="T7" fmla="*/ 24 h 29"/>
              <a:gd name="T8" fmla="*/ 39 w 72"/>
              <a:gd name="T9" fmla="*/ 24 h 29"/>
              <a:gd name="T10" fmla="*/ 55 w 72"/>
              <a:gd name="T11" fmla="*/ 27 h 29"/>
              <a:gd name="T12" fmla="*/ 72 w 72"/>
              <a:gd name="T13" fmla="*/ 29 h 29"/>
              <a:gd name="T14" fmla="*/ 72 w 72"/>
              <a:gd name="T15" fmla="*/ 4 h 29"/>
              <a:gd name="T16" fmla="*/ 58 w 72"/>
              <a:gd name="T17" fmla="*/ 1 h 29"/>
              <a:gd name="T18" fmla="*/ 47 w 72"/>
              <a:gd name="T19" fmla="*/ 0 h 29"/>
              <a:gd name="T20" fmla="*/ 39 w 72"/>
              <a:gd name="T21" fmla="*/ 0 h 29"/>
              <a:gd name="T22" fmla="*/ 34 w 72"/>
              <a:gd name="T23" fmla="*/ 2 h 29"/>
              <a:gd name="T24" fmla="*/ 27 w 72"/>
              <a:gd name="T25" fmla="*/ 3 h 29"/>
              <a:gd name="T26" fmla="*/ 21 w 72"/>
              <a:gd name="T27" fmla="*/ 5 h 29"/>
              <a:gd name="T28" fmla="*/ 12 w 72"/>
              <a:gd name="T29" fmla="*/ 5 h 29"/>
              <a:gd name="T30" fmla="*/ 0 w 72"/>
              <a:gd name="T31" fmla="*/ 4 h 29"/>
              <a:gd name="T32" fmla="*/ 3 w 72"/>
              <a:gd name="T33" fmla="*/ 16 h 29"/>
              <a:gd name="T34" fmla="*/ 6 w 72"/>
              <a:gd name="T3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45" name="Freeform 313">
            <a:extLst>
              <a:ext uri="{FF2B5EF4-FFF2-40B4-BE49-F238E27FC236}">
                <a16:creationId xmlns="" xmlns:a16="http://schemas.microsoft.com/office/drawing/2014/main" id="{A89809F8-9F58-4B4F-A833-3CD9B7F05715}"/>
              </a:ext>
            </a:extLst>
          </p:cNvPr>
          <p:cNvSpPr>
            <a:spLocks/>
          </p:cNvSpPr>
          <p:nvPr>
            <p:custDataLst>
              <p:tags r:id="rId215"/>
            </p:custDataLst>
          </p:nvPr>
        </p:nvSpPr>
        <p:spPr bwMode="auto">
          <a:xfrm>
            <a:off x="7878815" y="4695961"/>
            <a:ext cx="23206" cy="57435"/>
          </a:xfrm>
          <a:custGeom>
            <a:avLst/>
            <a:gdLst>
              <a:gd name="T0" fmla="*/ 0 w 46"/>
              <a:gd name="T1" fmla="*/ 0 h 37"/>
              <a:gd name="T2" fmla="*/ 9 w 46"/>
              <a:gd name="T3" fmla="*/ 9 h 37"/>
              <a:gd name="T4" fmla="*/ 20 w 46"/>
              <a:gd name="T5" fmla="*/ 15 h 37"/>
              <a:gd name="T6" fmla="*/ 31 w 46"/>
              <a:gd name="T7" fmla="*/ 20 h 37"/>
              <a:gd name="T8" fmla="*/ 46 w 46"/>
              <a:gd name="T9" fmla="*/ 25 h 37"/>
              <a:gd name="T10" fmla="*/ 37 w 46"/>
              <a:gd name="T11" fmla="*/ 29 h 37"/>
              <a:gd name="T12" fmla="*/ 29 w 46"/>
              <a:gd name="T13" fmla="*/ 33 h 37"/>
              <a:gd name="T14" fmla="*/ 21 w 46"/>
              <a:gd name="T15" fmla="*/ 36 h 37"/>
              <a:gd name="T16" fmla="*/ 13 w 46"/>
              <a:gd name="T17" fmla="*/ 37 h 37"/>
              <a:gd name="T18" fmla="*/ 9 w 46"/>
              <a:gd name="T19" fmla="*/ 36 h 37"/>
              <a:gd name="T20" fmla="*/ 7 w 46"/>
              <a:gd name="T21" fmla="*/ 33 h 37"/>
              <a:gd name="T22" fmla="*/ 5 w 46"/>
              <a:gd name="T23" fmla="*/ 29 h 37"/>
              <a:gd name="T24" fmla="*/ 3 w 46"/>
              <a:gd name="T25" fmla="*/ 23 h 37"/>
              <a:gd name="T26" fmla="*/ 1 w 46"/>
              <a:gd name="T27" fmla="*/ 12 h 37"/>
              <a:gd name="T28" fmla="*/ 0 w 46"/>
              <a:gd name="T2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46" name="Freeform 314">
            <a:extLst>
              <a:ext uri="{FF2B5EF4-FFF2-40B4-BE49-F238E27FC236}">
                <a16:creationId xmlns="" xmlns:a16="http://schemas.microsoft.com/office/drawing/2014/main" id="{F0035614-24D9-4160-BAE9-07744B42E431}"/>
              </a:ext>
            </a:extLst>
          </p:cNvPr>
          <p:cNvSpPr>
            <a:spLocks/>
          </p:cNvSpPr>
          <p:nvPr>
            <p:custDataLst>
              <p:tags r:id="rId216"/>
            </p:custDataLst>
          </p:nvPr>
        </p:nvSpPr>
        <p:spPr bwMode="auto">
          <a:xfrm>
            <a:off x="8016118" y="4508891"/>
            <a:ext cx="13538" cy="59076"/>
          </a:xfrm>
          <a:custGeom>
            <a:avLst/>
            <a:gdLst>
              <a:gd name="T0" fmla="*/ 0 w 26"/>
              <a:gd name="T1" fmla="*/ 0 h 19"/>
              <a:gd name="T2" fmla="*/ 26 w 26"/>
              <a:gd name="T3" fmla="*/ 19 h 19"/>
              <a:gd name="T4" fmla="*/ 26 w 26"/>
              <a:gd name="T5" fmla="*/ 9 h 19"/>
              <a:gd name="T6" fmla="*/ 26 w 26"/>
              <a:gd name="T7" fmla="*/ 0 h 19"/>
              <a:gd name="T8" fmla="*/ 15 w 26"/>
              <a:gd name="T9" fmla="*/ 0 h 19"/>
              <a:gd name="T10" fmla="*/ 0 w 26"/>
              <a:gd name="T11" fmla="*/ 0 h 19"/>
            </a:gdLst>
            <a:ahLst/>
            <a:cxnLst>
              <a:cxn ang="0">
                <a:pos x="T0" y="T1"/>
              </a:cxn>
              <a:cxn ang="0">
                <a:pos x="T2" y="T3"/>
              </a:cxn>
              <a:cxn ang="0">
                <a:pos x="T4" y="T5"/>
              </a:cxn>
              <a:cxn ang="0">
                <a:pos x="T6" y="T7"/>
              </a:cxn>
              <a:cxn ang="0">
                <a:pos x="T8" y="T9"/>
              </a:cxn>
              <a:cxn ang="0">
                <a:pos x="T10" y="T11"/>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47" name="Freeform 315">
            <a:extLst>
              <a:ext uri="{FF2B5EF4-FFF2-40B4-BE49-F238E27FC236}">
                <a16:creationId xmlns="" xmlns:a16="http://schemas.microsoft.com/office/drawing/2014/main" id="{DFDDE1D1-3E24-440B-A749-04B75DDCE9F2}"/>
              </a:ext>
            </a:extLst>
          </p:cNvPr>
          <p:cNvSpPr>
            <a:spLocks/>
          </p:cNvSpPr>
          <p:nvPr>
            <p:custDataLst>
              <p:tags r:id="rId217"/>
            </p:custDataLst>
          </p:nvPr>
        </p:nvSpPr>
        <p:spPr bwMode="auto">
          <a:xfrm>
            <a:off x="7845939" y="4503968"/>
            <a:ext cx="23206" cy="60715"/>
          </a:xfrm>
          <a:custGeom>
            <a:avLst/>
            <a:gdLst>
              <a:gd name="T0" fmla="*/ 2 w 43"/>
              <a:gd name="T1" fmla="*/ 0 h 31"/>
              <a:gd name="T2" fmla="*/ 1 w 43"/>
              <a:gd name="T3" fmla="*/ 12 h 31"/>
              <a:gd name="T4" fmla="*/ 0 w 43"/>
              <a:gd name="T5" fmla="*/ 23 h 31"/>
              <a:gd name="T6" fmla="*/ 0 w 43"/>
              <a:gd name="T7" fmla="*/ 26 h 31"/>
              <a:gd name="T8" fmla="*/ 0 w 43"/>
              <a:gd name="T9" fmla="*/ 29 h 31"/>
              <a:gd name="T10" fmla="*/ 0 w 43"/>
              <a:gd name="T11" fmla="*/ 31 h 31"/>
              <a:gd name="T12" fmla="*/ 2 w 43"/>
              <a:gd name="T13" fmla="*/ 31 h 31"/>
              <a:gd name="T14" fmla="*/ 13 w 43"/>
              <a:gd name="T15" fmla="*/ 22 h 31"/>
              <a:gd name="T16" fmla="*/ 25 w 43"/>
              <a:gd name="T17" fmla="*/ 13 h 31"/>
              <a:gd name="T18" fmla="*/ 35 w 43"/>
              <a:gd name="T19" fmla="*/ 5 h 31"/>
              <a:gd name="T20" fmla="*/ 43 w 43"/>
              <a:gd name="T21" fmla="*/ 0 h 31"/>
              <a:gd name="T22" fmla="*/ 2 w 4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48" name="Freeform 316">
            <a:extLst>
              <a:ext uri="{FF2B5EF4-FFF2-40B4-BE49-F238E27FC236}">
                <a16:creationId xmlns="" xmlns:a16="http://schemas.microsoft.com/office/drawing/2014/main" id="{EA28CCFF-507D-4EB9-BA2F-68BECBE8DD93}"/>
              </a:ext>
            </a:extLst>
          </p:cNvPr>
          <p:cNvSpPr>
            <a:spLocks/>
          </p:cNvSpPr>
          <p:nvPr>
            <p:custDataLst>
              <p:tags r:id="rId218"/>
            </p:custDataLst>
          </p:nvPr>
        </p:nvSpPr>
        <p:spPr bwMode="auto">
          <a:xfrm>
            <a:off x="7900087" y="4553197"/>
            <a:ext cx="36744" cy="59076"/>
          </a:xfrm>
          <a:custGeom>
            <a:avLst/>
            <a:gdLst>
              <a:gd name="T0" fmla="*/ 4 w 71"/>
              <a:gd name="T1" fmla="*/ 12 h 49"/>
              <a:gd name="T2" fmla="*/ 4 w 71"/>
              <a:gd name="T3" fmla="*/ 18 h 49"/>
              <a:gd name="T4" fmla="*/ 5 w 71"/>
              <a:gd name="T5" fmla="*/ 25 h 49"/>
              <a:gd name="T6" fmla="*/ 7 w 71"/>
              <a:gd name="T7" fmla="*/ 31 h 49"/>
              <a:gd name="T8" fmla="*/ 9 w 71"/>
              <a:gd name="T9" fmla="*/ 37 h 49"/>
              <a:gd name="T10" fmla="*/ 14 w 71"/>
              <a:gd name="T11" fmla="*/ 41 h 49"/>
              <a:gd name="T12" fmla="*/ 18 w 71"/>
              <a:gd name="T13" fmla="*/ 46 h 49"/>
              <a:gd name="T14" fmla="*/ 23 w 71"/>
              <a:gd name="T15" fmla="*/ 48 h 49"/>
              <a:gd name="T16" fmla="*/ 30 w 71"/>
              <a:gd name="T17" fmla="*/ 49 h 49"/>
              <a:gd name="T18" fmla="*/ 35 w 71"/>
              <a:gd name="T19" fmla="*/ 48 h 49"/>
              <a:gd name="T20" fmla="*/ 40 w 71"/>
              <a:gd name="T21" fmla="*/ 46 h 49"/>
              <a:gd name="T22" fmla="*/ 45 w 71"/>
              <a:gd name="T23" fmla="*/ 42 h 49"/>
              <a:gd name="T24" fmla="*/ 50 w 71"/>
              <a:gd name="T25" fmla="*/ 37 h 49"/>
              <a:gd name="T26" fmla="*/ 60 w 71"/>
              <a:gd name="T27" fmla="*/ 28 h 49"/>
              <a:gd name="T28" fmla="*/ 71 w 71"/>
              <a:gd name="T29" fmla="*/ 18 h 49"/>
              <a:gd name="T30" fmla="*/ 61 w 71"/>
              <a:gd name="T31" fmla="*/ 12 h 49"/>
              <a:gd name="T32" fmla="*/ 52 w 71"/>
              <a:gd name="T33" fmla="*/ 9 h 49"/>
              <a:gd name="T34" fmla="*/ 44 w 71"/>
              <a:gd name="T35" fmla="*/ 7 h 49"/>
              <a:gd name="T36" fmla="*/ 37 w 71"/>
              <a:gd name="T37" fmla="*/ 6 h 49"/>
              <a:gd name="T38" fmla="*/ 29 w 71"/>
              <a:gd name="T39" fmla="*/ 6 h 49"/>
              <a:gd name="T40" fmla="*/ 21 w 71"/>
              <a:gd name="T41" fmla="*/ 5 h 49"/>
              <a:gd name="T42" fmla="*/ 14 w 71"/>
              <a:gd name="T43" fmla="*/ 3 h 49"/>
              <a:gd name="T44" fmla="*/ 4 w 71"/>
              <a:gd name="T45" fmla="*/ 0 h 49"/>
              <a:gd name="T46" fmla="*/ 3 w 71"/>
              <a:gd name="T47" fmla="*/ 1 h 49"/>
              <a:gd name="T48" fmla="*/ 1 w 71"/>
              <a:gd name="T49" fmla="*/ 6 h 49"/>
              <a:gd name="T50" fmla="*/ 0 w 71"/>
              <a:gd name="T51" fmla="*/ 8 h 49"/>
              <a:gd name="T52" fmla="*/ 0 w 71"/>
              <a:gd name="T53" fmla="*/ 10 h 49"/>
              <a:gd name="T54" fmla="*/ 1 w 71"/>
              <a:gd name="T55" fmla="*/ 11 h 49"/>
              <a:gd name="T56" fmla="*/ 4 w 71"/>
              <a:gd name="T57" fmla="*/ 1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49" name="Freeform 317">
            <a:extLst>
              <a:ext uri="{FF2B5EF4-FFF2-40B4-BE49-F238E27FC236}">
                <a16:creationId xmlns="" xmlns:a16="http://schemas.microsoft.com/office/drawing/2014/main" id="{79FCC108-5176-4E3E-886E-3BFDE4749722}"/>
              </a:ext>
            </a:extLst>
          </p:cNvPr>
          <p:cNvSpPr>
            <a:spLocks/>
          </p:cNvSpPr>
          <p:nvPr>
            <p:custDataLst>
              <p:tags r:id="rId219"/>
            </p:custDataLst>
          </p:nvPr>
        </p:nvSpPr>
        <p:spPr bwMode="auto">
          <a:xfrm>
            <a:off x="7658356" y="4763242"/>
            <a:ext cx="56081" cy="60715"/>
          </a:xfrm>
          <a:custGeom>
            <a:avLst/>
            <a:gdLst>
              <a:gd name="T0" fmla="*/ 46 w 112"/>
              <a:gd name="T1" fmla="*/ 2 h 26"/>
              <a:gd name="T2" fmla="*/ 56 w 112"/>
              <a:gd name="T3" fmla="*/ 2 h 26"/>
              <a:gd name="T4" fmla="*/ 66 w 112"/>
              <a:gd name="T5" fmla="*/ 3 h 26"/>
              <a:gd name="T6" fmla="*/ 74 w 112"/>
              <a:gd name="T7" fmla="*/ 4 h 26"/>
              <a:gd name="T8" fmla="*/ 84 w 112"/>
              <a:gd name="T9" fmla="*/ 6 h 26"/>
              <a:gd name="T10" fmla="*/ 92 w 112"/>
              <a:gd name="T11" fmla="*/ 9 h 26"/>
              <a:gd name="T12" fmla="*/ 100 w 112"/>
              <a:gd name="T13" fmla="*/ 12 h 26"/>
              <a:gd name="T14" fmla="*/ 106 w 112"/>
              <a:gd name="T15" fmla="*/ 16 h 26"/>
              <a:gd name="T16" fmla="*/ 112 w 112"/>
              <a:gd name="T17" fmla="*/ 20 h 26"/>
              <a:gd name="T18" fmla="*/ 110 w 112"/>
              <a:gd name="T19" fmla="*/ 22 h 26"/>
              <a:gd name="T20" fmla="*/ 105 w 112"/>
              <a:gd name="T21" fmla="*/ 23 h 26"/>
              <a:gd name="T22" fmla="*/ 101 w 112"/>
              <a:gd name="T23" fmla="*/ 25 h 26"/>
              <a:gd name="T24" fmla="*/ 95 w 112"/>
              <a:gd name="T25" fmla="*/ 25 h 26"/>
              <a:gd name="T26" fmla="*/ 87 w 112"/>
              <a:gd name="T27" fmla="*/ 26 h 26"/>
              <a:gd name="T28" fmla="*/ 79 w 112"/>
              <a:gd name="T29" fmla="*/ 26 h 26"/>
              <a:gd name="T30" fmla="*/ 66 w 112"/>
              <a:gd name="T31" fmla="*/ 24 h 26"/>
              <a:gd name="T32" fmla="*/ 41 w 112"/>
              <a:gd name="T33" fmla="*/ 19 h 26"/>
              <a:gd name="T34" fmla="*/ 16 w 112"/>
              <a:gd name="T35" fmla="*/ 13 h 26"/>
              <a:gd name="T36" fmla="*/ 0 w 112"/>
              <a:gd name="T37" fmla="*/ 8 h 26"/>
              <a:gd name="T38" fmla="*/ 5 w 112"/>
              <a:gd name="T39" fmla="*/ 4 h 26"/>
              <a:gd name="T40" fmla="*/ 11 w 112"/>
              <a:gd name="T41" fmla="*/ 2 h 26"/>
              <a:gd name="T42" fmla="*/ 18 w 112"/>
              <a:gd name="T43" fmla="*/ 1 h 26"/>
              <a:gd name="T44" fmla="*/ 25 w 112"/>
              <a:gd name="T45" fmla="*/ 0 h 26"/>
              <a:gd name="T46" fmla="*/ 37 w 112"/>
              <a:gd name="T47" fmla="*/ 1 h 26"/>
              <a:gd name="T48" fmla="*/ 46 w 112"/>
              <a:gd name="T49"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50" name="Freeform 318">
            <a:extLst>
              <a:ext uri="{FF2B5EF4-FFF2-40B4-BE49-F238E27FC236}">
                <a16:creationId xmlns="" xmlns:a16="http://schemas.microsoft.com/office/drawing/2014/main" id="{02773A65-0139-4642-AD4F-B5EFF3EEAA57}"/>
              </a:ext>
            </a:extLst>
          </p:cNvPr>
          <p:cNvSpPr>
            <a:spLocks/>
          </p:cNvSpPr>
          <p:nvPr>
            <p:custDataLst>
              <p:tags r:id="rId220"/>
            </p:custDataLst>
          </p:nvPr>
        </p:nvSpPr>
        <p:spPr bwMode="auto">
          <a:xfrm>
            <a:off x="7778255" y="4802625"/>
            <a:ext cx="17404" cy="60715"/>
          </a:xfrm>
          <a:custGeom>
            <a:avLst/>
            <a:gdLst>
              <a:gd name="T0" fmla="*/ 0 w 41"/>
              <a:gd name="T1" fmla="*/ 0 h 25"/>
              <a:gd name="T2" fmla="*/ 41 w 41"/>
              <a:gd name="T3" fmla="*/ 0 h 25"/>
              <a:gd name="T4" fmla="*/ 28 w 41"/>
              <a:gd name="T5" fmla="*/ 8 h 25"/>
              <a:gd name="T6" fmla="*/ 18 w 41"/>
              <a:gd name="T7" fmla="*/ 15 h 25"/>
              <a:gd name="T8" fmla="*/ 9 w 41"/>
              <a:gd name="T9" fmla="*/ 20 h 25"/>
              <a:gd name="T10" fmla="*/ 0 w 41"/>
              <a:gd name="T11" fmla="*/ 25 h 25"/>
              <a:gd name="T12" fmla="*/ 0 w 41"/>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51" name="Freeform 319">
            <a:extLst>
              <a:ext uri="{FF2B5EF4-FFF2-40B4-BE49-F238E27FC236}">
                <a16:creationId xmlns="" xmlns:a16="http://schemas.microsoft.com/office/drawing/2014/main" id="{3DE305F7-C7B6-42B0-8259-3E1CBC6EA1AD}"/>
              </a:ext>
            </a:extLst>
          </p:cNvPr>
          <p:cNvSpPr>
            <a:spLocks/>
          </p:cNvSpPr>
          <p:nvPr>
            <p:custDataLst>
              <p:tags r:id="rId221"/>
            </p:custDataLst>
          </p:nvPr>
        </p:nvSpPr>
        <p:spPr bwMode="auto">
          <a:xfrm>
            <a:off x="7575200" y="4732063"/>
            <a:ext cx="44480" cy="57435"/>
          </a:xfrm>
          <a:custGeom>
            <a:avLst/>
            <a:gdLst>
              <a:gd name="T0" fmla="*/ 0 w 81"/>
              <a:gd name="T1" fmla="*/ 31 h 31"/>
              <a:gd name="T2" fmla="*/ 0 w 81"/>
              <a:gd name="T3" fmla="*/ 22 h 31"/>
              <a:gd name="T4" fmla="*/ 0 w 81"/>
              <a:gd name="T5" fmla="*/ 13 h 31"/>
              <a:gd name="T6" fmla="*/ 0 w 81"/>
              <a:gd name="T7" fmla="*/ 10 h 31"/>
              <a:gd name="T8" fmla="*/ 2 w 81"/>
              <a:gd name="T9" fmla="*/ 8 h 31"/>
              <a:gd name="T10" fmla="*/ 3 w 81"/>
              <a:gd name="T11" fmla="*/ 6 h 31"/>
              <a:gd name="T12" fmla="*/ 4 w 81"/>
              <a:gd name="T13" fmla="*/ 4 h 31"/>
              <a:gd name="T14" fmla="*/ 8 w 81"/>
              <a:gd name="T15" fmla="*/ 2 h 31"/>
              <a:gd name="T16" fmla="*/ 14 w 81"/>
              <a:gd name="T17" fmla="*/ 0 h 31"/>
              <a:gd name="T18" fmla="*/ 26 w 81"/>
              <a:gd name="T19" fmla="*/ 1 h 31"/>
              <a:gd name="T20" fmla="*/ 41 w 81"/>
              <a:gd name="T21" fmla="*/ 1 h 31"/>
              <a:gd name="T22" fmla="*/ 56 w 81"/>
              <a:gd name="T23" fmla="*/ 1 h 31"/>
              <a:gd name="T24" fmla="*/ 65 w 81"/>
              <a:gd name="T25" fmla="*/ 1 h 31"/>
              <a:gd name="T26" fmla="*/ 73 w 81"/>
              <a:gd name="T27" fmla="*/ 1 h 31"/>
              <a:gd name="T28" fmla="*/ 81 w 81"/>
              <a:gd name="T29" fmla="*/ 1 h 31"/>
              <a:gd name="T30" fmla="*/ 73 w 81"/>
              <a:gd name="T31" fmla="*/ 6 h 31"/>
              <a:gd name="T32" fmla="*/ 67 w 81"/>
              <a:gd name="T33" fmla="*/ 10 h 31"/>
              <a:gd name="T34" fmla="*/ 64 w 81"/>
              <a:gd name="T35" fmla="*/ 14 h 31"/>
              <a:gd name="T36" fmla="*/ 62 w 81"/>
              <a:gd name="T37" fmla="*/ 18 h 31"/>
              <a:gd name="T38" fmla="*/ 59 w 81"/>
              <a:gd name="T39" fmla="*/ 21 h 31"/>
              <a:gd name="T40" fmla="*/ 54 w 81"/>
              <a:gd name="T41" fmla="*/ 23 h 31"/>
              <a:gd name="T42" fmla="*/ 47 w 81"/>
              <a:gd name="T43" fmla="*/ 25 h 31"/>
              <a:gd name="T44" fmla="*/ 34 w 81"/>
              <a:gd name="T45" fmla="*/ 25 h 31"/>
              <a:gd name="T46" fmla="*/ 0 w 81"/>
              <a:gd name="T4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52" name="Freeform 320">
            <a:extLst>
              <a:ext uri="{FF2B5EF4-FFF2-40B4-BE49-F238E27FC236}">
                <a16:creationId xmlns="" xmlns:a16="http://schemas.microsoft.com/office/drawing/2014/main" id="{B1A696AB-D62A-4675-94D8-B2DBDBC0E1BC}"/>
              </a:ext>
            </a:extLst>
          </p:cNvPr>
          <p:cNvSpPr>
            <a:spLocks/>
          </p:cNvSpPr>
          <p:nvPr>
            <p:custDataLst>
              <p:tags r:id="rId222"/>
            </p:custDataLst>
          </p:nvPr>
        </p:nvSpPr>
        <p:spPr bwMode="auto">
          <a:xfrm>
            <a:off x="7629348" y="4717295"/>
            <a:ext cx="48347" cy="57434"/>
          </a:xfrm>
          <a:custGeom>
            <a:avLst/>
            <a:gdLst>
              <a:gd name="T0" fmla="*/ 2 w 89"/>
              <a:gd name="T1" fmla="*/ 49 h 49"/>
              <a:gd name="T2" fmla="*/ 89 w 89"/>
              <a:gd name="T3" fmla="*/ 49 h 49"/>
              <a:gd name="T4" fmla="*/ 78 w 89"/>
              <a:gd name="T5" fmla="*/ 41 h 49"/>
              <a:gd name="T6" fmla="*/ 68 w 89"/>
              <a:gd name="T7" fmla="*/ 35 h 49"/>
              <a:gd name="T8" fmla="*/ 57 w 89"/>
              <a:gd name="T9" fmla="*/ 30 h 49"/>
              <a:gd name="T10" fmla="*/ 46 w 89"/>
              <a:gd name="T11" fmla="*/ 25 h 49"/>
              <a:gd name="T12" fmla="*/ 36 w 89"/>
              <a:gd name="T13" fmla="*/ 21 h 49"/>
              <a:gd name="T14" fmla="*/ 26 w 89"/>
              <a:gd name="T15" fmla="*/ 14 h 49"/>
              <a:gd name="T16" fmla="*/ 16 w 89"/>
              <a:gd name="T17" fmla="*/ 8 h 49"/>
              <a:gd name="T18" fmla="*/ 9 w 89"/>
              <a:gd name="T19" fmla="*/ 0 h 49"/>
              <a:gd name="T20" fmla="*/ 4 w 89"/>
              <a:gd name="T21" fmla="*/ 10 h 49"/>
              <a:gd name="T22" fmla="*/ 1 w 89"/>
              <a:gd name="T23" fmla="*/ 23 h 49"/>
              <a:gd name="T24" fmla="*/ 0 w 89"/>
              <a:gd name="T25" fmla="*/ 29 h 49"/>
              <a:gd name="T26" fmla="*/ 0 w 89"/>
              <a:gd name="T27" fmla="*/ 36 h 49"/>
              <a:gd name="T28" fmla="*/ 0 w 89"/>
              <a:gd name="T29" fmla="*/ 43 h 49"/>
              <a:gd name="T30" fmla="*/ 2 w 89"/>
              <a:gd name="T3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53" name="Freeform 321">
            <a:extLst>
              <a:ext uri="{FF2B5EF4-FFF2-40B4-BE49-F238E27FC236}">
                <a16:creationId xmlns="" xmlns:a16="http://schemas.microsoft.com/office/drawing/2014/main" id="{05D7DF7F-ECAD-44CA-BA0B-0A8D421A89E6}"/>
              </a:ext>
            </a:extLst>
          </p:cNvPr>
          <p:cNvSpPr>
            <a:spLocks/>
          </p:cNvSpPr>
          <p:nvPr>
            <p:custDataLst>
              <p:tags r:id="rId223"/>
            </p:custDataLst>
          </p:nvPr>
        </p:nvSpPr>
        <p:spPr bwMode="auto">
          <a:xfrm>
            <a:off x="7693166" y="4727140"/>
            <a:ext cx="44478" cy="60715"/>
          </a:xfrm>
          <a:custGeom>
            <a:avLst/>
            <a:gdLst>
              <a:gd name="T0" fmla="*/ 0 w 86"/>
              <a:gd name="T1" fmla="*/ 21 h 46"/>
              <a:gd name="T2" fmla="*/ 14 w 86"/>
              <a:gd name="T3" fmla="*/ 26 h 46"/>
              <a:gd name="T4" fmla="*/ 25 w 86"/>
              <a:gd name="T5" fmla="*/ 29 h 46"/>
              <a:gd name="T6" fmla="*/ 30 w 86"/>
              <a:gd name="T7" fmla="*/ 30 h 46"/>
              <a:gd name="T8" fmla="*/ 36 w 86"/>
              <a:gd name="T9" fmla="*/ 30 h 46"/>
              <a:gd name="T10" fmla="*/ 41 w 86"/>
              <a:gd name="T11" fmla="*/ 29 h 46"/>
              <a:gd name="T12" fmla="*/ 46 w 86"/>
              <a:gd name="T13" fmla="*/ 27 h 46"/>
              <a:gd name="T14" fmla="*/ 46 w 86"/>
              <a:gd name="T15" fmla="*/ 36 h 46"/>
              <a:gd name="T16" fmla="*/ 46 w 86"/>
              <a:gd name="T17" fmla="*/ 46 h 46"/>
              <a:gd name="T18" fmla="*/ 56 w 86"/>
              <a:gd name="T19" fmla="*/ 45 h 46"/>
              <a:gd name="T20" fmla="*/ 67 w 86"/>
              <a:gd name="T21" fmla="*/ 43 h 46"/>
              <a:gd name="T22" fmla="*/ 77 w 86"/>
              <a:gd name="T23" fmla="*/ 40 h 46"/>
              <a:gd name="T24" fmla="*/ 86 w 86"/>
              <a:gd name="T25" fmla="*/ 40 h 46"/>
              <a:gd name="T26" fmla="*/ 83 w 86"/>
              <a:gd name="T27" fmla="*/ 32 h 46"/>
              <a:gd name="T28" fmla="*/ 80 w 86"/>
              <a:gd name="T29" fmla="*/ 25 h 46"/>
              <a:gd name="T30" fmla="*/ 74 w 86"/>
              <a:gd name="T31" fmla="*/ 19 h 46"/>
              <a:gd name="T32" fmla="*/ 70 w 86"/>
              <a:gd name="T33" fmla="*/ 14 h 46"/>
              <a:gd name="T34" fmla="*/ 64 w 86"/>
              <a:gd name="T35" fmla="*/ 9 h 46"/>
              <a:gd name="T36" fmla="*/ 58 w 86"/>
              <a:gd name="T37" fmla="*/ 6 h 46"/>
              <a:gd name="T38" fmla="*/ 51 w 86"/>
              <a:gd name="T39" fmla="*/ 3 h 46"/>
              <a:gd name="T40" fmla="*/ 46 w 86"/>
              <a:gd name="T41" fmla="*/ 1 h 46"/>
              <a:gd name="T42" fmla="*/ 39 w 86"/>
              <a:gd name="T43" fmla="*/ 0 h 46"/>
              <a:gd name="T44" fmla="*/ 33 w 86"/>
              <a:gd name="T45" fmla="*/ 0 h 46"/>
              <a:gd name="T46" fmla="*/ 26 w 86"/>
              <a:gd name="T47" fmla="*/ 1 h 46"/>
              <a:gd name="T48" fmla="*/ 19 w 86"/>
              <a:gd name="T49" fmla="*/ 3 h 46"/>
              <a:gd name="T50" fmla="*/ 14 w 86"/>
              <a:gd name="T51" fmla="*/ 6 h 46"/>
              <a:gd name="T52" fmla="*/ 8 w 86"/>
              <a:gd name="T53" fmla="*/ 10 h 46"/>
              <a:gd name="T54" fmla="*/ 4 w 86"/>
              <a:gd name="T55" fmla="*/ 15 h 46"/>
              <a:gd name="T56" fmla="*/ 0 w 86"/>
              <a:gd name="T57" fmla="*/ 2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54" name="Freeform 322">
            <a:extLst>
              <a:ext uri="{FF2B5EF4-FFF2-40B4-BE49-F238E27FC236}">
                <a16:creationId xmlns="" xmlns:a16="http://schemas.microsoft.com/office/drawing/2014/main" id="{5F3E57DC-2679-4143-91E8-2C001D3355DE}"/>
              </a:ext>
            </a:extLst>
          </p:cNvPr>
          <p:cNvSpPr>
            <a:spLocks/>
          </p:cNvSpPr>
          <p:nvPr>
            <p:custDataLst>
              <p:tags r:id="rId224"/>
            </p:custDataLst>
          </p:nvPr>
        </p:nvSpPr>
        <p:spPr bwMode="auto">
          <a:xfrm>
            <a:off x="7756982" y="4732063"/>
            <a:ext cx="30942" cy="57435"/>
          </a:xfrm>
          <a:custGeom>
            <a:avLst/>
            <a:gdLst>
              <a:gd name="T0" fmla="*/ 0 w 59"/>
              <a:gd name="T1" fmla="*/ 0 h 18"/>
              <a:gd name="T2" fmla="*/ 0 w 59"/>
              <a:gd name="T3" fmla="*/ 18 h 18"/>
              <a:gd name="T4" fmla="*/ 39 w 59"/>
              <a:gd name="T5" fmla="*/ 18 h 18"/>
              <a:gd name="T6" fmla="*/ 59 w 59"/>
              <a:gd name="T7" fmla="*/ 6 h 18"/>
              <a:gd name="T8" fmla="*/ 51 w 59"/>
              <a:gd name="T9" fmla="*/ 5 h 18"/>
              <a:gd name="T10" fmla="*/ 45 w 59"/>
              <a:gd name="T11" fmla="*/ 4 h 18"/>
              <a:gd name="T12" fmla="*/ 37 w 59"/>
              <a:gd name="T13" fmla="*/ 5 h 18"/>
              <a:gd name="T14" fmla="*/ 29 w 59"/>
              <a:gd name="T15" fmla="*/ 6 h 18"/>
              <a:gd name="T16" fmla="*/ 22 w 59"/>
              <a:gd name="T17" fmla="*/ 6 h 18"/>
              <a:gd name="T18" fmla="*/ 14 w 59"/>
              <a:gd name="T19" fmla="*/ 5 h 18"/>
              <a:gd name="T20" fmla="*/ 7 w 59"/>
              <a:gd name="T21" fmla="*/ 4 h 18"/>
              <a:gd name="T22" fmla="*/ 0 w 59"/>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55" name="Freeform 323">
            <a:extLst>
              <a:ext uri="{FF2B5EF4-FFF2-40B4-BE49-F238E27FC236}">
                <a16:creationId xmlns="" xmlns:a16="http://schemas.microsoft.com/office/drawing/2014/main" id="{C13AAE9E-7483-4270-8801-06BBC89D6B11}"/>
              </a:ext>
            </a:extLst>
          </p:cNvPr>
          <p:cNvSpPr>
            <a:spLocks/>
          </p:cNvSpPr>
          <p:nvPr>
            <p:custDataLst>
              <p:tags r:id="rId225"/>
            </p:custDataLst>
          </p:nvPr>
        </p:nvSpPr>
        <p:spPr bwMode="auto">
          <a:xfrm>
            <a:off x="7845939" y="4723859"/>
            <a:ext cx="1934" cy="57434"/>
          </a:xfrm>
          <a:custGeom>
            <a:avLst/>
            <a:gdLst>
              <a:gd name="T0" fmla="*/ 4 w 4"/>
              <a:gd name="T1" fmla="*/ 19 h 19"/>
              <a:gd name="T2" fmla="*/ 4 w 4"/>
              <a:gd name="T3" fmla="*/ 0 h 19"/>
              <a:gd name="T4" fmla="*/ 2 w 4"/>
              <a:gd name="T5" fmla="*/ 1 h 19"/>
              <a:gd name="T6" fmla="*/ 1 w 4"/>
              <a:gd name="T7" fmla="*/ 3 h 19"/>
              <a:gd name="T8" fmla="*/ 0 w 4"/>
              <a:gd name="T9" fmla="*/ 6 h 19"/>
              <a:gd name="T10" fmla="*/ 0 w 4"/>
              <a:gd name="T11" fmla="*/ 10 h 19"/>
              <a:gd name="T12" fmla="*/ 0 w 4"/>
              <a:gd name="T13" fmla="*/ 14 h 19"/>
              <a:gd name="T14" fmla="*/ 1 w 4"/>
              <a:gd name="T15" fmla="*/ 16 h 19"/>
              <a:gd name="T16" fmla="*/ 2 w 4"/>
              <a:gd name="T17" fmla="*/ 19 h 19"/>
              <a:gd name="T18" fmla="*/ 4 w 4"/>
              <a:gd name="T1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56" name="Freeform 324">
            <a:extLst>
              <a:ext uri="{FF2B5EF4-FFF2-40B4-BE49-F238E27FC236}">
                <a16:creationId xmlns="" xmlns:a16="http://schemas.microsoft.com/office/drawing/2014/main" id="{46365C3B-FD91-4F4C-9E9E-DACFC7A27B99}"/>
              </a:ext>
            </a:extLst>
          </p:cNvPr>
          <p:cNvSpPr>
            <a:spLocks/>
          </p:cNvSpPr>
          <p:nvPr>
            <p:custDataLst>
              <p:tags r:id="rId226"/>
            </p:custDataLst>
          </p:nvPr>
        </p:nvSpPr>
        <p:spPr bwMode="auto">
          <a:xfrm>
            <a:off x="7327666" y="4531864"/>
            <a:ext cx="25141" cy="60716"/>
          </a:xfrm>
          <a:custGeom>
            <a:avLst/>
            <a:gdLst>
              <a:gd name="T0" fmla="*/ 0 w 46"/>
              <a:gd name="T1" fmla="*/ 50 h 50"/>
              <a:gd name="T2" fmla="*/ 7 w 46"/>
              <a:gd name="T3" fmla="*/ 0 h 50"/>
              <a:gd name="T4" fmla="*/ 23 w 46"/>
              <a:gd name="T5" fmla="*/ 8 h 50"/>
              <a:gd name="T6" fmla="*/ 34 w 46"/>
              <a:gd name="T7" fmla="*/ 14 h 50"/>
              <a:gd name="T8" fmla="*/ 37 w 46"/>
              <a:gd name="T9" fmla="*/ 18 h 50"/>
              <a:gd name="T10" fmla="*/ 41 w 46"/>
              <a:gd name="T11" fmla="*/ 22 h 50"/>
              <a:gd name="T12" fmla="*/ 44 w 46"/>
              <a:gd name="T13" fmla="*/ 30 h 50"/>
              <a:gd name="T14" fmla="*/ 46 w 46"/>
              <a:gd name="T15" fmla="*/ 38 h 50"/>
              <a:gd name="T16" fmla="*/ 34 w 46"/>
              <a:gd name="T17" fmla="*/ 42 h 50"/>
              <a:gd name="T18" fmla="*/ 21 w 46"/>
              <a:gd name="T19" fmla="*/ 46 h 50"/>
              <a:gd name="T20" fmla="*/ 8 w 46"/>
              <a:gd name="T21" fmla="*/ 49 h 50"/>
              <a:gd name="T22" fmla="*/ 0 w 46"/>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57" name="Freeform 325">
            <a:extLst>
              <a:ext uri="{FF2B5EF4-FFF2-40B4-BE49-F238E27FC236}">
                <a16:creationId xmlns="" xmlns:a16="http://schemas.microsoft.com/office/drawing/2014/main" id="{CA7229EF-151B-4759-B9E2-414A11FA7BE5}"/>
              </a:ext>
            </a:extLst>
          </p:cNvPr>
          <p:cNvSpPr>
            <a:spLocks/>
          </p:cNvSpPr>
          <p:nvPr>
            <p:custDataLst>
              <p:tags r:id="rId227"/>
            </p:custDataLst>
          </p:nvPr>
        </p:nvSpPr>
        <p:spPr bwMode="auto">
          <a:xfrm>
            <a:off x="7261916" y="4503968"/>
            <a:ext cx="36744" cy="60715"/>
          </a:xfrm>
          <a:custGeom>
            <a:avLst/>
            <a:gdLst>
              <a:gd name="T0" fmla="*/ 0 w 66"/>
              <a:gd name="T1" fmla="*/ 0 h 80"/>
              <a:gd name="T2" fmla="*/ 10 w 66"/>
              <a:gd name="T3" fmla="*/ 0 h 80"/>
              <a:gd name="T4" fmla="*/ 18 w 66"/>
              <a:gd name="T5" fmla="*/ 0 h 80"/>
              <a:gd name="T6" fmla="*/ 26 w 66"/>
              <a:gd name="T7" fmla="*/ 0 h 80"/>
              <a:gd name="T8" fmla="*/ 33 w 66"/>
              <a:gd name="T9" fmla="*/ 0 h 80"/>
              <a:gd name="T10" fmla="*/ 33 w 66"/>
              <a:gd name="T11" fmla="*/ 7 h 80"/>
              <a:gd name="T12" fmla="*/ 34 w 66"/>
              <a:gd name="T13" fmla="*/ 14 h 80"/>
              <a:gd name="T14" fmla="*/ 36 w 66"/>
              <a:gd name="T15" fmla="*/ 21 h 80"/>
              <a:gd name="T16" fmla="*/ 38 w 66"/>
              <a:gd name="T17" fmla="*/ 27 h 80"/>
              <a:gd name="T18" fmla="*/ 44 w 66"/>
              <a:gd name="T19" fmla="*/ 36 h 80"/>
              <a:gd name="T20" fmla="*/ 49 w 66"/>
              <a:gd name="T21" fmla="*/ 45 h 80"/>
              <a:gd name="T22" fmla="*/ 56 w 66"/>
              <a:gd name="T23" fmla="*/ 52 h 80"/>
              <a:gd name="T24" fmla="*/ 61 w 66"/>
              <a:gd name="T25" fmla="*/ 60 h 80"/>
              <a:gd name="T26" fmla="*/ 62 w 66"/>
              <a:gd name="T27" fmla="*/ 65 h 80"/>
              <a:gd name="T28" fmla="*/ 65 w 66"/>
              <a:gd name="T29" fmla="*/ 69 h 80"/>
              <a:gd name="T30" fmla="*/ 66 w 66"/>
              <a:gd name="T31" fmla="*/ 75 h 80"/>
              <a:gd name="T32" fmla="*/ 66 w 66"/>
              <a:gd name="T33" fmla="*/ 80 h 80"/>
              <a:gd name="T34" fmla="*/ 0 w 66"/>
              <a:gd name="T35" fmla="*/ 18 h 80"/>
              <a:gd name="T36" fmla="*/ 0 w 66"/>
              <a:gd name="T3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58" name="Freeform 326">
            <a:extLst>
              <a:ext uri="{FF2B5EF4-FFF2-40B4-BE49-F238E27FC236}">
                <a16:creationId xmlns="" xmlns:a16="http://schemas.microsoft.com/office/drawing/2014/main" id="{F4805F68-192F-43E5-A009-57792060E488}"/>
              </a:ext>
            </a:extLst>
          </p:cNvPr>
          <p:cNvSpPr>
            <a:spLocks/>
          </p:cNvSpPr>
          <p:nvPr>
            <p:custDataLst>
              <p:tags r:id="rId228"/>
            </p:custDataLst>
          </p:nvPr>
        </p:nvSpPr>
        <p:spPr bwMode="auto">
          <a:xfrm>
            <a:off x="7060796" y="4487558"/>
            <a:ext cx="9670" cy="59076"/>
          </a:xfrm>
          <a:custGeom>
            <a:avLst/>
            <a:gdLst>
              <a:gd name="T0" fmla="*/ 20 w 20"/>
              <a:gd name="T1" fmla="*/ 48 h 48"/>
              <a:gd name="T2" fmla="*/ 20 w 20"/>
              <a:gd name="T3" fmla="*/ 39 h 48"/>
              <a:gd name="T4" fmla="*/ 19 w 20"/>
              <a:gd name="T5" fmla="*/ 32 h 48"/>
              <a:gd name="T6" fmla="*/ 16 w 20"/>
              <a:gd name="T7" fmla="*/ 25 h 48"/>
              <a:gd name="T8" fmla="*/ 14 w 20"/>
              <a:gd name="T9" fmla="*/ 19 h 48"/>
              <a:gd name="T10" fmla="*/ 12 w 20"/>
              <a:gd name="T11" fmla="*/ 14 h 48"/>
              <a:gd name="T12" fmla="*/ 9 w 20"/>
              <a:gd name="T13" fmla="*/ 9 h 48"/>
              <a:gd name="T14" fmla="*/ 4 w 20"/>
              <a:gd name="T15" fmla="*/ 4 h 48"/>
              <a:gd name="T16" fmla="*/ 0 w 20"/>
              <a:gd name="T17" fmla="*/ 0 h 48"/>
              <a:gd name="T18" fmla="*/ 0 w 20"/>
              <a:gd name="T19" fmla="*/ 8 h 48"/>
              <a:gd name="T20" fmla="*/ 2 w 20"/>
              <a:gd name="T21" fmla="*/ 17 h 48"/>
              <a:gd name="T22" fmla="*/ 4 w 20"/>
              <a:gd name="T23" fmla="*/ 24 h 48"/>
              <a:gd name="T24" fmla="*/ 8 w 20"/>
              <a:gd name="T25" fmla="*/ 31 h 48"/>
              <a:gd name="T26" fmla="*/ 14 w 20"/>
              <a:gd name="T27" fmla="*/ 41 h 48"/>
              <a:gd name="T28" fmla="*/ 20 w 20"/>
              <a:gd name="T2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59" name="Line 327" descr="Horizontal dunkel">
            <a:extLst>
              <a:ext uri="{FF2B5EF4-FFF2-40B4-BE49-F238E27FC236}">
                <a16:creationId xmlns="" xmlns:a16="http://schemas.microsoft.com/office/drawing/2014/main" id="{DED2FA56-F1BB-4633-8838-E210504E63E7}"/>
              </a:ext>
            </a:extLst>
          </p:cNvPr>
          <p:cNvSpPr>
            <a:spLocks noChangeShapeType="1"/>
          </p:cNvSpPr>
          <p:nvPr>
            <p:custDataLst>
              <p:tags r:id="rId229"/>
            </p:custDataLst>
          </p:nvPr>
        </p:nvSpPr>
        <p:spPr bwMode="auto">
          <a:xfrm>
            <a:off x="7091736" y="4525300"/>
            <a:ext cx="5802" cy="6564"/>
          </a:xfrm>
          <a:prstGeom prst="line">
            <a:avLst/>
          </a:prstGeom>
          <a:noFill/>
          <a:ln w="9525">
            <a:solidFill>
              <a:srgbClr val="FFFFFF"/>
            </a:solidFill>
            <a:round/>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60" name="Freeform 328">
            <a:extLst>
              <a:ext uri="{FF2B5EF4-FFF2-40B4-BE49-F238E27FC236}">
                <a16:creationId xmlns="" xmlns:a16="http://schemas.microsoft.com/office/drawing/2014/main" id="{4E0B021F-7400-491D-8C06-40F777768144}"/>
              </a:ext>
            </a:extLst>
          </p:cNvPr>
          <p:cNvSpPr>
            <a:spLocks/>
          </p:cNvSpPr>
          <p:nvPr>
            <p:custDataLst>
              <p:tags r:id="rId230"/>
            </p:custDataLst>
          </p:nvPr>
        </p:nvSpPr>
        <p:spPr bwMode="auto">
          <a:xfrm>
            <a:off x="7087869" y="4525300"/>
            <a:ext cx="9670" cy="59076"/>
          </a:xfrm>
          <a:custGeom>
            <a:avLst/>
            <a:gdLst>
              <a:gd name="T0" fmla="*/ 20 w 20"/>
              <a:gd name="T1" fmla="*/ 12 h 12"/>
              <a:gd name="T2" fmla="*/ 20 w 20"/>
              <a:gd name="T3" fmla="*/ 8 h 12"/>
              <a:gd name="T4" fmla="*/ 18 w 20"/>
              <a:gd name="T5" fmla="*/ 5 h 12"/>
              <a:gd name="T6" fmla="*/ 15 w 20"/>
              <a:gd name="T7" fmla="*/ 3 h 12"/>
              <a:gd name="T8" fmla="*/ 13 w 20"/>
              <a:gd name="T9" fmla="*/ 2 h 12"/>
              <a:gd name="T10" fmla="*/ 7 w 20"/>
              <a:gd name="T11" fmla="*/ 0 h 12"/>
              <a:gd name="T12" fmla="*/ 0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61" name="Freeform 329">
            <a:extLst>
              <a:ext uri="{FF2B5EF4-FFF2-40B4-BE49-F238E27FC236}">
                <a16:creationId xmlns="" xmlns:a16="http://schemas.microsoft.com/office/drawing/2014/main" id="{123CE337-141F-4A62-8F8C-434E27DF070C}"/>
              </a:ext>
            </a:extLst>
          </p:cNvPr>
          <p:cNvSpPr>
            <a:spLocks/>
          </p:cNvSpPr>
          <p:nvPr>
            <p:custDataLst>
              <p:tags r:id="rId231"/>
            </p:custDataLst>
          </p:nvPr>
        </p:nvSpPr>
        <p:spPr bwMode="auto">
          <a:xfrm>
            <a:off x="6967970" y="4364485"/>
            <a:ext cx="27074" cy="59076"/>
          </a:xfrm>
          <a:custGeom>
            <a:avLst/>
            <a:gdLst>
              <a:gd name="T0" fmla="*/ 7 w 53"/>
              <a:gd name="T1" fmla="*/ 0 h 30"/>
              <a:gd name="T2" fmla="*/ 11 w 53"/>
              <a:gd name="T3" fmla="*/ 4 h 30"/>
              <a:gd name="T4" fmla="*/ 23 w 53"/>
              <a:gd name="T5" fmla="*/ 13 h 30"/>
              <a:gd name="T6" fmla="*/ 37 w 53"/>
              <a:gd name="T7" fmla="*/ 23 h 30"/>
              <a:gd name="T8" fmla="*/ 46 w 53"/>
              <a:gd name="T9" fmla="*/ 30 h 30"/>
              <a:gd name="T10" fmla="*/ 49 w 53"/>
              <a:gd name="T11" fmla="*/ 18 h 30"/>
              <a:gd name="T12" fmla="*/ 53 w 53"/>
              <a:gd name="T13" fmla="*/ 6 h 30"/>
              <a:gd name="T14" fmla="*/ 37 w 53"/>
              <a:gd name="T15" fmla="*/ 5 h 30"/>
              <a:gd name="T16" fmla="*/ 26 w 53"/>
              <a:gd name="T17" fmla="*/ 3 h 30"/>
              <a:gd name="T18" fmla="*/ 21 w 53"/>
              <a:gd name="T19" fmla="*/ 3 h 30"/>
              <a:gd name="T20" fmla="*/ 15 w 53"/>
              <a:gd name="T21" fmla="*/ 3 h 30"/>
              <a:gd name="T22" fmla="*/ 9 w 53"/>
              <a:gd name="T23" fmla="*/ 4 h 30"/>
              <a:gd name="T24" fmla="*/ 0 w 53"/>
              <a:gd name="T25" fmla="*/ 6 h 30"/>
              <a:gd name="T26" fmla="*/ 7 w 53"/>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62" name="Freeform 330">
            <a:extLst>
              <a:ext uri="{FF2B5EF4-FFF2-40B4-BE49-F238E27FC236}">
                <a16:creationId xmlns="" xmlns:a16="http://schemas.microsoft.com/office/drawing/2014/main" id="{CD87DDAF-64B3-4EDC-BA15-2FC2420D5A5E}"/>
              </a:ext>
            </a:extLst>
          </p:cNvPr>
          <p:cNvSpPr>
            <a:spLocks/>
          </p:cNvSpPr>
          <p:nvPr>
            <p:custDataLst>
              <p:tags r:id="rId232"/>
            </p:custDataLst>
          </p:nvPr>
        </p:nvSpPr>
        <p:spPr bwMode="auto">
          <a:xfrm>
            <a:off x="7611944" y="4740269"/>
            <a:ext cx="13537" cy="59076"/>
          </a:xfrm>
          <a:custGeom>
            <a:avLst/>
            <a:gdLst>
              <a:gd name="T0" fmla="*/ 0 w 33"/>
              <a:gd name="T1" fmla="*/ 6 h 31"/>
              <a:gd name="T2" fmla="*/ 4 w 33"/>
              <a:gd name="T3" fmla="*/ 21 h 31"/>
              <a:gd name="T4" fmla="*/ 7 w 33"/>
              <a:gd name="T5" fmla="*/ 31 h 31"/>
              <a:gd name="T6" fmla="*/ 22 w 33"/>
              <a:gd name="T7" fmla="*/ 31 h 31"/>
              <a:gd name="T8" fmla="*/ 33 w 33"/>
              <a:gd name="T9" fmla="*/ 31 h 31"/>
              <a:gd name="T10" fmla="*/ 33 w 33"/>
              <a:gd name="T11" fmla="*/ 0 h 31"/>
              <a:gd name="T12" fmla="*/ 27 w 33"/>
              <a:gd name="T13" fmla="*/ 0 h 31"/>
              <a:gd name="T14" fmla="*/ 19 w 33"/>
              <a:gd name="T15" fmla="*/ 0 h 31"/>
              <a:gd name="T16" fmla="*/ 10 w 33"/>
              <a:gd name="T17" fmla="*/ 0 h 31"/>
              <a:gd name="T18" fmla="*/ 0 w 33"/>
              <a:gd name="T19" fmla="*/ 0 h 31"/>
              <a:gd name="T20" fmla="*/ 0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63" name="Freeform 331">
            <a:extLst>
              <a:ext uri="{FF2B5EF4-FFF2-40B4-BE49-F238E27FC236}">
                <a16:creationId xmlns="" xmlns:a16="http://schemas.microsoft.com/office/drawing/2014/main" id="{E7FA0620-BDF9-44D9-85BF-5B8C4D6476D4}"/>
              </a:ext>
            </a:extLst>
          </p:cNvPr>
          <p:cNvSpPr>
            <a:spLocks/>
          </p:cNvSpPr>
          <p:nvPr>
            <p:custDataLst>
              <p:tags r:id="rId233"/>
            </p:custDataLst>
          </p:nvPr>
        </p:nvSpPr>
        <p:spPr bwMode="auto">
          <a:xfrm>
            <a:off x="8240445" y="4695961"/>
            <a:ext cx="34809" cy="57435"/>
          </a:xfrm>
          <a:custGeom>
            <a:avLst/>
            <a:gdLst>
              <a:gd name="T0" fmla="*/ 19 w 65"/>
              <a:gd name="T1" fmla="*/ 68 h 68"/>
              <a:gd name="T2" fmla="*/ 16 w 65"/>
              <a:gd name="T3" fmla="*/ 68 h 68"/>
              <a:gd name="T4" fmla="*/ 14 w 65"/>
              <a:gd name="T5" fmla="*/ 66 h 68"/>
              <a:gd name="T6" fmla="*/ 11 w 65"/>
              <a:gd name="T7" fmla="*/ 64 h 68"/>
              <a:gd name="T8" fmla="*/ 7 w 65"/>
              <a:gd name="T9" fmla="*/ 61 h 68"/>
              <a:gd name="T10" fmla="*/ 4 w 65"/>
              <a:gd name="T11" fmla="*/ 59 h 68"/>
              <a:gd name="T12" fmla="*/ 2 w 65"/>
              <a:gd name="T13" fmla="*/ 55 h 68"/>
              <a:gd name="T14" fmla="*/ 0 w 65"/>
              <a:gd name="T15" fmla="*/ 52 h 68"/>
              <a:gd name="T16" fmla="*/ 0 w 65"/>
              <a:gd name="T17" fmla="*/ 49 h 68"/>
              <a:gd name="T18" fmla="*/ 0 w 65"/>
              <a:gd name="T19" fmla="*/ 38 h 68"/>
              <a:gd name="T20" fmla="*/ 2 w 65"/>
              <a:gd name="T21" fmla="*/ 29 h 68"/>
              <a:gd name="T22" fmla="*/ 5 w 65"/>
              <a:gd name="T23" fmla="*/ 21 h 68"/>
              <a:gd name="T24" fmla="*/ 9 w 65"/>
              <a:gd name="T25" fmla="*/ 14 h 68"/>
              <a:gd name="T26" fmla="*/ 15 w 65"/>
              <a:gd name="T27" fmla="*/ 8 h 68"/>
              <a:gd name="T28" fmla="*/ 22 w 65"/>
              <a:gd name="T29" fmla="*/ 4 h 68"/>
              <a:gd name="T30" fmla="*/ 30 w 65"/>
              <a:gd name="T31" fmla="*/ 2 h 68"/>
              <a:gd name="T32" fmla="*/ 39 w 65"/>
              <a:gd name="T33" fmla="*/ 0 h 68"/>
              <a:gd name="T34" fmla="*/ 52 w 65"/>
              <a:gd name="T35" fmla="*/ 0 h 68"/>
              <a:gd name="T36" fmla="*/ 65 w 65"/>
              <a:gd name="T37" fmla="*/ 0 h 68"/>
              <a:gd name="T38" fmla="*/ 65 w 65"/>
              <a:gd name="T39" fmla="*/ 43 h 68"/>
              <a:gd name="T40" fmla="*/ 56 w 65"/>
              <a:gd name="T41" fmla="*/ 52 h 68"/>
              <a:gd name="T42" fmla="*/ 45 w 65"/>
              <a:gd name="T43" fmla="*/ 61 h 68"/>
              <a:gd name="T44" fmla="*/ 39 w 65"/>
              <a:gd name="T45" fmla="*/ 64 h 68"/>
              <a:gd name="T46" fmla="*/ 34 w 65"/>
              <a:gd name="T47" fmla="*/ 66 h 68"/>
              <a:gd name="T48" fmla="*/ 27 w 65"/>
              <a:gd name="T49" fmla="*/ 68 h 68"/>
              <a:gd name="T50" fmla="*/ 19 w 65"/>
              <a:gd name="T5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64" name="Freeform 332">
            <a:extLst>
              <a:ext uri="{FF2B5EF4-FFF2-40B4-BE49-F238E27FC236}">
                <a16:creationId xmlns="" xmlns:a16="http://schemas.microsoft.com/office/drawing/2014/main" id="{620251FB-DAE0-44E4-9F90-BB48BD160B88}"/>
              </a:ext>
            </a:extLst>
          </p:cNvPr>
          <p:cNvSpPr>
            <a:spLocks/>
          </p:cNvSpPr>
          <p:nvPr>
            <p:custDataLst>
              <p:tags r:id="rId234"/>
            </p:custDataLst>
          </p:nvPr>
        </p:nvSpPr>
        <p:spPr bwMode="auto">
          <a:xfrm>
            <a:off x="6946699" y="4264385"/>
            <a:ext cx="334556" cy="380706"/>
          </a:xfrm>
          <a:custGeom>
            <a:avLst/>
            <a:gdLst>
              <a:gd name="T0" fmla="*/ 502 w 625"/>
              <a:gd name="T1" fmla="*/ 337 h 694"/>
              <a:gd name="T2" fmla="*/ 484 w 625"/>
              <a:gd name="T3" fmla="*/ 341 h 694"/>
              <a:gd name="T4" fmla="*/ 479 w 625"/>
              <a:gd name="T5" fmla="*/ 382 h 694"/>
              <a:gd name="T6" fmla="*/ 515 w 625"/>
              <a:gd name="T7" fmla="*/ 404 h 694"/>
              <a:gd name="T8" fmla="*/ 534 w 625"/>
              <a:gd name="T9" fmla="*/ 405 h 694"/>
              <a:gd name="T10" fmla="*/ 550 w 625"/>
              <a:gd name="T11" fmla="*/ 424 h 694"/>
              <a:gd name="T12" fmla="*/ 560 w 625"/>
              <a:gd name="T13" fmla="*/ 459 h 694"/>
              <a:gd name="T14" fmla="*/ 572 w 625"/>
              <a:gd name="T15" fmla="*/ 474 h 694"/>
              <a:gd name="T16" fmla="*/ 588 w 625"/>
              <a:gd name="T17" fmla="*/ 483 h 694"/>
              <a:gd name="T18" fmla="*/ 614 w 625"/>
              <a:gd name="T19" fmla="*/ 487 h 694"/>
              <a:gd name="T20" fmla="*/ 625 w 625"/>
              <a:gd name="T21" fmla="*/ 505 h 694"/>
              <a:gd name="T22" fmla="*/ 625 w 625"/>
              <a:gd name="T23" fmla="*/ 539 h 694"/>
              <a:gd name="T24" fmla="*/ 618 w 625"/>
              <a:gd name="T25" fmla="*/ 603 h 694"/>
              <a:gd name="T26" fmla="*/ 611 w 625"/>
              <a:gd name="T27" fmla="*/ 672 h 694"/>
              <a:gd name="T28" fmla="*/ 562 w 625"/>
              <a:gd name="T29" fmla="*/ 693 h 694"/>
              <a:gd name="T30" fmla="*/ 539 w 625"/>
              <a:gd name="T31" fmla="*/ 693 h 694"/>
              <a:gd name="T32" fmla="*/ 394 w 625"/>
              <a:gd name="T33" fmla="*/ 564 h 694"/>
              <a:gd name="T34" fmla="*/ 397 w 625"/>
              <a:gd name="T35" fmla="*/ 552 h 694"/>
              <a:gd name="T36" fmla="*/ 394 w 625"/>
              <a:gd name="T37" fmla="*/ 539 h 694"/>
              <a:gd name="T38" fmla="*/ 338 w 625"/>
              <a:gd name="T39" fmla="*/ 488 h 694"/>
              <a:gd name="T40" fmla="*/ 305 w 625"/>
              <a:gd name="T41" fmla="*/ 453 h 694"/>
              <a:gd name="T42" fmla="*/ 293 w 625"/>
              <a:gd name="T43" fmla="*/ 419 h 694"/>
              <a:gd name="T44" fmla="*/ 291 w 625"/>
              <a:gd name="T45" fmla="*/ 381 h 694"/>
              <a:gd name="T46" fmla="*/ 285 w 625"/>
              <a:gd name="T47" fmla="*/ 360 h 694"/>
              <a:gd name="T48" fmla="*/ 268 w 625"/>
              <a:gd name="T49" fmla="*/ 342 h 694"/>
              <a:gd name="T50" fmla="*/ 241 w 625"/>
              <a:gd name="T51" fmla="*/ 310 h 694"/>
              <a:gd name="T52" fmla="*/ 224 w 625"/>
              <a:gd name="T53" fmla="*/ 269 h 694"/>
              <a:gd name="T54" fmla="*/ 213 w 625"/>
              <a:gd name="T55" fmla="*/ 238 h 694"/>
              <a:gd name="T56" fmla="*/ 190 w 625"/>
              <a:gd name="T57" fmla="*/ 212 h 694"/>
              <a:gd name="T58" fmla="*/ 150 w 625"/>
              <a:gd name="T59" fmla="*/ 171 h 694"/>
              <a:gd name="T60" fmla="*/ 136 w 625"/>
              <a:gd name="T61" fmla="*/ 146 h 694"/>
              <a:gd name="T62" fmla="*/ 112 w 625"/>
              <a:gd name="T63" fmla="*/ 132 h 694"/>
              <a:gd name="T64" fmla="*/ 80 w 625"/>
              <a:gd name="T65" fmla="*/ 113 h 694"/>
              <a:gd name="T66" fmla="*/ 49 w 625"/>
              <a:gd name="T67" fmla="*/ 85 h 694"/>
              <a:gd name="T68" fmla="*/ 23 w 625"/>
              <a:gd name="T69" fmla="*/ 51 h 694"/>
              <a:gd name="T70" fmla="*/ 5 w 625"/>
              <a:gd name="T71" fmla="*/ 19 h 694"/>
              <a:gd name="T72" fmla="*/ 10 w 625"/>
              <a:gd name="T73" fmla="*/ 4 h 694"/>
              <a:gd name="T74" fmla="*/ 37 w 625"/>
              <a:gd name="T75" fmla="*/ 13 h 694"/>
              <a:gd name="T76" fmla="*/ 84 w 625"/>
              <a:gd name="T77" fmla="*/ 16 h 694"/>
              <a:gd name="T78" fmla="*/ 116 w 625"/>
              <a:gd name="T79" fmla="*/ 20 h 694"/>
              <a:gd name="T80" fmla="*/ 138 w 625"/>
              <a:gd name="T81" fmla="*/ 27 h 694"/>
              <a:gd name="T82" fmla="*/ 156 w 625"/>
              <a:gd name="T83" fmla="*/ 42 h 694"/>
              <a:gd name="T84" fmla="*/ 204 w 625"/>
              <a:gd name="T85" fmla="*/ 109 h 694"/>
              <a:gd name="T86" fmla="*/ 254 w 625"/>
              <a:gd name="T87" fmla="*/ 163 h 694"/>
              <a:gd name="T88" fmla="*/ 299 w 625"/>
              <a:gd name="T89" fmla="*/ 202 h 694"/>
              <a:gd name="T90" fmla="*/ 329 w 625"/>
              <a:gd name="T91" fmla="*/ 219 h 694"/>
              <a:gd name="T92" fmla="*/ 366 w 625"/>
              <a:gd name="T93" fmla="*/ 227 h 694"/>
              <a:gd name="T94" fmla="*/ 388 w 625"/>
              <a:gd name="T95" fmla="*/ 230 h 694"/>
              <a:gd name="T96" fmla="*/ 401 w 625"/>
              <a:gd name="T97" fmla="*/ 241 h 694"/>
              <a:gd name="T98" fmla="*/ 416 w 625"/>
              <a:gd name="T99" fmla="*/ 260 h 694"/>
              <a:gd name="T100" fmla="*/ 427 w 625"/>
              <a:gd name="T101" fmla="*/ 265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65" name="Freeform 333">
            <a:extLst>
              <a:ext uri="{FF2B5EF4-FFF2-40B4-BE49-F238E27FC236}">
                <a16:creationId xmlns="" xmlns:a16="http://schemas.microsoft.com/office/drawing/2014/main" id="{2D480992-D3FF-4A4E-9A90-159A04329989}"/>
              </a:ext>
            </a:extLst>
          </p:cNvPr>
          <p:cNvSpPr>
            <a:spLocks/>
          </p:cNvSpPr>
          <p:nvPr>
            <p:custDataLst>
              <p:tags r:id="rId235"/>
            </p:custDataLst>
          </p:nvPr>
        </p:nvSpPr>
        <p:spPr bwMode="auto">
          <a:xfrm>
            <a:off x="7362477" y="4315255"/>
            <a:ext cx="309416" cy="265838"/>
          </a:xfrm>
          <a:custGeom>
            <a:avLst/>
            <a:gdLst>
              <a:gd name="T0" fmla="*/ 516 w 585"/>
              <a:gd name="T1" fmla="*/ 28 h 493"/>
              <a:gd name="T2" fmla="*/ 495 w 585"/>
              <a:gd name="T3" fmla="*/ 55 h 493"/>
              <a:gd name="T4" fmla="*/ 512 w 585"/>
              <a:gd name="T5" fmla="*/ 93 h 493"/>
              <a:gd name="T6" fmla="*/ 534 w 585"/>
              <a:gd name="T7" fmla="*/ 130 h 493"/>
              <a:gd name="T8" fmla="*/ 573 w 585"/>
              <a:gd name="T9" fmla="*/ 177 h 493"/>
              <a:gd name="T10" fmla="*/ 580 w 585"/>
              <a:gd name="T11" fmla="*/ 205 h 493"/>
              <a:gd name="T12" fmla="*/ 547 w 585"/>
              <a:gd name="T13" fmla="*/ 204 h 493"/>
              <a:gd name="T14" fmla="*/ 516 w 585"/>
              <a:gd name="T15" fmla="*/ 233 h 493"/>
              <a:gd name="T16" fmla="*/ 506 w 585"/>
              <a:gd name="T17" fmla="*/ 246 h 493"/>
              <a:gd name="T18" fmla="*/ 518 w 585"/>
              <a:gd name="T19" fmla="*/ 271 h 493"/>
              <a:gd name="T20" fmla="*/ 525 w 585"/>
              <a:gd name="T21" fmla="*/ 294 h 493"/>
              <a:gd name="T22" fmla="*/ 505 w 585"/>
              <a:gd name="T23" fmla="*/ 308 h 493"/>
              <a:gd name="T24" fmla="*/ 459 w 585"/>
              <a:gd name="T25" fmla="*/ 323 h 493"/>
              <a:gd name="T26" fmla="*/ 443 w 585"/>
              <a:gd name="T27" fmla="*/ 354 h 493"/>
              <a:gd name="T28" fmla="*/ 445 w 585"/>
              <a:gd name="T29" fmla="*/ 415 h 493"/>
              <a:gd name="T30" fmla="*/ 430 w 585"/>
              <a:gd name="T31" fmla="*/ 454 h 493"/>
              <a:gd name="T32" fmla="*/ 400 w 585"/>
              <a:gd name="T33" fmla="*/ 472 h 493"/>
              <a:gd name="T34" fmla="*/ 370 w 585"/>
              <a:gd name="T35" fmla="*/ 488 h 493"/>
              <a:gd name="T36" fmla="*/ 341 w 585"/>
              <a:gd name="T37" fmla="*/ 493 h 493"/>
              <a:gd name="T38" fmla="*/ 329 w 585"/>
              <a:gd name="T39" fmla="*/ 487 h 493"/>
              <a:gd name="T40" fmla="*/ 327 w 585"/>
              <a:gd name="T41" fmla="*/ 471 h 493"/>
              <a:gd name="T42" fmla="*/ 304 w 585"/>
              <a:gd name="T43" fmla="*/ 451 h 493"/>
              <a:gd name="T44" fmla="*/ 251 w 585"/>
              <a:gd name="T45" fmla="*/ 454 h 493"/>
              <a:gd name="T46" fmla="*/ 219 w 585"/>
              <a:gd name="T47" fmla="*/ 462 h 493"/>
              <a:gd name="T48" fmla="*/ 176 w 585"/>
              <a:gd name="T49" fmla="*/ 440 h 493"/>
              <a:gd name="T50" fmla="*/ 122 w 585"/>
              <a:gd name="T51" fmla="*/ 436 h 493"/>
              <a:gd name="T52" fmla="*/ 95 w 585"/>
              <a:gd name="T53" fmla="*/ 429 h 493"/>
              <a:gd name="T54" fmla="*/ 81 w 585"/>
              <a:gd name="T55" fmla="*/ 366 h 493"/>
              <a:gd name="T56" fmla="*/ 58 w 585"/>
              <a:gd name="T57" fmla="*/ 310 h 493"/>
              <a:gd name="T58" fmla="*/ 35 w 585"/>
              <a:gd name="T59" fmla="*/ 292 h 493"/>
              <a:gd name="T60" fmla="*/ 12 w 585"/>
              <a:gd name="T61" fmla="*/ 260 h 493"/>
              <a:gd name="T62" fmla="*/ 5 w 585"/>
              <a:gd name="T63" fmla="*/ 204 h 493"/>
              <a:gd name="T64" fmla="*/ 31 w 585"/>
              <a:gd name="T65" fmla="*/ 153 h 493"/>
              <a:gd name="T66" fmla="*/ 54 w 585"/>
              <a:gd name="T67" fmla="*/ 141 h 493"/>
              <a:gd name="T68" fmla="*/ 75 w 585"/>
              <a:gd name="T69" fmla="*/ 152 h 493"/>
              <a:gd name="T70" fmla="*/ 97 w 585"/>
              <a:gd name="T71" fmla="*/ 187 h 493"/>
              <a:gd name="T72" fmla="*/ 129 w 585"/>
              <a:gd name="T73" fmla="*/ 214 h 493"/>
              <a:gd name="T74" fmla="*/ 170 w 585"/>
              <a:gd name="T75" fmla="*/ 213 h 493"/>
              <a:gd name="T76" fmla="*/ 221 w 585"/>
              <a:gd name="T77" fmla="*/ 189 h 493"/>
              <a:gd name="T78" fmla="*/ 233 w 585"/>
              <a:gd name="T79" fmla="*/ 172 h 493"/>
              <a:gd name="T80" fmla="*/ 288 w 585"/>
              <a:gd name="T81" fmla="*/ 178 h 493"/>
              <a:gd name="T82" fmla="*/ 326 w 585"/>
              <a:gd name="T83" fmla="*/ 181 h 493"/>
              <a:gd name="T84" fmla="*/ 337 w 585"/>
              <a:gd name="T85" fmla="*/ 170 h 493"/>
              <a:gd name="T86" fmla="*/ 362 w 585"/>
              <a:gd name="T87" fmla="*/ 158 h 493"/>
              <a:gd name="T88" fmla="*/ 383 w 585"/>
              <a:gd name="T89" fmla="*/ 136 h 493"/>
              <a:gd name="T90" fmla="*/ 415 w 585"/>
              <a:gd name="T91" fmla="*/ 79 h 493"/>
              <a:gd name="T92" fmla="*/ 427 w 585"/>
              <a:gd name="T93" fmla="*/ 25 h 493"/>
              <a:gd name="T94" fmla="*/ 447 w 585"/>
              <a:gd name="T95" fmla="*/ 6 h 493"/>
              <a:gd name="T96" fmla="*/ 479 w 585"/>
              <a:gd name="T97" fmla="*/ 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66" name="Freeform 334">
            <a:extLst>
              <a:ext uri="{FF2B5EF4-FFF2-40B4-BE49-F238E27FC236}">
                <a16:creationId xmlns="" xmlns:a16="http://schemas.microsoft.com/office/drawing/2014/main" id="{6C60FCA7-FC8C-4A58-BFE3-B49B50F22DCC}"/>
              </a:ext>
            </a:extLst>
          </p:cNvPr>
          <p:cNvSpPr>
            <a:spLocks/>
          </p:cNvSpPr>
          <p:nvPr>
            <p:custDataLst>
              <p:tags r:id="rId236"/>
            </p:custDataLst>
          </p:nvPr>
        </p:nvSpPr>
        <p:spPr bwMode="auto">
          <a:xfrm>
            <a:off x="7795659" y="4735344"/>
            <a:ext cx="112164" cy="59076"/>
          </a:xfrm>
          <a:custGeom>
            <a:avLst/>
            <a:gdLst>
              <a:gd name="T0" fmla="*/ 0 w 212"/>
              <a:gd name="T1" fmla="*/ 105 h 105"/>
              <a:gd name="T2" fmla="*/ 16 w 212"/>
              <a:gd name="T3" fmla="*/ 85 h 105"/>
              <a:gd name="T4" fmla="*/ 35 w 212"/>
              <a:gd name="T5" fmla="*/ 68 h 105"/>
              <a:gd name="T6" fmla="*/ 44 w 212"/>
              <a:gd name="T7" fmla="*/ 60 h 105"/>
              <a:gd name="T8" fmla="*/ 54 w 212"/>
              <a:gd name="T9" fmla="*/ 53 h 105"/>
              <a:gd name="T10" fmla="*/ 64 w 212"/>
              <a:gd name="T11" fmla="*/ 46 h 105"/>
              <a:gd name="T12" fmla="*/ 73 w 212"/>
              <a:gd name="T13" fmla="*/ 38 h 105"/>
              <a:gd name="T14" fmla="*/ 83 w 212"/>
              <a:gd name="T15" fmla="*/ 32 h 105"/>
              <a:gd name="T16" fmla="*/ 94 w 212"/>
              <a:gd name="T17" fmla="*/ 27 h 105"/>
              <a:gd name="T18" fmla="*/ 106 w 212"/>
              <a:gd name="T19" fmla="*/ 21 h 105"/>
              <a:gd name="T20" fmla="*/ 118 w 212"/>
              <a:gd name="T21" fmla="*/ 16 h 105"/>
              <a:gd name="T22" fmla="*/ 144 w 212"/>
              <a:gd name="T23" fmla="*/ 8 h 105"/>
              <a:gd name="T24" fmla="*/ 172 w 212"/>
              <a:gd name="T25" fmla="*/ 0 h 105"/>
              <a:gd name="T26" fmla="*/ 212 w 212"/>
              <a:gd name="T27" fmla="*/ 0 h 105"/>
              <a:gd name="T28" fmla="*/ 202 w 212"/>
              <a:gd name="T29" fmla="*/ 9 h 105"/>
              <a:gd name="T30" fmla="*/ 190 w 212"/>
              <a:gd name="T31" fmla="*/ 18 h 105"/>
              <a:gd name="T32" fmla="*/ 178 w 212"/>
              <a:gd name="T33" fmla="*/ 27 h 105"/>
              <a:gd name="T34" fmla="*/ 165 w 212"/>
              <a:gd name="T35" fmla="*/ 35 h 105"/>
              <a:gd name="T36" fmla="*/ 137 w 212"/>
              <a:gd name="T37" fmla="*/ 52 h 105"/>
              <a:gd name="T38" fmla="*/ 109 w 212"/>
              <a:gd name="T39" fmla="*/ 66 h 105"/>
              <a:gd name="T40" fmla="*/ 79 w 212"/>
              <a:gd name="T41" fmla="*/ 79 h 105"/>
              <a:gd name="T42" fmla="*/ 50 w 212"/>
              <a:gd name="T43" fmla="*/ 90 h 105"/>
              <a:gd name="T44" fmla="*/ 23 w 212"/>
              <a:gd name="T45" fmla="*/ 99 h 105"/>
              <a:gd name="T46" fmla="*/ 0 w 212"/>
              <a:gd name="T4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67" name="Freeform 335">
            <a:extLst>
              <a:ext uri="{FF2B5EF4-FFF2-40B4-BE49-F238E27FC236}">
                <a16:creationId xmlns="" xmlns:a16="http://schemas.microsoft.com/office/drawing/2014/main" id="{AC9EAC7F-7D58-443D-AB74-B9D1AA844C6B}"/>
              </a:ext>
            </a:extLst>
          </p:cNvPr>
          <p:cNvSpPr>
            <a:spLocks/>
          </p:cNvSpPr>
          <p:nvPr>
            <p:custDataLst>
              <p:tags r:id="rId237"/>
            </p:custDataLst>
          </p:nvPr>
        </p:nvSpPr>
        <p:spPr bwMode="auto">
          <a:xfrm>
            <a:off x="7936831" y="4390739"/>
            <a:ext cx="52213" cy="91895"/>
          </a:xfrm>
          <a:custGeom>
            <a:avLst/>
            <a:gdLst>
              <a:gd name="T0" fmla="*/ 0 w 92"/>
              <a:gd name="T1" fmla="*/ 81 h 166"/>
              <a:gd name="T2" fmla="*/ 0 w 92"/>
              <a:gd name="T3" fmla="*/ 148 h 166"/>
              <a:gd name="T4" fmla="*/ 5 w 92"/>
              <a:gd name="T5" fmla="*/ 144 h 166"/>
              <a:gd name="T6" fmla="*/ 12 w 92"/>
              <a:gd name="T7" fmla="*/ 139 h 166"/>
              <a:gd name="T8" fmla="*/ 14 w 92"/>
              <a:gd name="T9" fmla="*/ 137 h 166"/>
              <a:gd name="T10" fmla="*/ 17 w 92"/>
              <a:gd name="T11" fmla="*/ 135 h 166"/>
              <a:gd name="T12" fmla="*/ 18 w 92"/>
              <a:gd name="T13" fmla="*/ 132 h 166"/>
              <a:gd name="T14" fmla="*/ 19 w 92"/>
              <a:gd name="T15" fmla="*/ 130 h 166"/>
              <a:gd name="T16" fmla="*/ 20 w 92"/>
              <a:gd name="T17" fmla="*/ 138 h 166"/>
              <a:gd name="T18" fmla="*/ 24 w 92"/>
              <a:gd name="T19" fmla="*/ 148 h 166"/>
              <a:gd name="T20" fmla="*/ 27 w 92"/>
              <a:gd name="T21" fmla="*/ 154 h 166"/>
              <a:gd name="T22" fmla="*/ 30 w 92"/>
              <a:gd name="T23" fmla="*/ 159 h 166"/>
              <a:gd name="T24" fmla="*/ 35 w 92"/>
              <a:gd name="T25" fmla="*/ 163 h 166"/>
              <a:gd name="T26" fmla="*/ 39 w 92"/>
              <a:gd name="T27" fmla="*/ 166 h 166"/>
              <a:gd name="T28" fmla="*/ 41 w 92"/>
              <a:gd name="T29" fmla="*/ 158 h 166"/>
              <a:gd name="T30" fmla="*/ 41 w 92"/>
              <a:gd name="T31" fmla="*/ 148 h 166"/>
              <a:gd name="T32" fmla="*/ 41 w 92"/>
              <a:gd name="T33" fmla="*/ 137 h 166"/>
              <a:gd name="T34" fmla="*/ 41 w 92"/>
              <a:gd name="T35" fmla="*/ 126 h 166"/>
              <a:gd name="T36" fmla="*/ 40 w 92"/>
              <a:gd name="T37" fmla="*/ 107 h 166"/>
              <a:gd name="T38" fmla="*/ 39 w 92"/>
              <a:gd name="T39" fmla="*/ 99 h 166"/>
              <a:gd name="T40" fmla="*/ 48 w 92"/>
              <a:gd name="T41" fmla="*/ 100 h 166"/>
              <a:gd name="T42" fmla="*/ 57 w 92"/>
              <a:gd name="T43" fmla="*/ 102 h 166"/>
              <a:gd name="T44" fmla="*/ 64 w 92"/>
              <a:gd name="T45" fmla="*/ 105 h 166"/>
              <a:gd name="T46" fmla="*/ 71 w 92"/>
              <a:gd name="T47" fmla="*/ 108 h 166"/>
              <a:gd name="T48" fmla="*/ 76 w 92"/>
              <a:gd name="T49" fmla="*/ 111 h 166"/>
              <a:gd name="T50" fmla="*/ 82 w 92"/>
              <a:gd name="T51" fmla="*/ 114 h 166"/>
              <a:gd name="T52" fmla="*/ 87 w 92"/>
              <a:gd name="T53" fmla="*/ 116 h 166"/>
              <a:gd name="T54" fmla="*/ 92 w 92"/>
              <a:gd name="T55" fmla="*/ 118 h 166"/>
              <a:gd name="T56" fmla="*/ 85 w 92"/>
              <a:gd name="T57" fmla="*/ 103 h 166"/>
              <a:gd name="T58" fmla="*/ 81 w 92"/>
              <a:gd name="T59" fmla="*/ 89 h 166"/>
              <a:gd name="T60" fmla="*/ 76 w 92"/>
              <a:gd name="T61" fmla="*/ 75 h 166"/>
              <a:gd name="T62" fmla="*/ 73 w 92"/>
              <a:gd name="T63" fmla="*/ 60 h 166"/>
              <a:gd name="T64" fmla="*/ 70 w 92"/>
              <a:gd name="T65" fmla="*/ 47 h 166"/>
              <a:gd name="T66" fmla="*/ 67 w 92"/>
              <a:gd name="T67" fmla="*/ 34 h 166"/>
              <a:gd name="T68" fmla="*/ 63 w 92"/>
              <a:gd name="T69" fmla="*/ 23 h 166"/>
              <a:gd name="T70" fmla="*/ 59 w 92"/>
              <a:gd name="T71" fmla="*/ 13 h 166"/>
              <a:gd name="T72" fmla="*/ 59 w 92"/>
              <a:gd name="T73" fmla="*/ 19 h 166"/>
              <a:gd name="T74" fmla="*/ 59 w 92"/>
              <a:gd name="T75" fmla="*/ 25 h 166"/>
              <a:gd name="T76" fmla="*/ 50 w 92"/>
              <a:gd name="T77" fmla="*/ 23 h 166"/>
              <a:gd name="T78" fmla="*/ 42 w 92"/>
              <a:gd name="T79" fmla="*/ 19 h 166"/>
              <a:gd name="T80" fmla="*/ 35 w 92"/>
              <a:gd name="T81" fmla="*/ 15 h 166"/>
              <a:gd name="T82" fmla="*/ 29 w 92"/>
              <a:gd name="T83" fmla="*/ 11 h 166"/>
              <a:gd name="T84" fmla="*/ 23 w 92"/>
              <a:gd name="T85" fmla="*/ 7 h 166"/>
              <a:gd name="T86" fmla="*/ 16 w 92"/>
              <a:gd name="T87" fmla="*/ 3 h 166"/>
              <a:gd name="T88" fmla="*/ 8 w 92"/>
              <a:gd name="T89" fmla="*/ 1 h 166"/>
              <a:gd name="T90" fmla="*/ 0 w 92"/>
              <a:gd name="T91" fmla="*/ 0 h 166"/>
              <a:gd name="T92" fmla="*/ 0 w 92"/>
              <a:gd name="T93" fmla="*/ 10 h 166"/>
              <a:gd name="T94" fmla="*/ 0 w 92"/>
              <a:gd name="T95" fmla="*/ 19 h 166"/>
              <a:gd name="T96" fmla="*/ 0 w 92"/>
              <a:gd name="T97" fmla="*/ 33 h 166"/>
              <a:gd name="T98" fmla="*/ 0 w 92"/>
              <a:gd name="T99" fmla="*/ 52 h 166"/>
              <a:gd name="T100" fmla="*/ 0 w 92"/>
              <a:gd name="T101" fmla="*/ 70 h 166"/>
              <a:gd name="T102" fmla="*/ 0 w 92"/>
              <a:gd name="T103" fmla="*/ 8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68" name="Freeform 336">
            <a:extLst>
              <a:ext uri="{FF2B5EF4-FFF2-40B4-BE49-F238E27FC236}">
                <a16:creationId xmlns="" xmlns:a16="http://schemas.microsoft.com/office/drawing/2014/main" id="{AFF03E81-61C4-4F5E-9A5A-DFB98FEE7CB1}"/>
              </a:ext>
            </a:extLst>
          </p:cNvPr>
          <p:cNvSpPr>
            <a:spLocks/>
          </p:cNvSpPr>
          <p:nvPr>
            <p:custDataLst>
              <p:tags r:id="rId238"/>
            </p:custDataLst>
          </p:nvPr>
        </p:nvSpPr>
        <p:spPr bwMode="auto">
          <a:xfrm>
            <a:off x="7952301" y="4540070"/>
            <a:ext cx="87023" cy="57434"/>
          </a:xfrm>
          <a:custGeom>
            <a:avLst/>
            <a:gdLst>
              <a:gd name="T0" fmla="*/ 7 w 166"/>
              <a:gd name="T1" fmla="*/ 0 h 62"/>
              <a:gd name="T2" fmla="*/ 14 w 166"/>
              <a:gd name="T3" fmla="*/ 3 h 62"/>
              <a:gd name="T4" fmla="*/ 22 w 166"/>
              <a:gd name="T5" fmla="*/ 6 h 62"/>
              <a:gd name="T6" fmla="*/ 30 w 166"/>
              <a:gd name="T7" fmla="*/ 7 h 62"/>
              <a:gd name="T8" fmla="*/ 36 w 166"/>
              <a:gd name="T9" fmla="*/ 8 h 62"/>
              <a:gd name="T10" fmla="*/ 48 w 166"/>
              <a:gd name="T11" fmla="*/ 8 h 62"/>
              <a:gd name="T12" fmla="*/ 58 w 166"/>
              <a:gd name="T13" fmla="*/ 7 h 62"/>
              <a:gd name="T14" fmla="*/ 69 w 166"/>
              <a:gd name="T15" fmla="*/ 5 h 62"/>
              <a:gd name="T16" fmla="*/ 80 w 166"/>
              <a:gd name="T17" fmla="*/ 3 h 62"/>
              <a:gd name="T18" fmla="*/ 92 w 166"/>
              <a:gd name="T19" fmla="*/ 1 h 62"/>
              <a:gd name="T20" fmla="*/ 106 w 166"/>
              <a:gd name="T21" fmla="*/ 0 h 62"/>
              <a:gd name="T22" fmla="*/ 111 w 166"/>
              <a:gd name="T23" fmla="*/ 1 h 62"/>
              <a:gd name="T24" fmla="*/ 115 w 166"/>
              <a:gd name="T25" fmla="*/ 2 h 62"/>
              <a:gd name="T26" fmla="*/ 120 w 166"/>
              <a:gd name="T27" fmla="*/ 5 h 62"/>
              <a:gd name="T28" fmla="*/ 124 w 166"/>
              <a:gd name="T29" fmla="*/ 8 h 62"/>
              <a:gd name="T30" fmla="*/ 132 w 166"/>
              <a:gd name="T31" fmla="*/ 17 h 62"/>
              <a:gd name="T32" fmla="*/ 138 w 166"/>
              <a:gd name="T33" fmla="*/ 26 h 62"/>
              <a:gd name="T34" fmla="*/ 145 w 166"/>
              <a:gd name="T35" fmla="*/ 36 h 62"/>
              <a:gd name="T36" fmla="*/ 151 w 166"/>
              <a:gd name="T37" fmla="*/ 45 h 62"/>
              <a:gd name="T38" fmla="*/ 155 w 166"/>
              <a:gd name="T39" fmla="*/ 49 h 62"/>
              <a:gd name="T40" fmla="*/ 158 w 166"/>
              <a:gd name="T41" fmla="*/ 52 h 62"/>
              <a:gd name="T42" fmla="*/ 162 w 166"/>
              <a:gd name="T43" fmla="*/ 54 h 62"/>
              <a:gd name="T44" fmla="*/ 166 w 166"/>
              <a:gd name="T45" fmla="*/ 56 h 62"/>
              <a:gd name="T46" fmla="*/ 159 w 166"/>
              <a:gd name="T47" fmla="*/ 57 h 62"/>
              <a:gd name="T48" fmla="*/ 151 w 166"/>
              <a:gd name="T49" fmla="*/ 59 h 62"/>
              <a:gd name="T50" fmla="*/ 143 w 166"/>
              <a:gd name="T51" fmla="*/ 61 h 62"/>
              <a:gd name="T52" fmla="*/ 133 w 166"/>
              <a:gd name="T53" fmla="*/ 62 h 62"/>
              <a:gd name="T54" fmla="*/ 125 w 166"/>
              <a:gd name="T55" fmla="*/ 61 h 62"/>
              <a:gd name="T56" fmla="*/ 119 w 166"/>
              <a:gd name="T57" fmla="*/ 58 h 62"/>
              <a:gd name="T58" fmla="*/ 112 w 166"/>
              <a:gd name="T59" fmla="*/ 54 h 62"/>
              <a:gd name="T60" fmla="*/ 106 w 166"/>
              <a:gd name="T61" fmla="*/ 50 h 62"/>
              <a:gd name="T62" fmla="*/ 100 w 166"/>
              <a:gd name="T63" fmla="*/ 45 h 62"/>
              <a:gd name="T64" fmla="*/ 93 w 166"/>
              <a:gd name="T65" fmla="*/ 41 h 62"/>
              <a:gd name="T66" fmla="*/ 87 w 166"/>
              <a:gd name="T67" fmla="*/ 39 h 62"/>
              <a:gd name="T68" fmla="*/ 79 w 166"/>
              <a:gd name="T69" fmla="*/ 38 h 62"/>
              <a:gd name="T70" fmla="*/ 56 w 166"/>
              <a:gd name="T71" fmla="*/ 38 h 62"/>
              <a:gd name="T72" fmla="*/ 35 w 166"/>
              <a:gd name="T73" fmla="*/ 39 h 62"/>
              <a:gd name="T74" fmla="*/ 26 w 166"/>
              <a:gd name="T75" fmla="*/ 41 h 62"/>
              <a:gd name="T76" fmla="*/ 19 w 166"/>
              <a:gd name="T77" fmla="*/ 43 h 62"/>
              <a:gd name="T78" fmla="*/ 12 w 166"/>
              <a:gd name="T79" fmla="*/ 46 h 62"/>
              <a:gd name="T80" fmla="*/ 7 w 166"/>
              <a:gd name="T81" fmla="*/ 50 h 62"/>
              <a:gd name="T82" fmla="*/ 2 w 166"/>
              <a:gd name="T83" fmla="*/ 45 h 62"/>
              <a:gd name="T84" fmla="*/ 1 w 166"/>
              <a:gd name="T85" fmla="*/ 40 h 62"/>
              <a:gd name="T86" fmla="*/ 0 w 166"/>
              <a:gd name="T87" fmla="*/ 34 h 62"/>
              <a:gd name="T88" fmla="*/ 1 w 166"/>
              <a:gd name="T89" fmla="*/ 28 h 62"/>
              <a:gd name="T90" fmla="*/ 4 w 166"/>
              <a:gd name="T91" fmla="*/ 15 h 62"/>
              <a:gd name="T92" fmla="*/ 7 w 166"/>
              <a:gd name="T9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69" name="Freeform 337">
            <a:extLst>
              <a:ext uri="{FF2B5EF4-FFF2-40B4-BE49-F238E27FC236}">
                <a16:creationId xmlns="" xmlns:a16="http://schemas.microsoft.com/office/drawing/2014/main" id="{2012EF02-E2E3-4F46-BDE7-828C96BA58E6}"/>
              </a:ext>
            </a:extLst>
          </p:cNvPr>
          <p:cNvSpPr>
            <a:spLocks/>
          </p:cNvSpPr>
          <p:nvPr>
            <p:custDataLst>
              <p:tags r:id="rId239"/>
            </p:custDataLst>
          </p:nvPr>
        </p:nvSpPr>
        <p:spPr bwMode="auto">
          <a:xfrm>
            <a:off x="8045127" y="4461303"/>
            <a:ext cx="104428" cy="65639"/>
          </a:xfrm>
          <a:custGeom>
            <a:avLst/>
            <a:gdLst>
              <a:gd name="T0" fmla="*/ 33 w 193"/>
              <a:gd name="T1" fmla="*/ 35 h 121"/>
              <a:gd name="T2" fmla="*/ 48 w 193"/>
              <a:gd name="T3" fmla="*/ 25 h 121"/>
              <a:gd name="T4" fmla="*/ 68 w 193"/>
              <a:gd name="T5" fmla="*/ 12 h 121"/>
              <a:gd name="T6" fmla="*/ 84 w 193"/>
              <a:gd name="T7" fmla="*/ 4 h 121"/>
              <a:gd name="T8" fmla="*/ 94 w 193"/>
              <a:gd name="T9" fmla="*/ 1 h 121"/>
              <a:gd name="T10" fmla="*/ 105 w 193"/>
              <a:gd name="T11" fmla="*/ 1 h 121"/>
              <a:gd name="T12" fmla="*/ 116 w 193"/>
              <a:gd name="T13" fmla="*/ 3 h 121"/>
              <a:gd name="T14" fmla="*/ 131 w 193"/>
              <a:gd name="T15" fmla="*/ 10 h 121"/>
              <a:gd name="T16" fmla="*/ 148 w 193"/>
              <a:gd name="T17" fmla="*/ 21 h 121"/>
              <a:gd name="T18" fmla="*/ 162 w 193"/>
              <a:gd name="T19" fmla="*/ 28 h 121"/>
              <a:gd name="T20" fmla="*/ 173 w 193"/>
              <a:gd name="T21" fmla="*/ 30 h 121"/>
              <a:gd name="T22" fmla="*/ 179 w 193"/>
              <a:gd name="T23" fmla="*/ 48 h 121"/>
              <a:gd name="T24" fmla="*/ 178 w 193"/>
              <a:gd name="T25" fmla="*/ 66 h 121"/>
              <a:gd name="T26" fmla="*/ 182 w 193"/>
              <a:gd name="T27" fmla="*/ 75 h 121"/>
              <a:gd name="T28" fmla="*/ 187 w 193"/>
              <a:gd name="T29" fmla="*/ 89 h 121"/>
              <a:gd name="T30" fmla="*/ 188 w 193"/>
              <a:gd name="T31" fmla="*/ 102 h 121"/>
              <a:gd name="T32" fmla="*/ 191 w 193"/>
              <a:gd name="T33" fmla="*/ 109 h 121"/>
              <a:gd name="T34" fmla="*/ 188 w 193"/>
              <a:gd name="T35" fmla="*/ 114 h 121"/>
              <a:gd name="T36" fmla="*/ 177 w 193"/>
              <a:gd name="T37" fmla="*/ 118 h 121"/>
              <a:gd name="T38" fmla="*/ 159 w 193"/>
              <a:gd name="T39" fmla="*/ 121 h 121"/>
              <a:gd name="T40" fmla="*/ 116 w 193"/>
              <a:gd name="T41" fmla="*/ 119 h 121"/>
              <a:gd name="T42" fmla="*/ 72 w 193"/>
              <a:gd name="T43" fmla="*/ 116 h 121"/>
              <a:gd name="T44" fmla="*/ 63 w 193"/>
              <a:gd name="T45" fmla="*/ 110 h 121"/>
              <a:gd name="T46" fmla="*/ 56 w 193"/>
              <a:gd name="T47" fmla="*/ 100 h 121"/>
              <a:gd name="T48" fmla="*/ 54 w 193"/>
              <a:gd name="T49" fmla="*/ 87 h 121"/>
              <a:gd name="T50" fmla="*/ 47 w 193"/>
              <a:gd name="T51" fmla="*/ 79 h 121"/>
              <a:gd name="T52" fmla="*/ 31 w 193"/>
              <a:gd name="T53" fmla="*/ 75 h 121"/>
              <a:gd name="T54" fmla="*/ 13 w 193"/>
              <a:gd name="T55" fmla="*/ 69 h 121"/>
              <a:gd name="T56" fmla="*/ 3 w 193"/>
              <a:gd name="T57" fmla="*/ 62 h 121"/>
              <a:gd name="T58" fmla="*/ 0 w 193"/>
              <a:gd name="T59" fmla="*/ 58 h 121"/>
              <a:gd name="T60" fmla="*/ 1 w 193"/>
              <a:gd name="T61" fmla="*/ 51 h 121"/>
              <a:gd name="T62" fmla="*/ 7 w 193"/>
              <a:gd name="T63" fmla="*/ 45 h 121"/>
              <a:gd name="T64" fmla="*/ 20 w 193"/>
              <a:gd name="T65" fmla="*/ 3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70" name="Freeform 338">
            <a:extLst>
              <a:ext uri="{FF2B5EF4-FFF2-40B4-BE49-F238E27FC236}">
                <a16:creationId xmlns="" xmlns:a16="http://schemas.microsoft.com/office/drawing/2014/main" id="{EF67DAE8-60CE-4843-88F1-603A56FF2257}"/>
              </a:ext>
            </a:extLst>
          </p:cNvPr>
          <p:cNvSpPr>
            <a:spLocks/>
          </p:cNvSpPr>
          <p:nvPr>
            <p:custDataLst>
              <p:tags r:id="rId240"/>
            </p:custDataLst>
          </p:nvPr>
        </p:nvSpPr>
        <p:spPr bwMode="auto">
          <a:xfrm>
            <a:off x="7666091" y="4397304"/>
            <a:ext cx="203054" cy="237942"/>
          </a:xfrm>
          <a:custGeom>
            <a:avLst/>
            <a:gdLst>
              <a:gd name="T0" fmla="*/ 37 w 379"/>
              <a:gd name="T1" fmla="*/ 419 h 437"/>
              <a:gd name="T2" fmla="*/ 46 w 379"/>
              <a:gd name="T3" fmla="*/ 407 h 437"/>
              <a:gd name="T4" fmla="*/ 24 w 379"/>
              <a:gd name="T5" fmla="*/ 311 h 437"/>
              <a:gd name="T6" fmla="*/ 2 w 379"/>
              <a:gd name="T7" fmla="*/ 294 h 437"/>
              <a:gd name="T8" fmla="*/ 15 w 379"/>
              <a:gd name="T9" fmla="*/ 270 h 437"/>
              <a:gd name="T10" fmla="*/ 31 w 379"/>
              <a:gd name="T11" fmla="*/ 221 h 437"/>
              <a:gd name="T12" fmla="*/ 39 w 379"/>
              <a:gd name="T13" fmla="*/ 172 h 437"/>
              <a:gd name="T14" fmla="*/ 57 w 379"/>
              <a:gd name="T15" fmla="*/ 159 h 437"/>
              <a:gd name="T16" fmla="*/ 65 w 379"/>
              <a:gd name="T17" fmla="*/ 130 h 437"/>
              <a:gd name="T18" fmla="*/ 76 w 379"/>
              <a:gd name="T19" fmla="*/ 78 h 437"/>
              <a:gd name="T20" fmla="*/ 90 w 379"/>
              <a:gd name="T21" fmla="*/ 51 h 437"/>
              <a:gd name="T22" fmla="*/ 115 w 379"/>
              <a:gd name="T23" fmla="*/ 31 h 437"/>
              <a:gd name="T24" fmla="*/ 153 w 379"/>
              <a:gd name="T25" fmla="*/ 25 h 437"/>
              <a:gd name="T26" fmla="*/ 217 w 379"/>
              <a:gd name="T27" fmla="*/ 38 h 437"/>
              <a:gd name="T28" fmla="*/ 262 w 379"/>
              <a:gd name="T29" fmla="*/ 48 h 437"/>
              <a:gd name="T30" fmla="*/ 303 w 379"/>
              <a:gd name="T31" fmla="*/ 45 h 437"/>
              <a:gd name="T32" fmla="*/ 329 w 379"/>
              <a:gd name="T33" fmla="*/ 31 h 437"/>
              <a:gd name="T34" fmla="*/ 356 w 379"/>
              <a:gd name="T35" fmla="*/ 7 h 437"/>
              <a:gd name="T36" fmla="*/ 374 w 379"/>
              <a:gd name="T37" fmla="*/ 9 h 437"/>
              <a:gd name="T38" fmla="*/ 372 w 379"/>
              <a:gd name="T39" fmla="*/ 35 h 437"/>
              <a:gd name="T40" fmla="*/ 329 w 379"/>
              <a:gd name="T41" fmla="*/ 80 h 437"/>
              <a:gd name="T42" fmla="*/ 292 w 379"/>
              <a:gd name="T43" fmla="*/ 97 h 437"/>
              <a:gd name="T44" fmla="*/ 271 w 379"/>
              <a:gd name="T45" fmla="*/ 94 h 437"/>
              <a:gd name="T46" fmla="*/ 238 w 379"/>
              <a:gd name="T47" fmla="*/ 69 h 437"/>
              <a:gd name="T48" fmla="*/ 212 w 379"/>
              <a:gd name="T49" fmla="*/ 56 h 437"/>
              <a:gd name="T50" fmla="*/ 177 w 379"/>
              <a:gd name="T51" fmla="*/ 56 h 437"/>
              <a:gd name="T52" fmla="*/ 138 w 379"/>
              <a:gd name="T53" fmla="*/ 61 h 437"/>
              <a:gd name="T54" fmla="*/ 114 w 379"/>
              <a:gd name="T55" fmla="*/ 79 h 437"/>
              <a:gd name="T56" fmla="*/ 79 w 379"/>
              <a:gd name="T57" fmla="*/ 161 h 437"/>
              <a:gd name="T58" fmla="*/ 119 w 379"/>
              <a:gd name="T59" fmla="*/ 169 h 437"/>
              <a:gd name="T60" fmla="*/ 133 w 379"/>
              <a:gd name="T61" fmla="*/ 191 h 437"/>
              <a:gd name="T62" fmla="*/ 155 w 379"/>
              <a:gd name="T63" fmla="*/ 168 h 437"/>
              <a:gd name="T64" fmla="*/ 172 w 379"/>
              <a:gd name="T65" fmla="*/ 153 h 437"/>
              <a:gd name="T66" fmla="*/ 221 w 379"/>
              <a:gd name="T67" fmla="*/ 150 h 437"/>
              <a:gd name="T68" fmla="*/ 250 w 379"/>
              <a:gd name="T69" fmla="*/ 147 h 437"/>
              <a:gd name="T70" fmla="*/ 273 w 379"/>
              <a:gd name="T71" fmla="*/ 173 h 437"/>
              <a:gd name="T72" fmla="*/ 279 w 379"/>
              <a:gd name="T73" fmla="*/ 203 h 437"/>
              <a:gd name="T74" fmla="*/ 246 w 379"/>
              <a:gd name="T75" fmla="*/ 192 h 437"/>
              <a:gd name="T76" fmla="*/ 218 w 379"/>
              <a:gd name="T77" fmla="*/ 185 h 437"/>
              <a:gd name="T78" fmla="*/ 192 w 379"/>
              <a:gd name="T79" fmla="*/ 195 h 437"/>
              <a:gd name="T80" fmla="*/ 186 w 379"/>
              <a:gd name="T81" fmla="*/ 209 h 437"/>
              <a:gd name="T82" fmla="*/ 192 w 379"/>
              <a:gd name="T83" fmla="*/ 233 h 437"/>
              <a:gd name="T84" fmla="*/ 220 w 379"/>
              <a:gd name="T85" fmla="*/ 272 h 437"/>
              <a:gd name="T86" fmla="*/ 225 w 379"/>
              <a:gd name="T87" fmla="*/ 296 h 437"/>
              <a:gd name="T88" fmla="*/ 215 w 379"/>
              <a:gd name="T89" fmla="*/ 322 h 437"/>
              <a:gd name="T90" fmla="*/ 205 w 379"/>
              <a:gd name="T91" fmla="*/ 345 h 437"/>
              <a:gd name="T92" fmla="*/ 210 w 379"/>
              <a:gd name="T93" fmla="*/ 356 h 437"/>
              <a:gd name="T94" fmla="*/ 236 w 379"/>
              <a:gd name="T95" fmla="*/ 368 h 437"/>
              <a:gd name="T96" fmla="*/ 252 w 379"/>
              <a:gd name="T97" fmla="*/ 400 h 437"/>
              <a:gd name="T98" fmla="*/ 239 w 379"/>
              <a:gd name="T99" fmla="*/ 429 h 437"/>
              <a:gd name="T100" fmla="*/ 221 w 379"/>
              <a:gd name="T101" fmla="*/ 421 h 437"/>
              <a:gd name="T102" fmla="*/ 202 w 379"/>
              <a:gd name="T103" fmla="*/ 417 h 437"/>
              <a:gd name="T104" fmla="*/ 177 w 379"/>
              <a:gd name="T105" fmla="*/ 400 h 437"/>
              <a:gd name="T106" fmla="*/ 153 w 379"/>
              <a:gd name="T107" fmla="*/ 356 h 437"/>
              <a:gd name="T108" fmla="*/ 137 w 379"/>
              <a:gd name="T109" fmla="*/ 304 h 437"/>
              <a:gd name="T110" fmla="*/ 114 w 379"/>
              <a:gd name="T111" fmla="*/ 263 h 437"/>
              <a:gd name="T112" fmla="*/ 97 w 379"/>
              <a:gd name="T113" fmla="*/ 259 h 437"/>
              <a:gd name="T114" fmla="*/ 105 w 379"/>
              <a:gd name="T115" fmla="*/ 381 h 437"/>
              <a:gd name="T116" fmla="*/ 93 w 379"/>
              <a:gd name="T117" fmla="*/ 404 h 437"/>
              <a:gd name="T118" fmla="*/ 57 w 379"/>
              <a:gd name="T119" fmla="*/ 426 h 437"/>
              <a:gd name="T120" fmla="*/ 59 w 379"/>
              <a:gd name="T121" fmla="*/ 437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71" name="Freeform 339">
            <a:extLst>
              <a:ext uri="{FF2B5EF4-FFF2-40B4-BE49-F238E27FC236}">
                <a16:creationId xmlns="" xmlns:a16="http://schemas.microsoft.com/office/drawing/2014/main" id="{5B322B1F-0D66-488D-A8A1-044A14EA22B4}"/>
              </a:ext>
            </a:extLst>
          </p:cNvPr>
          <p:cNvSpPr>
            <a:spLocks/>
          </p:cNvSpPr>
          <p:nvPr>
            <p:custDataLst>
              <p:tags r:id="rId241"/>
            </p:custDataLst>
          </p:nvPr>
        </p:nvSpPr>
        <p:spPr bwMode="auto">
          <a:xfrm>
            <a:off x="7258048" y="4646732"/>
            <a:ext cx="305549" cy="98459"/>
          </a:xfrm>
          <a:custGeom>
            <a:avLst/>
            <a:gdLst>
              <a:gd name="T0" fmla="*/ 11 w 578"/>
              <a:gd name="T1" fmla="*/ 50 h 184"/>
              <a:gd name="T2" fmla="*/ 24 w 578"/>
              <a:gd name="T3" fmla="*/ 32 h 184"/>
              <a:gd name="T4" fmla="*/ 41 w 578"/>
              <a:gd name="T5" fmla="*/ 7 h 184"/>
              <a:gd name="T6" fmla="*/ 54 w 578"/>
              <a:gd name="T7" fmla="*/ 0 h 184"/>
              <a:gd name="T8" fmla="*/ 79 w 578"/>
              <a:gd name="T9" fmla="*/ 2 h 184"/>
              <a:gd name="T10" fmla="*/ 95 w 578"/>
              <a:gd name="T11" fmla="*/ 2 h 184"/>
              <a:gd name="T12" fmla="*/ 101 w 578"/>
              <a:gd name="T13" fmla="*/ 5 h 184"/>
              <a:gd name="T14" fmla="*/ 115 w 578"/>
              <a:gd name="T15" fmla="*/ 15 h 184"/>
              <a:gd name="T16" fmla="*/ 147 w 578"/>
              <a:gd name="T17" fmla="*/ 27 h 184"/>
              <a:gd name="T18" fmla="*/ 168 w 578"/>
              <a:gd name="T19" fmla="*/ 37 h 184"/>
              <a:gd name="T20" fmla="*/ 178 w 578"/>
              <a:gd name="T21" fmla="*/ 53 h 184"/>
              <a:gd name="T22" fmla="*/ 192 w 578"/>
              <a:gd name="T23" fmla="*/ 61 h 184"/>
              <a:gd name="T24" fmla="*/ 231 w 578"/>
              <a:gd name="T25" fmla="*/ 60 h 184"/>
              <a:gd name="T26" fmla="*/ 277 w 578"/>
              <a:gd name="T27" fmla="*/ 51 h 184"/>
              <a:gd name="T28" fmla="*/ 299 w 578"/>
              <a:gd name="T29" fmla="*/ 39 h 184"/>
              <a:gd name="T30" fmla="*/ 314 w 578"/>
              <a:gd name="T31" fmla="*/ 34 h 184"/>
              <a:gd name="T32" fmla="*/ 327 w 578"/>
              <a:gd name="T33" fmla="*/ 35 h 184"/>
              <a:gd name="T34" fmla="*/ 339 w 578"/>
              <a:gd name="T35" fmla="*/ 31 h 184"/>
              <a:gd name="T36" fmla="*/ 366 w 578"/>
              <a:gd name="T37" fmla="*/ 34 h 184"/>
              <a:gd name="T38" fmla="*/ 399 w 578"/>
              <a:gd name="T39" fmla="*/ 59 h 184"/>
              <a:gd name="T40" fmla="*/ 428 w 578"/>
              <a:gd name="T41" fmla="*/ 89 h 184"/>
              <a:gd name="T42" fmla="*/ 456 w 578"/>
              <a:gd name="T43" fmla="*/ 105 h 184"/>
              <a:gd name="T44" fmla="*/ 479 w 578"/>
              <a:gd name="T45" fmla="*/ 107 h 184"/>
              <a:gd name="T46" fmla="*/ 493 w 578"/>
              <a:gd name="T47" fmla="*/ 108 h 184"/>
              <a:gd name="T48" fmla="*/ 505 w 578"/>
              <a:gd name="T49" fmla="*/ 125 h 184"/>
              <a:gd name="T50" fmla="*/ 522 w 578"/>
              <a:gd name="T51" fmla="*/ 140 h 184"/>
              <a:gd name="T52" fmla="*/ 534 w 578"/>
              <a:gd name="T53" fmla="*/ 139 h 184"/>
              <a:gd name="T54" fmla="*/ 546 w 578"/>
              <a:gd name="T55" fmla="*/ 128 h 184"/>
              <a:gd name="T56" fmla="*/ 558 w 578"/>
              <a:gd name="T57" fmla="*/ 134 h 184"/>
              <a:gd name="T58" fmla="*/ 571 w 578"/>
              <a:gd name="T59" fmla="*/ 145 h 184"/>
              <a:gd name="T60" fmla="*/ 578 w 578"/>
              <a:gd name="T61" fmla="*/ 160 h 184"/>
              <a:gd name="T62" fmla="*/ 575 w 578"/>
              <a:gd name="T63" fmla="*/ 173 h 184"/>
              <a:gd name="T64" fmla="*/ 567 w 578"/>
              <a:gd name="T65" fmla="*/ 182 h 184"/>
              <a:gd name="T66" fmla="*/ 551 w 578"/>
              <a:gd name="T67" fmla="*/ 178 h 184"/>
              <a:gd name="T68" fmla="*/ 526 w 578"/>
              <a:gd name="T69" fmla="*/ 170 h 184"/>
              <a:gd name="T70" fmla="*/ 491 w 578"/>
              <a:gd name="T71" fmla="*/ 172 h 184"/>
              <a:gd name="T72" fmla="*/ 462 w 578"/>
              <a:gd name="T73" fmla="*/ 170 h 184"/>
              <a:gd name="T74" fmla="*/ 451 w 578"/>
              <a:gd name="T75" fmla="*/ 160 h 184"/>
              <a:gd name="T76" fmla="*/ 438 w 578"/>
              <a:gd name="T77" fmla="*/ 154 h 184"/>
              <a:gd name="T78" fmla="*/ 426 w 578"/>
              <a:gd name="T79" fmla="*/ 160 h 184"/>
              <a:gd name="T80" fmla="*/ 416 w 578"/>
              <a:gd name="T81" fmla="*/ 170 h 184"/>
              <a:gd name="T82" fmla="*/ 398 w 578"/>
              <a:gd name="T83" fmla="*/ 171 h 184"/>
              <a:gd name="T84" fmla="*/ 328 w 578"/>
              <a:gd name="T85" fmla="*/ 153 h 184"/>
              <a:gd name="T86" fmla="*/ 277 w 578"/>
              <a:gd name="T87" fmla="*/ 132 h 184"/>
              <a:gd name="T88" fmla="*/ 266 w 578"/>
              <a:gd name="T89" fmla="*/ 123 h 184"/>
              <a:gd name="T90" fmla="*/ 230 w 578"/>
              <a:gd name="T91" fmla="*/ 119 h 184"/>
              <a:gd name="T92" fmla="*/ 201 w 578"/>
              <a:gd name="T93" fmla="*/ 113 h 184"/>
              <a:gd name="T94" fmla="*/ 168 w 578"/>
              <a:gd name="T95" fmla="*/ 111 h 184"/>
              <a:gd name="T96" fmla="*/ 146 w 578"/>
              <a:gd name="T97" fmla="*/ 111 h 184"/>
              <a:gd name="T98" fmla="*/ 124 w 578"/>
              <a:gd name="T99" fmla="*/ 105 h 184"/>
              <a:gd name="T100" fmla="*/ 120 w 578"/>
              <a:gd name="T101" fmla="*/ 99 h 184"/>
              <a:gd name="T102" fmla="*/ 69 w 578"/>
              <a:gd name="T103" fmla="*/ 97 h 184"/>
              <a:gd name="T104" fmla="*/ 46 w 578"/>
              <a:gd name="T105" fmla="*/ 88 h 184"/>
              <a:gd name="T106" fmla="*/ 0 w 578"/>
              <a:gd name="T107" fmla="*/ 55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72" name="Freeform 340">
            <a:extLst>
              <a:ext uri="{FF2B5EF4-FFF2-40B4-BE49-F238E27FC236}">
                <a16:creationId xmlns="" xmlns:a16="http://schemas.microsoft.com/office/drawing/2014/main" id="{88152FF9-CA0E-4041-A038-52355469BBD0}"/>
              </a:ext>
            </a:extLst>
          </p:cNvPr>
          <p:cNvSpPr>
            <a:spLocks/>
          </p:cNvSpPr>
          <p:nvPr>
            <p:custDataLst>
              <p:tags r:id="rId242"/>
            </p:custDataLst>
          </p:nvPr>
        </p:nvSpPr>
        <p:spPr bwMode="auto">
          <a:xfrm>
            <a:off x="8087671" y="4499044"/>
            <a:ext cx="261069" cy="260915"/>
          </a:xfrm>
          <a:custGeom>
            <a:avLst/>
            <a:gdLst>
              <a:gd name="T0" fmla="*/ 482 w 491"/>
              <a:gd name="T1" fmla="*/ 479 h 481"/>
              <a:gd name="T2" fmla="*/ 457 w 491"/>
              <a:gd name="T3" fmla="*/ 465 h 481"/>
              <a:gd name="T4" fmla="*/ 422 w 491"/>
              <a:gd name="T5" fmla="*/ 434 h 481"/>
              <a:gd name="T6" fmla="*/ 412 w 491"/>
              <a:gd name="T7" fmla="*/ 417 h 481"/>
              <a:gd name="T8" fmla="*/ 376 w 491"/>
              <a:gd name="T9" fmla="*/ 410 h 481"/>
              <a:gd name="T10" fmla="*/ 360 w 491"/>
              <a:gd name="T11" fmla="*/ 406 h 481"/>
              <a:gd name="T12" fmla="*/ 350 w 491"/>
              <a:gd name="T13" fmla="*/ 396 h 481"/>
              <a:gd name="T14" fmla="*/ 346 w 491"/>
              <a:gd name="T15" fmla="*/ 374 h 481"/>
              <a:gd name="T16" fmla="*/ 342 w 491"/>
              <a:gd name="T17" fmla="*/ 332 h 481"/>
              <a:gd name="T18" fmla="*/ 327 w 491"/>
              <a:gd name="T19" fmla="*/ 303 h 481"/>
              <a:gd name="T20" fmla="*/ 319 w 491"/>
              <a:gd name="T21" fmla="*/ 277 h 481"/>
              <a:gd name="T22" fmla="*/ 314 w 491"/>
              <a:gd name="T23" fmla="*/ 244 h 481"/>
              <a:gd name="T24" fmla="*/ 292 w 491"/>
              <a:gd name="T25" fmla="*/ 223 h 481"/>
              <a:gd name="T26" fmla="*/ 260 w 491"/>
              <a:gd name="T27" fmla="*/ 205 h 481"/>
              <a:gd name="T28" fmla="*/ 221 w 491"/>
              <a:gd name="T29" fmla="*/ 190 h 481"/>
              <a:gd name="T30" fmla="*/ 178 w 491"/>
              <a:gd name="T31" fmla="*/ 181 h 481"/>
              <a:gd name="T32" fmla="*/ 133 w 491"/>
              <a:gd name="T33" fmla="*/ 178 h 481"/>
              <a:gd name="T34" fmla="*/ 133 w 491"/>
              <a:gd name="T35" fmla="*/ 156 h 481"/>
              <a:gd name="T36" fmla="*/ 110 w 491"/>
              <a:gd name="T37" fmla="*/ 145 h 481"/>
              <a:gd name="T38" fmla="*/ 85 w 491"/>
              <a:gd name="T39" fmla="*/ 130 h 481"/>
              <a:gd name="T40" fmla="*/ 66 w 491"/>
              <a:gd name="T41" fmla="*/ 111 h 481"/>
              <a:gd name="T42" fmla="*/ 73 w 491"/>
              <a:gd name="T43" fmla="*/ 133 h 481"/>
              <a:gd name="T44" fmla="*/ 54 w 491"/>
              <a:gd name="T45" fmla="*/ 147 h 481"/>
              <a:gd name="T46" fmla="*/ 40 w 491"/>
              <a:gd name="T47" fmla="*/ 178 h 481"/>
              <a:gd name="T48" fmla="*/ 24 w 491"/>
              <a:gd name="T49" fmla="*/ 220 h 481"/>
              <a:gd name="T50" fmla="*/ 13 w 491"/>
              <a:gd name="T51" fmla="*/ 265 h 481"/>
              <a:gd name="T52" fmla="*/ 14 w 491"/>
              <a:gd name="T53" fmla="*/ 237 h 481"/>
              <a:gd name="T54" fmla="*/ 23 w 491"/>
              <a:gd name="T55" fmla="*/ 209 h 481"/>
              <a:gd name="T56" fmla="*/ 32 w 491"/>
              <a:gd name="T57" fmla="*/ 181 h 481"/>
              <a:gd name="T58" fmla="*/ 30 w 491"/>
              <a:gd name="T59" fmla="*/ 143 h 481"/>
              <a:gd name="T60" fmla="*/ 17 w 491"/>
              <a:gd name="T61" fmla="*/ 111 h 481"/>
              <a:gd name="T62" fmla="*/ 0 w 491"/>
              <a:gd name="T63" fmla="*/ 73 h 481"/>
              <a:gd name="T64" fmla="*/ 34 w 491"/>
              <a:gd name="T65" fmla="*/ 59 h 481"/>
              <a:gd name="T66" fmla="*/ 59 w 491"/>
              <a:gd name="T67" fmla="*/ 55 h 481"/>
              <a:gd name="T68" fmla="*/ 84 w 491"/>
              <a:gd name="T69" fmla="*/ 58 h 481"/>
              <a:gd name="T70" fmla="*/ 102 w 491"/>
              <a:gd name="T71" fmla="*/ 66 h 481"/>
              <a:gd name="T72" fmla="*/ 121 w 491"/>
              <a:gd name="T73" fmla="*/ 82 h 481"/>
              <a:gd name="T74" fmla="*/ 140 w 491"/>
              <a:gd name="T75" fmla="*/ 111 h 481"/>
              <a:gd name="T76" fmla="*/ 183 w 491"/>
              <a:gd name="T77" fmla="*/ 103 h 481"/>
              <a:gd name="T78" fmla="*/ 196 w 491"/>
              <a:gd name="T79" fmla="*/ 96 h 481"/>
              <a:gd name="T80" fmla="*/ 200 w 491"/>
              <a:gd name="T81" fmla="*/ 90 h 481"/>
              <a:gd name="T82" fmla="*/ 207 w 491"/>
              <a:gd name="T83" fmla="*/ 73 h 481"/>
              <a:gd name="T84" fmla="*/ 232 w 491"/>
              <a:gd name="T85" fmla="*/ 54 h 481"/>
              <a:gd name="T86" fmla="*/ 254 w 491"/>
              <a:gd name="T87" fmla="*/ 49 h 481"/>
              <a:gd name="T88" fmla="*/ 263 w 491"/>
              <a:gd name="T89" fmla="*/ 30 h 481"/>
              <a:gd name="T90" fmla="*/ 280 w 491"/>
              <a:gd name="T91" fmla="*/ 9 h 481"/>
              <a:gd name="T92" fmla="*/ 300 w 491"/>
              <a:gd name="T93" fmla="*/ 1 h 481"/>
              <a:gd name="T94" fmla="*/ 323 w 491"/>
              <a:gd name="T95" fmla="*/ 0 h 481"/>
              <a:gd name="T96" fmla="*/ 351 w 491"/>
              <a:gd name="T97" fmla="*/ 8 h 481"/>
              <a:gd name="T98" fmla="*/ 399 w 491"/>
              <a:gd name="T99" fmla="*/ 38 h 481"/>
              <a:gd name="T100" fmla="*/ 428 w 491"/>
              <a:gd name="T101" fmla="*/ 53 h 481"/>
              <a:gd name="T102" fmla="*/ 459 w 491"/>
              <a:gd name="T103" fmla="*/ 60 h 481"/>
              <a:gd name="T104" fmla="*/ 491 w 491"/>
              <a:gd name="T105" fmla="*/ 67 h 481"/>
              <a:gd name="T106" fmla="*/ 491 w 491"/>
              <a:gd name="T107" fmla="*/ 326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73" name="Freeform 341">
            <a:extLst>
              <a:ext uri="{FF2B5EF4-FFF2-40B4-BE49-F238E27FC236}">
                <a16:creationId xmlns="" xmlns:a16="http://schemas.microsoft.com/office/drawing/2014/main" id="{313EA31B-60CF-4E64-B864-5AAE34C2B118}"/>
              </a:ext>
            </a:extLst>
          </p:cNvPr>
          <p:cNvSpPr>
            <a:spLocks/>
          </p:cNvSpPr>
          <p:nvPr>
            <p:custDataLst>
              <p:tags r:id="rId243"/>
            </p:custDataLst>
          </p:nvPr>
        </p:nvSpPr>
        <p:spPr bwMode="auto">
          <a:xfrm>
            <a:off x="6298858" y="3291286"/>
            <a:ext cx="65751" cy="62357"/>
          </a:xfrm>
          <a:custGeom>
            <a:avLst/>
            <a:gdLst>
              <a:gd name="T0" fmla="*/ 0 w 133"/>
              <a:gd name="T1" fmla="*/ 19 h 117"/>
              <a:gd name="T2" fmla="*/ 72 w 133"/>
              <a:gd name="T3" fmla="*/ 0 h 117"/>
              <a:gd name="T4" fmla="*/ 81 w 133"/>
              <a:gd name="T5" fmla="*/ 6 h 117"/>
              <a:gd name="T6" fmla="*/ 91 w 133"/>
              <a:gd name="T7" fmla="*/ 14 h 117"/>
              <a:gd name="T8" fmla="*/ 101 w 133"/>
              <a:gd name="T9" fmla="*/ 25 h 117"/>
              <a:gd name="T10" fmla="*/ 109 w 133"/>
              <a:gd name="T11" fmla="*/ 37 h 117"/>
              <a:gd name="T12" fmla="*/ 118 w 133"/>
              <a:gd name="T13" fmla="*/ 49 h 117"/>
              <a:gd name="T14" fmla="*/ 126 w 133"/>
              <a:gd name="T15" fmla="*/ 62 h 117"/>
              <a:gd name="T16" fmla="*/ 128 w 133"/>
              <a:gd name="T17" fmla="*/ 68 h 117"/>
              <a:gd name="T18" fmla="*/ 130 w 133"/>
              <a:gd name="T19" fmla="*/ 74 h 117"/>
              <a:gd name="T20" fmla="*/ 131 w 133"/>
              <a:gd name="T21" fmla="*/ 80 h 117"/>
              <a:gd name="T22" fmla="*/ 133 w 133"/>
              <a:gd name="T23" fmla="*/ 86 h 117"/>
              <a:gd name="T24" fmla="*/ 131 w 133"/>
              <a:gd name="T25" fmla="*/ 92 h 117"/>
              <a:gd name="T26" fmla="*/ 128 w 133"/>
              <a:gd name="T27" fmla="*/ 97 h 117"/>
              <a:gd name="T28" fmla="*/ 124 w 133"/>
              <a:gd name="T29" fmla="*/ 102 h 117"/>
              <a:gd name="T30" fmla="*/ 118 w 133"/>
              <a:gd name="T31" fmla="*/ 107 h 117"/>
              <a:gd name="T32" fmla="*/ 113 w 133"/>
              <a:gd name="T33" fmla="*/ 111 h 117"/>
              <a:gd name="T34" fmla="*/ 107 w 133"/>
              <a:gd name="T35" fmla="*/ 114 h 117"/>
              <a:gd name="T36" fmla="*/ 103 w 133"/>
              <a:gd name="T37" fmla="*/ 117 h 117"/>
              <a:gd name="T38" fmla="*/ 100 w 133"/>
              <a:gd name="T39" fmla="*/ 117 h 117"/>
              <a:gd name="T40" fmla="*/ 72 w 133"/>
              <a:gd name="T41" fmla="*/ 95 h 117"/>
              <a:gd name="T42" fmla="*/ 45 w 133"/>
              <a:gd name="T43" fmla="*/ 70 h 117"/>
              <a:gd name="T44" fmla="*/ 32 w 133"/>
              <a:gd name="T45" fmla="*/ 58 h 117"/>
              <a:gd name="T46" fmla="*/ 18 w 133"/>
              <a:gd name="T47" fmla="*/ 46 h 117"/>
              <a:gd name="T48" fmla="*/ 8 w 133"/>
              <a:gd name="T49" fmla="*/ 33 h 117"/>
              <a:gd name="T50" fmla="*/ 0 w 133"/>
              <a:gd name="T51" fmla="*/ 1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74" name="Freeform 342">
            <a:extLst>
              <a:ext uri="{FF2B5EF4-FFF2-40B4-BE49-F238E27FC236}">
                <a16:creationId xmlns="" xmlns:a16="http://schemas.microsoft.com/office/drawing/2014/main" id="{52CE0418-669F-4E47-BD2F-99B265CB7E2F}"/>
              </a:ext>
            </a:extLst>
          </p:cNvPr>
          <p:cNvSpPr>
            <a:spLocks/>
          </p:cNvSpPr>
          <p:nvPr>
            <p:custDataLst>
              <p:tags r:id="rId244"/>
            </p:custDataLst>
          </p:nvPr>
        </p:nvSpPr>
        <p:spPr bwMode="auto">
          <a:xfrm>
            <a:off x="4419153" y="2675921"/>
            <a:ext cx="268806" cy="183789"/>
          </a:xfrm>
          <a:custGeom>
            <a:avLst/>
            <a:gdLst>
              <a:gd name="T0" fmla="*/ 272 w 505"/>
              <a:gd name="T1" fmla="*/ 36 h 339"/>
              <a:gd name="T2" fmla="*/ 484 w 505"/>
              <a:gd name="T3" fmla="*/ 86 h 339"/>
              <a:gd name="T4" fmla="*/ 478 w 505"/>
              <a:gd name="T5" fmla="*/ 109 h 339"/>
              <a:gd name="T6" fmla="*/ 471 w 505"/>
              <a:gd name="T7" fmla="*/ 129 h 339"/>
              <a:gd name="T8" fmla="*/ 461 w 505"/>
              <a:gd name="T9" fmla="*/ 145 h 339"/>
              <a:gd name="T10" fmla="*/ 451 w 505"/>
              <a:gd name="T11" fmla="*/ 153 h 339"/>
              <a:gd name="T12" fmla="*/ 461 w 505"/>
              <a:gd name="T13" fmla="*/ 184 h 339"/>
              <a:gd name="T14" fmla="*/ 477 w 505"/>
              <a:gd name="T15" fmla="*/ 215 h 339"/>
              <a:gd name="T16" fmla="*/ 505 w 505"/>
              <a:gd name="T17" fmla="*/ 258 h 339"/>
              <a:gd name="T18" fmla="*/ 493 w 505"/>
              <a:gd name="T19" fmla="*/ 271 h 339"/>
              <a:gd name="T20" fmla="*/ 479 w 505"/>
              <a:gd name="T21" fmla="*/ 292 h 339"/>
              <a:gd name="T22" fmla="*/ 468 w 505"/>
              <a:gd name="T23" fmla="*/ 314 h 339"/>
              <a:gd name="T24" fmla="*/ 464 w 505"/>
              <a:gd name="T25" fmla="*/ 339 h 339"/>
              <a:gd name="T26" fmla="*/ 443 w 505"/>
              <a:gd name="T27" fmla="*/ 338 h 339"/>
              <a:gd name="T28" fmla="*/ 414 w 505"/>
              <a:gd name="T29" fmla="*/ 335 h 339"/>
              <a:gd name="T30" fmla="*/ 385 w 505"/>
              <a:gd name="T31" fmla="*/ 331 h 339"/>
              <a:gd name="T32" fmla="*/ 358 w 505"/>
              <a:gd name="T33" fmla="*/ 326 h 339"/>
              <a:gd name="T34" fmla="*/ 304 w 505"/>
              <a:gd name="T35" fmla="*/ 325 h 339"/>
              <a:gd name="T36" fmla="*/ 264 w 505"/>
              <a:gd name="T37" fmla="*/ 321 h 339"/>
              <a:gd name="T38" fmla="*/ 248 w 505"/>
              <a:gd name="T39" fmla="*/ 317 h 339"/>
              <a:gd name="T40" fmla="*/ 232 w 505"/>
              <a:gd name="T41" fmla="*/ 310 h 339"/>
              <a:gd name="T42" fmla="*/ 213 w 505"/>
              <a:gd name="T43" fmla="*/ 300 h 339"/>
              <a:gd name="T44" fmla="*/ 180 w 505"/>
              <a:gd name="T45" fmla="*/ 289 h 339"/>
              <a:gd name="T46" fmla="*/ 146 w 505"/>
              <a:gd name="T47" fmla="*/ 273 h 339"/>
              <a:gd name="T48" fmla="*/ 98 w 505"/>
              <a:gd name="T49" fmla="*/ 249 h 339"/>
              <a:gd name="T50" fmla="*/ 62 w 505"/>
              <a:gd name="T51" fmla="*/ 206 h 339"/>
              <a:gd name="T52" fmla="*/ 52 w 505"/>
              <a:gd name="T53" fmla="*/ 169 h 339"/>
              <a:gd name="T54" fmla="*/ 36 w 505"/>
              <a:gd name="T55" fmla="*/ 124 h 339"/>
              <a:gd name="T56" fmla="*/ 15 w 505"/>
              <a:gd name="T57" fmla="*/ 83 h 339"/>
              <a:gd name="T58" fmla="*/ 2 w 505"/>
              <a:gd name="T59" fmla="*/ 64 h 339"/>
              <a:gd name="T60" fmla="*/ 5 w 505"/>
              <a:gd name="T61" fmla="*/ 61 h 339"/>
              <a:gd name="T62" fmla="*/ 11 w 505"/>
              <a:gd name="T63" fmla="*/ 56 h 339"/>
              <a:gd name="T64" fmla="*/ 11 w 505"/>
              <a:gd name="T65" fmla="*/ 48 h 339"/>
              <a:gd name="T66" fmla="*/ 11 w 505"/>
              <a:gd name="T67" fmla="*/ 43 h 339"/>
              <a:gd name="T68" fmla="*/ 34 w 505"/>
              <a:gd name="T69" fmla="*/ 34 h 339"/>
              <a:gd name="T70" fmla="*/ 73 w 505"/>
              <a:gd name="T71" fmla="*/ 22 h 339"/>
              <a:gd name="T72" fmla="*/ 128 w 505"/>
              <a:gd name="T73" fmla="*/ 8 h 339"/>
              <a:gd name="T74" fmla="*/ 173 w 505"/>
              <a:gd name="T75" fmla="*/ 11 h 339"/>
              <a:gd name="T76" fmla="*/ 188 w 505"/>
              <a:gd name="T77" fmla="*/ 28 h 339"/>
              <a:gd name="T78" fmla="*/ 201 w 505"/>
              <a:gd name="T79" fmla="*/ 35 h 339"/>
              <a:gd name="T80" fmla="*/ 219 w 505"/>
              <a:gd name="T81" fmla="*/ 36 h 339"/>
              <a:gd name="T82" fmla="*/ 239 w 505"/>
              <a:gd name="T83" fmla="*/ 36 h 339"/>
              <a:gd name="T84" fmla="*/ 259 w 505"/>
              <a:gd name="T85" fmla="*/ 2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000" b="1" dirty="0"/>
          </a:p>
        </p:txBody>
      </p:sp>
      <p:sp>
        <p:nvSpPr>
          <p:cNvPr id="375" name="Freeform 343">
            <a:extLst>
              <a:ext uri="{FF2B5EF4-FFF2-40B4-BE49-F238E27FC236}">
                <a16:creationId xmlns="" xmlns:a16="http://schemas.microsoft.com/office/drawing/2014/main" id="{FF227FD7-E2B9-44FF-893D-AF55BB6D8BF3}"/>
              </a:ext>
            </a:extLst>
          </p:cNvPr>
          <p:cNvSpPr>
            <a:spLocks/>
          </p:cNvSpPr>
          <p:nvPr>
            <p:custDataLst>
              <p:tags r:id="rId245"/>
            </p:custDataLst>
          </p:nvPr>
        </p:nvSpPr>
        <p:spPr bwMode="auto">
          <a:xfrm>
            <a:off x="4496507" y="2887606"/>
            <a:ext cx="177915" cy="73845"/>
          </a:xfrm>
          <a:custGeom>
            <a:avLst/>
            <a:gdLst>
              <a:gd name="T0" fmla="*/ 312 w 338"/>
              <a:gd name="T1" fmla="*/ 0 h 141"/>
              <a:gd name="T2" fmla="*/ 186 w 338"/>
              <a:gd name="T3" fmla="*/ 0 h 141"/>
              <a:gd name="T4" fmla="*/ 168 w 338"/>
              <a:gd name="T5" fmla="*/ 8 h 141"/>
              <a:gd name="T6" fmla="*/ 144 w 338"/>
              <a:gd name="T7" fmla="*/ 21 h 141"/>
              <a:gd name="T8" fmla="*/ 132 w 338"/>
              <a:gd name="T9" fmla="*/ 27 h 141"/>
              <a:gd name="T10" fmla="*/ 119 w 338"/>
              <a:gd name="T11" fmla="*/ 32 h 141"/>
              <a:gd name="T12" fmla="*/ 112 w 338"/>
              <a:gd name="T13" fmla="*/ 34 h 141"/>
              <a:gd name="T14" fmla="*/ 105 w 338"/>
              <a:gd name="T15" fmla="*/ 35 h 141"/>
              <a:gd name="T16" fmla="*/ 99 w 338"/>
              <a:gd name="T17" fmla="*/ 36 h 141"/>
              <a:gd name="T18" fmla="*/ 93 w 338"/>
              <a:gd name="T19" fmla="*/ 37 h 141"/>
              <a:gd name="T20" fmla="*/ 88 w 338"/>
              <a:gd name="T21" fmla="*/ 36 h 141"/>
              <a:gd name="T22" fmla="*/ 84 w 338"/>
              <a:gd name="T23" fmla="*/ 35 h 141"/>
              <a:gd name="T24" fmla="*/ 78 w 338"/>
              <a:gd name="T25" fmla="*/ 32 h 141"/>
              <a:gd name="T26" fmla="*/ 74 w 338"/>
              <a:gd name="T27" fmla="*/ 30 h 141"/>
              <a:gd name="T28" fmla="*/ 66 w 338"/>
              <a:gd name="T29" fmla="*/ 24 h 141"/>
              <a:gd name="T30" fmla="*/ 59 w 338"/>
              <a:gd name="T31" fmla="*/ 18 h 141"/>
              <a:gd name="T32" fmla="*/ 49 w 338"/>
              <a:gd name="T33" fmla="*/ 34 h 141"/>
              <a:gd name="T34" fmla="*/ 37 w 338"/>
              <a:gd name="T35" fmla="*/ 51 h 141"/>
              <a:gd name="T36" fmla="*/ 30 w 338"/>
              <a:gd name="T37" fmla="*/ 60 h 141"/>
              <a:gd name="T38" fmla="*/ 21 w 338"/>
              <a:gd name="T39" fmla="*/ 68 h 141"/>
              <a:gd name="T40" fmla="*/ 11 w 338"/>
              <a:gd name="T41" fmla="*/ 75 h 141"/>
              <a:gd name="T42" fmla="*/ 0 w 338"/>
              <a:gd name="T43" fmla="*/ 80 h 141"/>
              <a:gd name="T44" fmla="*/ 12 w 338"/>
              <a:gd name="T45" fmla="*/ 90 h 141"/>
              <a:gd name="T46" fmla="*/ 23 w 338"/>
              <a:gd name="T47" fmla="*/ 100 h 141"/>
              <a:gd name="T48" fmla="*/ 33 w 338"/>
              <a:gd name="T49" fmla="*/ 108 h 141"/>
              <a:gd name="T50" fmla="*/ 44 w 338"/>
              <a:gd name="T51" fmla="*/ 116 h 141"/>
              <a:gd name="T52" fmla="*/ 55 w 338"/>
              <a:gd name="T53" fmla="*/ 122 h 141"/>
              <a:gd name="T54" fmla="*/ 66 w 338"/>
              <a:gd name="T55" fmla="*/ 129 h 141"/>
              <a:gd name="T56" fmla="*/ 79 w 338"/>
              <a:gd name="T57" fmla="*/ 135 h 141"/>
              <a:gd name="T58" fmla="*/ 93 w 338"/>
              <a:gd name="T59" fmla="*/ 141 h 141"/>
              <a:gd name="T60" fmla="*/ 259 w 338"/>
              <a:gd name="T61" fmla="*/ 141 h 141"/>
              <a:gd name="T62" fmla="*/ 269 w 338"/>
              <a:gd name="T63" fmla="*/ 124 h 141"/>
              <a:gd name="T64" fmla="*/ 281 w 338"/>
              <a:gd name="T65" fmla="*/ 107 h 141"/>
              <a:gd name="T66" fmla="*/ 292 w 338"/>
              <a:gd name="T67" fmla="*/ 92 h 141"/>
              <a:gd name="T68" fmla="*/ 304 w 338"/>
              <a:gd name="T69" fmla="*/ 78 h 141"/>
              <a:gd name="T70" fmla="*/ 315 w 338"/>
              <a:gd name="T71" fmla="*/ 64 h 141"/>
              <a:gd name="T72" fmla="*/ 324 w 338"/>
              <a:gd name="T73" fmla="*/ 48 h 141"/>
              <a:gd name="T74" fmla="*/ 333 w 338"/>
              <a:gd name="T75" fmla="*/ 34 h 141"/>
              <a:gd name="T76" fmla="*/ 338 w 338"/>
              <a:gd name="T77" fmla="*/ 18 h 141"/>
              <a:gd name="T78" fmla="*/ 312 w 338"/>
              <a:gd name="T7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76" name="Freeform 344">
            <a:extLst>
              <a:ext uri="{FF2B5EF4-FFF2-40B4-BE49-F238E27FC236}">
                <a16:creationId xmlns="" xmlns:a16="http://schemas.microsoft.com/office/drawing/2014/main" id="{F8789FF2-ADFA-49C1-8959-EA26A9AB34A5}"/>
              </a:ext>
            </a:extLst>
          </p:cNvPr>
          <p:cNvSpPr>
            <a:spLocks/>
          </p:cNvSpPr>
          <p:nvPr>
            <p:custDataLst>
              <p:tags r:id="rId246"/>
            </p:custDataLst>
          </p:nvPr>
        </p:nvSpPr>
        <p:spPr bwMode="auto">
          <a:xfrm>
            <a:off x="4618341" y="2531515"/>
            <a:ext cx="135370" cy="67280"/>
          </a:xfrm>
          <a:custGeom>
            <a:avLst/>
            <a:gdLst>
              <a:gd name="T0" fmla="*/ 259 w 259"/>
              <a:gd name="T1" fmla="*/ 129 h 129"/>
              <a:gd name="T2" fmla="*/ 255 w 259"/>
              <a:gd name="T3" fmla="*/ 102 h 129"/>
              <a:gd name="T4" fmla="*/ 252 w 259"/>
              <a:gd name="T5" fmla="*/ 80 h 129"/>
              <a:gd name="T6" fmla="*/ 252 w 259"/>
              <a:gd name="T7" fmla="*/ 63 h 129"/>
              <a:gd name="T8" fmla="*/ 253 w 259"/>
              <a:gd name="T9" fmla="*/ 50 h 129"/>
              <a:gd name="T10" fmla="*/ 257 w 259"/>
              <a:gd name="T11" fmla="*/ 29 h 129"/>
              <a:gd name="T12" fmla="*/ 259 w 259"/>
              <a:gd name="T13" fmla="*/ 12 h 129"/>
              <a:gd name="T14" fmla="*/ 258 w 259"/>
              <a:gd name="T15" fmla="*/ 14 h 129"/>
              <a:gd name="T16" fmla="*/ 256 w 259"/>
              <a:gd name="T17" fmla="*/ 16 h 129"/>
              <a:gd name="T18" fmla="*/ 253 w 259"/>
              <a:gd name="T19" fmla="*/ 17 h 129"/>
              <a:gd name="T20" fmla="*/ 249 w 259"/>
              <a:gd name="T21" fmla="*/ 18 h 129"/>
              <a:gd name="T22" fmla="*/ 239 w 259"/>
              <a:gd name="T23" fmla="*/ 19 h 129"/>
              <a:gd name="T24" fmla="*/ 228 w 259"/>
              <a:gd name="T25" fmla="*/ 19 h 129"/>
              <a:gd name="T26" fmla="*/ 205 w 259"/>
              <a:gd name="T27" fmla="*/ 19 h 129"/>
              <a:gd name="T28" fmla="*/ 192 w 259"/>
              <a:gd name="T29" fmla="*/ 18 h 129"/>
              <a:gd name="T30" fmla="*/ 181 w 259"/>
              <a:gd name="T31" fmla="*/ 17 h 129"/>
              <a:gd name="T32" fmla="*/ 172 w 259"/>
              <a:gd name="T33" fmla="*/ 15 h 129"/>
              <a:gd name="T34" fmla="*/ 163 w 259"/>
              <a:gd name="T35" fmla="*/ 12 h 129"/>
              <a:gd name="T36" fmla="*/ 156 w 259"/>
              <a:gd name="T37" fmla="*/ 9 h 129"/>
              <a:gd name="T38" fmla="*/ 146 w 259"/>
              <a:gd name="T39" fmla="*/ 6 h 129"/>
              <a:gd name="T40" fmla="*/ 134 w 259"/>
              <a:gd name="T41" fmla="*/ 3 h 129"/>
              <a:gd name="T42" fmla="*/ 118 w 259"/>
              <a:gd name="T43" fmla="*/ 1 h 129"/>
              <a:gd name="T44" fmla="*/ 99 w 259"/>
              <a:gd name="T45" fmla="*/ 0 h 129"/>
              <a:gd name="T46" fmla="*/ 83 w 259"/>
              <a:gd name="T47" fmla="*/ 0 h 129"/>
              <a:gd name="T48" fmla="*/ 67 w 259"/>
              <a:gd name="T49" fmla="*/ 0 h 129"/>
              <a:gd name="T50" fmla="*/ 50 w 259"/>
              <a:gd name="T51" fmla="*/ 0 h 129"/>
              <a:gd name="T52" fmla="*/ 34 w 259"/>
              <a:gd name="T53" fmla="*/ 2 h 129"/>
              <a:gd name="T54" fmla="*/ 27 w 259"/>
              <a:gd name="T55" fmla="*/ 4 h 129"/>
              <a:gd name="T56" fmla="*/ 21 w 259"/>
              <a:gd name="T57" fmla="*/ 6 h 129"/>
              <a:gd name="T58" fmla="*/ 14 w 259"/>
              <a:gd name="T59" fmla="*/ 9 h 129"/>
              <a:gd name="T60" fmla="*/ 10 w 259"/>
              <a:gd name="T61" fmla="*/ 13 h 129"/>
              <a:gd name="T62" fmla="*/ 5 w 259"/>
              <a:gd name="T63" fmla="*/ 17 h 129"/>
              <a:gd name="T64" fmla="*/ 2 w 259"/>
              <a:gd name="T65" fmla="*/ 22 h 129"/>
              <a:gd name="T66" fmla="*/ 0 w 259"/>
              <a:gd name="T67" fmla="*/ 29 h 129"/>
              <a:gd name="T68" fmla="*/ 0 w 259"/>
              <a:gd name="T69" fmla="*/ 36 h 129"/>
              <a:gd name="T70" fmla="*/ 0 w 259"/>
              <a:gd name="T71" fmla="*/ 48 h 129"/>
              <a:gd name="T72" fmla="*/ 3 w 259"/>
              <a:gd name="T73" fmla="*/ 58 h 129"/>
              <a:gd name="T74" fmla="*/ 6 w 259"/>
              <a:gd name="T75" fmla="*/ 65 h 129"/>
              <a:gd name="T76" fmla="*/ 12 w 259"/>
              <a:gd name="T77" fmla="*/ 71 h 129"/>
              <a:gd name="T78" fmla="*/ 17 w 259"/>
              <a:gd name="T79" fmla="*/ 76 h 129"/>
              <a:gd name="T80" fmla="*/ 24 w 259"/>
              <a:gd name="T81" fmla="*/ 80 h 129"/>
              <a:gd name="T82" fmla="*/ 31 w 259"/>
              <a:gd name="T83" fmla="*/ 83 h 129"/>
              <a:gd name="T84" fmla="*/ 37 w 259"/>
              <a:gd name="T85" fmla="*/ 85 h 129"/>
              <a:gd name="T86" fmla="*/ 50 w 259"/>
              <a:gd name="T87" fmla="*/ 88 h 129"/>
              <a:gd name="T88" fmla="*/ 61 w 259"/>
              <a:gd name="T89" fmla="*/ 92 h 129"/>
              <a:gd name="T90" fmla="*/ 65 w 259"/>
              <a:gd name="T91" fmla="*/ 95 h 129"/>
              <a:gd name="T92" fmla="*/ 67 w 259"/>
              <a:gd name="T93" fmla="*/ 99 h 129"/>
              <a:gd name="T94" fmla="*/ 67 w 259"/>
              <a:gd name="T95" fmla="*/ 105 h 129"/>
              <a:gd name="T96" fmla="*/ 66 w 259"/>
              <a:gd name="T97" fmla="*/ 111 h 129"/>
              <a:gd name="T98" fmla="*/ 81 w 259"/>
              <a:gd name="T99" fmla="*/ 110 h 129"/>
              <a:gd name="T100" fmla="*/ 91 w 259"/>
              <a:gd name="T101" fmla="*/ 108 h 129"/>
              <a:gd name="T102" fmla="*/ 98 w 259"/>
              <a:gd name="T103" fmla="*/ 106 h 129"/>
              <a:gd name="T104" fmla="*/ 105 w 259"/>
              <a:gd name="T105" fmla="*/ 105 h 129"/>
              <a:gd name="T106" fmla="*/ 120 w 259"/>
              <a:gd name="T107" fmla="*/ 106 h 129"/>
              <a:gd name="T108" fmla="*/ 140 w 259"/>
              <a:gd name="T109" fmla="*/ 108 h 129"/>
              <a:gd name="T110" fmla="*/ 166 w 259"/>
              <a:gd name="T111" fmla="*/ 112 h 129"/>
              <a:gd name="T112" fmla="*/ 192 w 259"/>
              <a:gd name="T113" fmla="*/ 117 h 129"/>
              <a:gd name="T114" fmla="*/ 238 w 259"/>
              <a:gd name="T115" fmla="*/ 125 h 129"/>
              <a:gd name="T116" fmla="*/ 259 w 259"/>
              <a:gd name="T117"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77" name="Freeform 345">
            <a:extLst>
              <a:ext uri="{FF2B5EF4-FFF2-40B4-BE49-F238E27FC236}">
                <a16:creationId xmlns="" xmlns:a16="http://schemas.microsoft.com/office/drawing/2014/main" id="{873BDCC6-8856-4C56-B9E9-961267F63793}"/>
              </a:ext>
            </a:extLst>
          </p:cNvPr>
          <p:cNvSpPr>
            <a:spLocks/>
          </p:cNvSpPr>
          <p:nvPr>
            <p:custDataLst>
              <p:tags r:id="rId247"/>
            </p:custDataLst>
          </p:nvPr>
        </p:nvSpPr>
        <p:spPr bwMode="auto">
          <a:xfrm>
            <a:off x="4633811" y="2890888"/>
            <a:ext cx="218525" cy="147688"/>
          </a:xfrm>
          <a:custGeom>
            <a:avLst/>
            <a:gdLst>
              <a:gd name="T0" fmla="*/ 418 w 425"/>
              <a:gd name="T1" fmla="*/ 170 h 272"/>
              <a:gd name="T2" fmla="*/ 398 w 425"/>
              <a:gd name="T3" fmla="*/ 188 h 272"/>
              <a:gd name="T4" fmla="*/ 383 w 425"/>
              <a:gd name="T5" fmla="*/ 206 h 272"/>
              <a:gd name="T6" fmla="*/ 384 w 425"/>
              <a:gd name="T7" fmla="*/ 221 h 272"/>
              <a:gd name="T8" fmla="*/ 389 w 425"/>
              <a:gd name="T9" fmla="*/ 237 h 272"/>
              <a:gd name="T10" fmla="*/ 375 w 425"/>
              <a:gd name="T11" fmla="*/ 244 h 272"/>
              <a:gd name="T12" fmla="*/ 347 w 425"/>
              <a:gd name="T13" fmla="*/ 238 h 272"/>
              <a:gd name="T14" fmla="*/ 324 w 425"/>
              <a:gd name="T15" fmla="*/ 235 h 272"/>
              <a:gd name="T16" fmla="*/ 295 w 425"/>
              <a:gd name="T17" fmla="*/ 235 h 272"/>
              <a:gd name="T18" fmla="*/ 263 w 425"/>
              <a:gd name="T19" fmla="*/ 243 h 272"/>
              <a:gd name="T20" fmla="*/ 232 w 425"/>
              <a:gd name="T21" fmla="*/ 254 h 272"/>
              <a:gd name="T22" fmla="*/ 197 w 425"/>
              <a:gd name="T23" fmla="*/ 267 h 272"/>
              <a:gd name="T24" fmla="*/ 100 w 425"/>
              <a:gd name="T25" fmla="*/ 240 h 272"/>
              <a:gd name="T26" fmla="*/ 85 w 425"/>
              <a:gd name="T27" fmla="*/ 226 h 272"/>
              <a:gd name="T28" fmla="*/ 70 w 425"/>
              <a:gd name="T29" fmla="*/ 214 h 272"/>
              <a:gd name="T30" fmla="*/ 37 w 425"/>
              <a:gd name="T31" fmla="*/ 192 h 272"/>
              <a:gd name="T32" fmla="*/ 22 w 425"/>
              <a:gd name="T33" fmla="*/ 180 h 272"/>
              <a:gd name="T34" fmla="*/ 11 w 425"/>
              <a:gd name="T35" fmla="*/ 167 h 272"/>
              <a:gd name="T36" fmla="*/ 2 w 425"/>
              <a:gd name="T37" fmla="*/ 150 h 272"/>
              <a:gd name="T38" fmla="*/ 0 w 425"/>
              <a:gd name="T39" fmla="*/ 129 h 272"/>
              <a:gd name="T40" fmla="*/ 50 w 425"/>
              <a:gd name="T41" fmla="*/ 66 h 272"/>
              <a:gd name="T42" fmla="*/ 71 w 425"/>
              <a:gd name="T43" fmla="*/ 36 h 272"/>
              <a:gd name="T44" fmla="*/ 80 w 425"/>
              <a:gd name="T45" fmla="*/ 22 h 272"/>
              <a:gd name="T46" fmla="*/ 85 w 425"/>
              <a:gd name="T47" fmla="*/ 6 h 272"/>
              <a:gd name="T48" fmla="*/ 123 w 425"/>
              <a:gd name="T49" fmla="*/ 10 h 272"/>
              <a:gd name="T50" fmla="*/ 153 w 425"/>
              <a:gd name="T51" fmla="*/ 18 h 272"/>
              <a:gd name="T52" fmla="*/ 180 w 425"/>
              <a:gd name="T53" fmla="*/ 27 h 272"/>
              <a:gd name="T54" fmla="*/ 205 w 425"/>
              <a:gd name="T55" fmla="*/ 31 h 272"/>
              <a:gd name="T56" fmla="*/ 214 w 425"/>
              <a:gd name="T57" fmla="*/ 29 h 272"/>
              <a:gd name="T58" fmla="*/ 221 w 425"/>
              <a:gd name="T59" fmla="*/ 26 h 272"/>
              <a:gd name="T60" fmla="*/ 232 w 425"/>
              <a:gd name="T61" fmla="*/ 15 h 272"/>
              <a:gd name="T62" fmla="*/ 242 w 425"/>
              <a:gd name="T63" fmla="*/ 5 h 272"/>
              <a:gd name="T64" fmla="*/ 250 w 425"/>
              <a:gd name="T65" fmla="*/ 2 h 272"/>
              <a:gd name="T66" fmla="*/ 259 w 425"/>
              <a:gd name="T67" fmla="*/ 0 h 272"/>
              <a:gd name="T68" fmla="*/ 275 w 425"/>
              <a:gd name="T69" fmla="*/ 2 h 272"/>
              <a:gd name="T70" fmla="*/ 289 w 425"/>
              <a:gd name="T71" fmla="*/ 7 h 272"/>
              <a:gd name="T72" fmla="*/ 302 w 425"/>
              <a:gd name="T73" fmla="*/ 15 h 272"/>
              <a:gd name="T74" fmla="*/ 310 w 425"/>
              <a:gd name="T75" fmla="*/ 26 h 272"/>
              <a:gd name="T76" fmla="*/ 325 w 425"/>
              <a:gd name="T77" fmla="*/ 53 h 272"/>
              <a:gd name="T78" fmla="*/ 337 w 425"/>
              <a:gd name="T79" fmla="*/ 82 h 272"/>
              <a:gd name="T80" fmla="*/ 349 w 425"/>
              <a:gd name="T81" fmla="*/ 113 h 272"/>
              <a:gd name="T82" fmla="*/ 356 w 425"/>
              <a:gd name="T83" fmla="*/ 126 h 272"/>
              <a:gd name="T84" fmla="*/ 365 w 425"/>
              <a:gd name="T85" fmla="*/ 138 h 272"/>
              <a:gd name="T86" fmla="*/ 376 w 425"/>
              <a:gd name="T87" fmla="*/ 147 h 272"/>
              <a:gd name="T88" fmla="*/ 389 w 425"/>
              <a:gd name="T89" fmla="*/ 156 h 272"/>
              <a:gd name="T90" fmla="*/ 405 w 425"/>
              <a:gd name="T91" fmla="*/ 160 h 272"/>
              <a:gd name="T92" fmla="*/ 425 w 425"/>
              <a:gd name="T93" fmla="*/ 161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78" name="Freeform 346">
            <a:extLst>
              <a:ext uri="{FF2B5EF4-FFF2-40B4-BE49-F238E27FC236}">
                <a16:creationId xmlns="" xmlns:a16="http://schemas.microsoft.com/office/drawing/2014/main" id="{830B87F0-F633-40F6-86FF-57855E5332B1}"/>
              </a:ext>
            </a:extLst>
          </p:cNvPr>
          <p:cNvSpPr>
            <a:spLocks/>
          </p:cNvSpPr>
          <p:nvPr>
            <p:custDataLst>
              <p:tags r:id="rId248"/>
            </p:custDataLst>
          </p:nvPr>
        </p:nvSpPr>
        <p:spPr bwMode="auto">
          <a:xfrm>
            <a:off x="2197157" y="3964087"/>
            <a:ext cx="17404" cy="57435"/>
          </a:xfrm>
          <a:custGeom>
            <a:avLst/>
            <a:gdLst>
              <a:gd name="T0" fmla="*/ 13 w 33"/>
              <a:gd name="T1" fmla="*/ 6 h 31"/>
              <a:gd name="T2" fmla="*/ 0 w 33"/>
              <a:gd name="T3" fmla="*/ 19 h 31"/>
              <a:gd name="T4" fmla="*/ 5 w 33"/>
              <a:gd name="T5" fmla="*/ 21 h 31"/>
              <a:gd name="T6" fmla="*/ 14 w 33"/>
              <a:gd name="T7" fmla="*/ 25 h 31"/>
              <a:gd name="T8" fmla="*/ 19 w 33"/>
              <a:gd name="T9" fmla="*/ 27 h 31"/>
              <a:gd name="T10" fmla="*/ 23 w 33"/>
              <a:gd name="T11" fmla="*/ 29 h 31"/>
              <a:gd name="T12" fmla="*/ 27 w 33"/>
              <a:gd name="T13" fmla="*/ 30 h 31"/>
              <a:gd name="T14" fmla="*/ 33 w 33"/>
              <a:gd name="T15" fmla="*/ 31 h 31"/>
              <a:gd name="T16" fmla="*/ 33 w 33"/>
              <a:gd name="T17" fmla="*/ 0 h 31"/>
              <a:gd name="T18" fmla="*/ 20 w 33"/>
              <a:gd name="T19" fmla="*/ 0 h 31"/>
              <a:gd name="T20" fmla="*/ 13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79" name="Freeform 347">
            <a:extLst>
              <a:ext uri="{FF2B5EF4-FFF2-40B4-BE49-F238E27FC236}">
                <a16:creationId xmlns="" xmlns:a16="http://schemas.microsoft.com/office/drawing/2014/main" id="{8B6FB732-F78E-4375-B4C5-89B8A2C52CB0}"/>
              </a:ext>
            </a:extLst>
          </p:cNvPr>
          <p:cNvSpPr>
            <a:spLocks/>
          </p:cNvSpPr>
          <p:nvPr>
            <p:custDataLst>
              <p:tags r:id="rId249"/>
            </p:custDataLst>
          </p:nvPr>
        </p:nvSpPr>
        <p:spPr bwMode="auto">
          <a:xfrm>
            <a:off x="4761445" y="2882684"/>
            <a:ext cx="104428" cy="82049"/>
          </a:xfrm>
          <a:custGeom>
            <a:avLst/>
            <a:gdLst>
              <a:gd name="T0" fmla="*/ 6 w 192"/>
              <a:gd name="T1" fmla="*/ 19 h 154"/>
              <a:gd name="T2" fmla="*/ 52 w 192"/>
              <a:gd name="T3" fmla="*/ 0 h 154"/>
              <a:gd name="T4" fmla="*/ 92 w 192"/>
              <a:gd name="T5" fmla="*/ 19 h 154"/>
              <a:gd name="T6" fmla="*/ 119 w 192"/>
              <a:gd name="T7" fmla="*/ 31 h 154"/>
              <a:gd name="T8" fmla="*/ 146 w 192"/>
              <a:gd name="T9" fmla="*/ 63 h 154"/>
              <a:gd name="T10" fmla="*/ 166 w 192"/>
              <a:gd name="T11" fmla="*/ 93 h 154"/>
              <a:gd name="T12" fmla="*/ 192 w 192"/>
              <a:gd name="T13" fmla="*/ 118 h 154"/>
              <a:gd name="T14" fmla="*/ 152 w 192"/>
              <a:gd name="T15" fmla="*/ 124 h 154"/>
              <a:gd name="T16" fmla="*/ 126 w 192"/>
              <a:gd name="T17" fmla="*/ 130 h 154"/>
              <a:gd name="T18" fmla="*/ 126 w 192"/>
              <a:gd name="T19" fmla="*/ 154 h 154"/>
              <a:gd name="T20" fmla="*/ 106 w 192"/>
              <a:gd name="T21" fmla="*/ 154 h 154"/>
              <a:gd name="T22" fmla="*/ 99 w 192"/>
              <a:gd name="T23" fmla="*/ 146 h 154"/>
              <a:gd name="T24" fmla="*/ 93 w 192"/>
              <a:gd name="T25" fmla="*/ 137 h 154"/>
              <a:gd name="T26" fmla="*/ 88 w 192"/>
              <a:gd name="T27" fmla="*/ 126 h 154"/>
              <a:gd name="T28" fmla="*/ 82 w 192"/>
              <a:gd name="T29" fmla="*/ 115 h 154"/>
              <a:gd name="T30" fmla="*/ 74 w 192"/>
              <a:gd name="T31" fmla="*/ 93 h 154"/>
              <a:gd name="T32" fmla="*/ 65 w 192"/>
              <a:gd name="T33" fmla="*/ 71 h 154"/>
              <a:gd name="T34" fmla="*/ 60 w 192"/>
              <a:gd name="T35" fmla="*/ 61 h 154"/>
              <a:gd name="T36" fmla="*/ 55 w 192"/>
              <a:gd name="T37" fmla="*/ 50 h 154"/>
              <a:gd name="T38" fmla="*/ 48 w 192"/>
              <a:gd name="T39" fmla="*/ 42 h 154"/>
              <a:gd name="T40" fmla="*/ 41 w 192"/>
              <a:gd name="T41" fmla="*/ 34 h 154"/>
              <a:gd name="T42" fmla="*/ 33 w 192"/>
              <a:gd name="T43" fmla="*/ 28 h 154"/>
              <a:gd name="T44" fmla="*/ 24 w 192"/>
              <a:gd name="T45" fmla="*/ 23 h 154"/>
              <a:gd name="T46" fmla="*/ 18 w 192"/>
              <a:gd name="T47" fmla="*/ 22 h 154"/>
              <a:gd name="T48" fmla="*/ 12 w 192"/>
              <a:gd name="T49" fmla="*/ 20 h 154"/>
              <a:gd name="T50" fmla="*/ 6 w 192"/>
              <a:gd name="T51" fmla="*/ 20 h 154"/>
              <a:gd name="T52" fmla="*/ 0 w 192"/>
              <a:gd name="T53" fmla="*/ 19 h 154"/>
              <a:gd name="T54" fmla="*/ 6 w 192"/>
              <a:gd name="T55" fmla="*/ 1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80" name="Freeform 348">
            <a:extLst>
              <a:ext uri="{FF2B5EF4-FFF2-40B4-BE49-F238E27FC236}">
                <a16:creationId xmlns="" xmlns:a16="http://schemas.microsoft.com/office/drawing/2014/main" id="{8F3BC6FD-4DA3-495A-B3FC-9F4DFCEF38A3}"/>
              </a:ext>
            </a:extLst>
          </p:cNvPr>
          <p:cNvSpPr>
            <a:spLocks/>
          </p:cNvSpPr>
          <p:nvPr>
            <p:custDataLst>
              <p:tags r:id="rId250"/>
            </p:custDataLst>
          </p:nvPr>
        </p:nvSpPr>
        <p:spPr bwMode="auto">
          <a:xfrm>
            <a:off x="4660885" y="2761252"/>
            <a:ext cx="464124" cy="255992"/>
          </a:xfrm>
          <a:custGeom>
            <a:avLst/>
            <a:gdLst>
              <a:gd name="T0" fmla="*/ 392 w 877"/>
              <a:gd name="T1" fmla="*/ 340 h 469"/>
              <a:gd name="T2" fmla="*/ 319 w 877"/>
              <a:gd name="T3" fmla="*/ 253 h 469"/>
              <a:gd name="T4" fmla="*/ 206 w 877"/>
              <a:gd name="T5" fmla="*/ 241 h 469"/>
              <a:gd name="T6" fmla="*/ 191 w 877"/>
              <a:gd name="T7" fmla="*/ 243 h 469"/>
              <a:gd name="T8" fmla="*/ 178 w 877"/>
              <a:gd name="T9" fmla="*/ 251 h 469"/>
              <a:gd name="T10" fmla="*/ 162 w 877"/>
              <a:gd name="T11" fmla="*/ 267 h 469"/>
              <a:gd name="T12" fmla="*/ 151 w 877"/>
              <a:gd name="T13" fmla="*/ 271 h 469"/>
              <a:gd name="T14" fmla="*/ 121 w 877"/>
              <a:gd name="T15" fmla="*/ 268 h 469"/>
              <a:gd name="T16" fmla="*/ 79 w 877"/>
              <a:gd name="T17" fmla="*/ 255 h 469"/>
              <a:gd name="T18" fmla="*/ 26 w 877"/>
              <a:gd name="T19" fmla="*/ 247 h 469"/>
              <a:gd name="T20" fmla="*/ 8 w 877"/>
              <a:gd name="T21" fmla="*/ 212 h 469"/>
              <a:gd name="T22" fmla="*/ 13 w 877"/>
              <a:gd name="T23" fmla="*/ 187 h 469"/>
              <a:gd name="T24" fmla="*/ 13 w 877"/>
              <a:gd name="T25" fmla="*/ 180 h 469"/>
              <a:gd name="T26" fmla="*/ 23 w 877"/>
              <a:gd name="T27" fmla="*/ 144 h 469"/>
              <a:gd name="T28" fmla="*/ 44 w 877"/>
              <a:gd name="T29" fmla="*/ 112 h 469"/>
              <a:gd name="T30" fmla="*/ 54 w 877"/>
              <a:gd name="T31" fmla="*/ 92 h 469"/>
              <a:gd name="T32" fmla="*/ 26 w 877"/>
              <a:gd name="T33" fmla="*/ 50 h 469"/>
              <a:gd name="T34" fmla="*/ 173 w 877"/>
              <a:gd name="T35" fmla="*/ 26 h 469"/>
              <a:gd name="T36" fmla="*/ 339 w 877"/>
              <a:gd name="T37" fmla="*/ 50 h 469"/>
              <a:gd name="T38" fmla="*/ 392 w 877"/>
              <a:gd name="T39" fmla="*/ 13 h 469"/>
              <a:gd name="T40" fmla="*/ 485 w 877"/>
              <a:gd name="T41" fmla="*/ 0 h 469"/>
              <a:gd name="T42" fmla="*/ 579 w 877"/>
              <a:gd name="T43" fmla="*/ 38 h 469"/>
              <a:gd name="T44" fmla="*/ 638 w 877"/>
              <a:gd name="T45" fmla="*/ 111 h 469"/>
              <a:gd name="T46" fmla="*/ 725 w 877"/>
              <a:gd name="T47" fmla="*/ 111 h 469"/>
              <a:gd name="T48" fmla="*/ 838 w 877"/>
              <a:gd name="T49" fmla="*/ 155 h 469"/>
              <a:gd name="T50" fmla="*/ 864 w 877"/>
              <a:gd name="T51" fmla="*/ 235 h 469"/>
              <a:gd name="T52" fmla="*/ 804 w 877"/>
              <a:gd name="T53" fmla="*/ 272 h 469"/>
              <a:gd name="T54" fmla="*/ 754 w 877"/>
              <a:gd name="T55" fmla="*/ 313 h 469"/>
              <a:gd name="T56" fmla="*/ 688 w 877"/>
              <a:gd name="T57" fmla="*/ 330 h 469"/>
              <a:gd name="T58" fmla="*/ 663 w 877"/>
              <a:gd name="T59" fmla="*/ 343 h 469"/>
              <a:gd name="T60" fmla="*/ 648 w 877"/>
              <a:gd name="T61" fmla="*/ 358 h 469"/>
              <a:gd name="T62" fmla="*/ 646 w 877"/>
              <a:gd name="T63" fmla="*/ 375 h 469"/>
              <a:gd name="T64" fmla="*/ 653 w 877"/>
              <a:gd name="T65" fmla="*/ 390 h 469"/>
              <a:gd name="T66" fmla="*/ 666 w 877"/>
              <a:gd name="T67" fmla="*/ 401 h 469"/>
              <a:gd name="T68" fmla="*/ 711 w 877"/>
              <a:gd name="T69" fmla="*/ 396 h 469"/>
              <a:gd name="T70" fmla="*/ 741 w 877"/>
              <a:gd name="T71" fmla="*/ 394 h 469"/>
              <a:gd name="T72" fmla="*/ 734 w 877"/>
              <a:gd name="T73" fmla="*/ 403 h 469"/>
              <a:gd name="T74" fmla="*/ 716 w 877"/>
              <a:gd name="T75" fmla="*/ 421 h 469"/>
              <a:gd name="T76" fmla="*/ 698 w 877"/>
              <a:gd name="T77" fmla="*/ 438 h 469"/>
              <a:gd name="T78" fmla="*/ 689 w 877"/>
              <a:gd name="T79" fmla="*/ 419 h 469"/>
              <a:gd name="T80" fmla="*/ 671 w 877"/>
              <a:gd name="T81" fmla="*/ 408 h 469"/>
              <a:gd name="T82" fmla="*/ 666 w 877"/>
              <a:gd name="T83" fmla="*/ 423 h 469"/>
              <a:gd name="T84" fmla="*/ 643 w 877"/>
              <a:gd name="T85" fmla="*/ 442 h 469"/>
              <a:gd name="T86" fmla="*/ 619 w 877"/>
              <a:gd name="T87" fmla="*/ 460 h 469"/>
              <a:gd name="T88" fmla="*/ 611 w 877"/>
              <a:gd name="T89" fmla="*/ 469 h 469"/>
              <a:gd name="T90" fmla="*/ 595 w 877"/>
              <a:gd name="T91" fmla="*/ 464 h 469"/>
              <a:gd name="T92" fmla="*/ 584 w 877"/>
              <a:gd name="T93" fmla="*/ 455 h 469"/>
              <a:gd name="T94" fmla="*/ 575 w 877"/>
              <a:gd name="T95" fmla="*/ 439 h 469"/>
              <a:gd name="T96" fmla="*/ 572 w 877"/>
              <a:gd name="T97" fmla="*/ 408 h 469"/>
              <a:gd name="T98" fmla="*/ 548 w 877"/>
              <a:gd name="T99" fmla="*/ 404 h 469"/>
              <a:gd name="T100" fmla="*/ 518 w 877"/>
              <a:gd name="T101" fmla="*/ 389 h 469"/>
              <a:gd name="T102" fmla="*/ 559 w 877"/>
              <a:gd name="T103" fmla="*/ 379 h 469"/>
              <a:gd name="T104" fmla="*/ 625 w 877"/>
              <a:gd name="T105" fmla="*/ 370 h 469"/>
              <a:gd name="T106" fmla="*/ 493 w 877"/>
              <a:gd name="T107" fmla="*/ 354 h 469"/>
              <a:gd name="T108" fmla="*/ 445 w 877"/>
              <a:gd name="T109" fmla="*/ 333 h 469"/>
              <a:gd name="T110" fmla="*/ 398 w 877"/>
              <a:gd name="T111" fmla="*/ 369 h 469"/>
              <a:gd name="T112" fmla="*/ 380 w 877"/>
              <a:gd name="T113" fmla="*/ 395 h 469"/>
              <a:gd name="T114" fmla="*/ 353 w 877"/>
              <a:gd name="T115" fmla="*/ 400 h 469"/>
              <a:gd name="T116" fmla="*/ 328 w 877"/>
              <a:gd name="T117" fmla="*/ 392 h 469"/>
              <a:gd name="T118" fmla="*/ 306 w 877"/>
              <a:gd name="T119" fmla="*/ 376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81" name="Freeform 349">
            <a:extLst>
              <a:ext uri="{FF2B5EF4-FFF2-40B4-BE49-F238E27FC236}">
                <a16:creationId xmlns="" xmlns:a16="http://schemas.microsoft.com/office/drawing/2014/main" id="{A998A9FC-04F0-4DDE-B5AE-6DB7187A0A74}"/>
              </a:ext>
            </a:extLst>
          </p:cNvPr>
          <p:cNvSpPr>
            <a:spLocks/>
          </p:cNvSpPr>
          <p:nvPr>
            <p:custDataLst>
              <p:tags r:id="rId251"/>
            </p:custDataLst>
          </p:nvPr>
        </p:nvSpPr>
        <p:spPr bwMode="auto">
          <a:xfrm>
            <a:off x="5283586" y="3115703"/>
            <a:ext cx="58015" cy="65639"/>
          </a:xfrm>
          <a:custGeom>
            <a:avLst/>
            <a:gdLst>
              <a:gd name="T0" fmla="*/ 48 w 107"/>
              <a:gd name="T1" fmla="*/ 0 h 123"/>
              <a:gd name="T2" fmla="*/ 81 w 107"/>
              <a:gd name="T3" fmla="*/ 31 h 123"/>
              <a:gd name="T4" fmla="*/ 94 w 107"/>
              <a:gd name="T5" fmla="*/ 67 h 123"/>
              <a:gd name="T6" fmla="*/ 107 w 107"/>
              <a:gd name="T7" fmla="*/ 86 h 123"/>
              <a:gd name="T8" fmla="*/ 107 w 107"/>
              <a:gd name="T9" fmla="*/ 117 h 123"/>
              <a:gd name="T10" fmla="*/ 107 w 107"/>
              <a:gd name="T11" fmla="*/ 123 h 123"/>
              <a:gd name="T12" fmla="*/ 88 w 107"/>
              <a:gd name="T13" fmla="*/ 114 h 123"/>
              <a:gd name="T14" fmla="*/ 73 w 107"/>
              <a:gd name="T15" fmla="*/ 105 h 123"/>
              <a:gd name="T16" fmla="*/ 61 w 107"/>
              <a:gd name="T17" fmla="*/ 98 h 123"/>
              <a:gd name="T18" fmla="*/ 54 w 107"/>
              <a:gd name="T19" fmla="*/ 92 h 123"/>
              <a:gd name="T20" fmla="*/ 51 w 107"/>
              <a:gd name="T21" fmla="*/ 83 h 123"/>
              <a:gd name="T22" fmla="*/ 48 w 107"/>
              <a:gd name="T23" fmla="*/ 73 h 123"/>
              <a:gd name="T24" fmla="*/ 39 w 107"/>
              <a:gd name="T25" fmla="*/ 74 h 123"/>
              <a:gd name="T26" fmla="*/ 32 w 107"/>
              <a:gd name="T27" fmla="*/ 73 h 123"/>
              <a:gd name="T28" fmla="*/ 26 w 107"/>
              <a:gd name="T29" fmla="*/ 72 h 123"/>
              <a:gd name="T30" fmla="*/ 21 w 107"/>
              <a:gd name="T31" fmla="*/ 70 h 123"/>
              <a:gd name="T32" fmla="*/ 17 w 107"/>
              <a:gd name="T33" fmla="*/ 67 h 123"/>
              <a:gd name="T34" fmla="*/ 14 w 107"/>
              <a:gd name="T35" fmla="*/ 63 h 123"/>
              <a:gd name="T36" fmla="*/ 11 w 107"/>
              <a:gd name="T37" fmla="*/ 59 h 123"/>
              <a:gd name="T38" fmla="*/ 9 w 107"/>
              <a:gd name="T39" fmla="*/ 54 h 123"/>
              <a:gd name="T40" fmla="*/ 4 w 107"/>
              <a:gd name="T41" fmla="*/ 31 h 123"/>
              <a:gd name="T42" fmla="*/ 0 w 107"/>
              <a:gd name="T43" fmla="*/ 6 h 123"/>
              <a:gd name="T44" fmla="*/ 34 w 107"/>
              <a:gd name="T45" fmla="*/ 0 h 123"/>
              <a:gd name="T46" fmla="*/ 48 w 107"/>
              <a:gd name="T4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82" name="Freeform 350">
            <a:extLst>
              <a:ext uri="{FF2B5EF4-FFF2-40B4-BE49-F238E27FC236}">
                <a16:creationId xmlns="" xmlns:a16="http://schemas.microsoft.com/office/drawing/2014/main" id="{9953E68E-E134-4BA4-A909-A55E51CF99F5}"/>
              </a:ext>
            </a:extLst>
          </p:cNvPr>
          <p:cNvSpPr>
            <a:spLocks/>
          </p:cNvSpPr>
          <p:nvPr>
            <p:custDataLst>
              <p:tags r:id="rId252"/>
            </p:custDataLst>
          </p:nvPr>
        </p:nvSpPr>
        <p:spPr bwMode="auto">
          <a:xfrm>
            <a:off x="5944963" y="3130471"/>
            <a:ext cx="253334" cy="126355"/>
          </a:xfrm>
          <a:custGeom>
            <a:avLst/>
            <a:gdLst>
              <a:gd name="T0" fmla="*/ 106 w 471"/>
              <a:gd name="T1" fmla="*/ 67 h 234"/>
              <a:gd name="T2" fmla="*/ 166 w 471"/>
              <a:gd name="T3" fmla="*/ 86 h 234"/>
              <a:gd name="T4" fmla="*/ 272 w 471"/>
              <a:gd name="T5" fmla="*/ 105 h 234"/>
              <a:gd name="T6" fmla="*/ 372 w 471"/>
              <a:gd name="T7" fmla="*/ 86 h 234"/>
              <a:gd name="T8" fmla="*/ 383 w 471"/>
              <a:gd name="T9" fmla="*/ 95 h 234"/>
              <a:gd name="T10" fmla="*/ 391 w 471"/>
              <a:gd name="T11" fmla="*/ 114 h 234"/>
              <a:gd name="T12" fmla="*/ 406 w 471"/>
              <a:gd name="T13" fmla="*/ 124 h 234"/>
              <a:gd name="T14" fmla="*/ 424 w 471"/>
              <a:gd name="T15" fmla="*/ 129 h 234"/>
              <a:gd name="T16" fmla="*/ 433 w 471"/>
              <a:gd name="T17" fmla="*/ 134 h 234"/>
              <a:gd name="T18" fmla="*/ 441 w 471"/>
              <a:gd name="T19" fmla="*/ 141 h 234"/>
              <a:gd name="T20" fmla="*/ 448 w 471"/>
              <a:gd name="T21" fmla="*/ 151 h 234"/>
              <a:gd name="T22" fmla="*/ 455 w 471"/>
              <a:gd name="T23" fmla="*/ 170 h 234"/>
              <a:gd name="T24" fmla="*/ 471 w 471"/>
              <a:gd name="T25" fmla="*/ 190 h 234"/>
              <a:gd name="T26" fmla="*/ 350 w 471"/>
              <a:gd name="T27" fmla="*/ 202 h 234"/>
              <a:gd name="T28" fmla="*/ 330 w 471"/>
              <a:gd name="T29" fmla="*/ 224 h 234"/>
              <a:gd name="T30" fmla="*/ 317 w 471"/>
              <a:gd name="T31" fmla="*/ 233 h 234"/>
              <a:gd name="T32" fmla="*/ 306 w 471"/>
              <a:gd name="T33" fmla="*/ 233 h 234"/>
              <a:gd name="T34" fmla="*/ 298 w 471"/>
              <a:gd name="T35" fmla="*/ 230 h 234"/>
              <a:gd name="T36" fmla="*/ 292 w 471"/>
              <a:gd name="T37" fmla="*/ 224 h 234"/>
              <a:gd name="T38" fmla="*/ 289 w 471"/>
              <a:gd name="T39" fmla="*/ 216 h 234"/>
              <a:gd name="T40" fmla="*/ 284 w 471"/>
              <a:gd name="T41" fmla="*/ 199 h 234"/>
              <a:gd name="T42" fmla="*/ 278 w 471"/>
              <a:gd name="T43" fmla="*/ 174 h 234"/>
              <a:gd name="T44" fmla="*/ 269 w 471"/>
              <a:gd name="T45" fmla="*/ 155 h 234"/>
              <a:gd name="T46" fmla="*/ 258 w 471"/>
              <a:gd name="T47" fmla="*/ 148 h 234"/>
              <a:gd name="T48" fmla="*/ 246 w 471"/>
              <a:gd name="T49" fmla="*/ 141 h 234"/>
              <a:gd name="T50" fmla="*/ 236 w 471"/>
              <a:gd name="T51" fmla="*/ 133 h 234"/>
              <a:gd name="T52" fmla="*/ 224 w 471"/>
              <a:gd name="T53" fmla="*/ 140 h 234"/>
              <a:gd name="T54" fmla="*/ 207 w 471"/>
              <a:gd name="T55" fmla="*/ 162 h 234"/>
              <a:gd name="T56" fmla="*/ 200 w 471"/>
              <a:gd name="T57" fmla="*/ 177 h 234"/>
              <a:gd name="T58" fmla="*/ 188 w 471"/>
              <a:gd name="T59" fmla="*/ 190 h 234"/>
              <a:gd name="T60" fmla="*/ 167 w 471"/>
              <a:gd name="T61" fmla="*/ 201 h 234"/>
              <a:gd name="T62" fmla="*/ 147 w 471"/>
              <a:gd name="T63" fmla="*/ 213 h 234"/>
              <a:gd name="T64" fmla="*/ 130 w 471"/>
              <a:gd name="T65" fmla="*/ 219 h 234"/>
              <a:gd name="T66" fmla="*/ 114 w 471"/>
              <a:gd name="T67" fmla="*/ 222 h 234"/>
              <a:gd name="T68" fmla="*/ 97 w 471"/>
              <a:gd name="T69" fmla="*/ 221 h 234"/>
              <a:gd name="T70" fmla="*/ 82 w 471"/>
              <a:gd name="T71" fmla="*/ 217 h 234"/>
              <a:gd name="T72" fmla="*/ 63 w 471"/>
              <a:gd name="T73" fmla="*/ 205 h 234"/>
              <a:gd name="T74" fmla="*/ 59 w 471"/>
              <a:gd name="T75" fmla="*/ 197 h 234"/>
              <a:gd name="T76" fmla="*/ 59 w 471"/>
              <a:gd name="T77" fmla="*/ 135 h 234"/>
              <a:gd name="T78" fmla="*/ 0 w 471"/>
              <a:gd name="T79" fmla="*/ 98 h 234"/>
              <a:gd name="T80" fmla="*/ 53 w 471"/>
              <a:gd name="T81" fmla="*/ 80 h 234"/>
              <a:gd name="T82" fmla="*/ 86 w 471"/>
              <a:gd name="T83" fmla="*/ 30 h 234"/>
              <a:gd name="T84" fmla="*/ 133 w 471"/>
              <a:gd name="T85" fmla="*/ 0 h 234"/>
              <a:gd name="T86" fmla="*/ 166 w 471"/>
              <a:gd name="T87" fmla="*/ 4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83" name="Freeform 351">
            <a:extLst>
              <a:ext uri="{FF2B5EF4-FFF2-40B4-BE49-F238E27FC236}">
                <a16:creationId xmlns="" xmlns:a16="http://schemas.microsoft.com/office/drawing/2014/main" id="{381BD721-F5A9-46A5-A7D4-96493402EF16}"/>
              </a:ext>
            </a:extLst>
          </p:cNvPr>
          <p:cNvSpPr>
            <a:spLocks/>
          </p:cNvSpPr>
          <p:nvPr>
            <p:custDataLst>
              <p:tags r:id="rId253"/>
            </p:custDataLst>
          </p:nvPr>
        </p:nvSpPr>
        <p:spPr bwMode="auto">
          <a:xfrm>
            <a:off x="6004911" y="3056627"/>
            <a:ext cx="274607" cy="129637"/>
          </a:xfrm>
          <a:custGeom>
            <a:avLst/>
            <a:gdLst>
              <a:gd name="T0" fmla="*/ 106 w 525"/>
              <a:gd name="T1" fmla="*/ 185 h 241"/>
              <a:gd name="T2" fmla="*/ 173 w 525"/>
              <a:gd name="T3" fmla="*/ 148 h 241"/>
              <a:gd name="T4" fmla="*/ 93 w 525"/>
              <a:gd name="T5" fmla="*/ 105 h 241"/>
              <a:gd name="T6" fmla="*/ 47 w 525"/>
              <a:gd name="T7" fmla="*/ 117 h 241"/>
              <a:gd name="T8" fmla="*/ 66 w 525"/>
              <a:gd name="T9" fmla="*/ 61 h 241"/>
              <a:gd name="T10" fmla="*/ 40 w 525"/>
              <a:gd name="T11" fmla="*/ 43 h 241"/>
              <a:gd name="T12" fmla="*/ 112 w 525"/>
              <a:gd name="T13" fmla="*/ 25 h 241"/>
              <a:gd name="T14" fmla="*/ 186 w 525"/>
              <a:gd name="T15" fmla="*/ 0 h 241"/>
              <a:gd name="T16" fmla="*/ 312 w 525"/>
              <a:gd name="T17" fmla="*/ 19 h 241"/>
              <a:gd name="T18" fmla="*/ 439 w 525"/>
              <a:gd name="T19" fmla="*/ 25 h 241"/>
              <a:gd name="T20" fmla="*/ 525 w 525"/>
              <a:gd name="T21" fmla="*/ 55 h 241"/>
              <a:gd name="T22" fmla="*/ 519 w 525"/>
              <a:gd name="T23" fmla="*/ 69 h 241"/>
              <a:gd name="T24" fmla="*/ 510 w 525"/>
              <a:gd name="T25" fmla="*/ 82 h 241"/>
              <a:gd name="T26" fmla="*/ 499 w 525"/>
              <a:gd name="T27" fmla="*/ 92 h 241"/>
              <a:gd name="T28" fmla="*/ 485 w 525"/>
              <a:gd name="T29" fmla="*/ 99 h 241"/>
              <a:gd name="T30" fmla="*/ 442 w 525"/>
              <a:gd name="T31" fmla="*/ 103 h 241"/>
              <a:gd name="T32" fmla="*/ 418 w 525"/>
              <a:gd name="T33" fmla="*/ 107 h 241"/>
              <a:gd name="T34" fmla="*/ 407 w 525"/>
              <a:gd name="T35" fmla="*/ 111 h 241"/>
              <a:gd name="T36" fmla="*/ 399 w 525"/>
              <a:gd name="T37" fmla="*/ 117 h 241"/>
              <a:gd name="T38" fmla="*/ 387 w 525"/>
              <a:gd name="T39" fmla="*/ 136 h 241"/>
              <a:gd name="T40" fmla="*/ 378 w 525"/>
              <a:gd name="T41" fmla="*/ 147 h 241"/>
              <a:gd name="T42" fmla="*/ 365 w 525"/>
              <a:gd name="T43" fmla="*/ 154 h 241"/>
              <a:gd name="T44" fmla="*/ 305 w 525"/>
              <a:gd name="T45" fmla="*/ 166 h 241"/>
              <a:gd name="T46" fmla="*/ 273 w 525"/>
              <a:gd name="T47" fmla="*/ 173 h 241"/>
              <a:gd name="T48" fmla="*/ 260 w 525"/>
              <a:gd name="T49" fmla="*/ 178 h 241"/>
              <a:gd name="T50" fmla="*/ 261 w 525"/>
              <a:gd name="T51" fmla="*/ 192 h 241"/>
              <a:gd name="T52" fmla="*/ 263 w 525"/>
              <a:gd name="T53" fmla="*/ 203 h 241"/>
              <a:gd name="T54" fmla="*/ 273 w 525"/>
              <a:gd name="T55" fmla="*/ 222 h 241"/>
              <a:gd name="T56" fmla="*/ 219 w 525"/>
              <a:gd name="T57" fmla="*/ 228 h 241"/>
              <a:gd name="T58" fmla="*/ 112 w 525"/>
              <a:gd name="T59" fmla="*/ 234 h 241"/>
              <a:gd name="T60" fmla="*/ 20 w 525"/>
              <a:gd name="T61" fmla="*/ 222 h 241"/>
              <a:gd name="T62" fmla="*/ 53 w 525"/>
              <a:gd name="T63" fmla="*/ 166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84" name="Freeform 352">
            <a:extLst>
              <a:ext uri="{FF2B5EF4-FFF2-40B4-BE49-F238E27FC236}">
                <a16:creationId xmlns="" xmlns:a16="http://schemas.microsoft.com/office/drawing/2014/main" id="{5EF0357C-7480-4A9A-934A-7A1836E4AF7D}"/>
              </a:ext>
            </a:extLst>
          </p:cNvPr>
          <p:cNvSpPr>
            <a:spLocks/>
          </p:cNvSpPr>
          <p:nvPr>
            <p:custDataLst>
              <p:tags r:id="rId254"/>
            </p:custDataLst>
          </p:nvPr>
        </p:nvSpPr>
        <p:spPr bwMode="auto">
          <a:xfrm>
            <a:off x="5525316" y="3073037"/>
            <a:ext cx="417712" cy="234659"/>
          </a:xfrm>
          <a:custGeom>
            <a:avLst/>
            <a:gdLst>
              <a:gd name="T0" fmla="*/ 768 w 784"/>
              <a:gd name="T1" fmla="*/ 292 h 430"/>
              <a:gd name="T2" fmla="*/ 751 w 784"/>
              <a:gd name="T3" fmla="*/ 293 h 430"/>
              <a:gd name="T4" fmla="*/ 731 w 784"/>
              <a:gd name="T5" fmla="*/ 302 h 430"/>
              <a:gd name="T6" fmla="*/ 723 w 784"/>
              <a:gd name="T7" fmla="*/ 308 h 430"/>
              <a:gd name="T8" fmla="*/ 717 w 784"/>
              <a:gd name="T9" fmla="*/ 332 h 430"/>
              <a:gd name="T10" fmla="*/ 713 w 784"/>
              <a:gd name="T11" fmla="*/ 360 h 430"/>
              <a:gd name="T12" fmla="*/ 704 w 784"/>
              <a:gd name="T13" fmla="*/ 376 h 430"/>
              <a:gd name="T14" fmla="*/ 671 w 784"/>
              <a:gd name="T15" fmla="*/ 402 h 430"/>
              <a:gd name="T16" fmla="*/ 633 w 784"/>
              <a:gd name="T17" fmla="*/ 420 h 430"/>
              <a:gd name="T18" fmla="*/ 612 w 784"/>
              <a:gd name="T19" fmla="*/ 424 h 430"/>
              <a:gd name="T20" fmla="*/ 587 w 784"/>
              <a:gd name="T21" fmla="*/ 429 h 430"/>
              <a:gd name="T22" fmla="*/ 567 w 784"/>
              <a:gd name="T23" fmla="*/ 428 h 430"/>
              <a:gd name="T24" fmla="*/ 545 w 784"/>
              <a:gd name="T25" fmla="*/ 388 h 430"/>
              <a:gd name="T26" fmla="*/ 515 w 784"/>
              <a:gd name="T27" fmla="*/ 344 h 430"/>
              <a:gd name="T28" fmla="*/ 478 w 784"/>
              <a:gd name="T29" fmla="*/ 334 h 430"/>
              <a:gd name="T30" fmla="*/ 448 w 784"/>
              <a:gd name="T31" fmla="*/ 315 h 430"/>
              <a:gd name="T32" fmla="*/ 417 w 784"/>
              <a:gd name="T33" fmla="*/ 294 h 430"/>
              <a:gd name="T34" fmla="*/ 373 w 784"/>
              <a:gd name="T35" fmla="*/ 274 h 430"/>
              <a:gd name="T36" fmla="*/ 306 w 784"/>
              <a:gd name="T37" fmla="*/ 258 h 430"/>
              <a:gd name="T38" fmla="*/ 182 w 784"/>
              <a:gd name="T39" fmla="*/ 283 h 430"/>
              <a:gd name="T40" fmla="*/ 151 w 784"/>
              <a:gd name="T41" fmla="*/ 306 h 430"/>
              <a:gd name="T42" fmla="*/ 127 w 784"/>
              <a:gd name="T43" fmla="*/ 308 h 430"/>
              <a:gd name="T44" fmla="*/ 66 w 784"/>
              <a:gd name="T45" fmla="*/ 252 h 430"/>
              <a:gd name="T46" fmla="*/ 66 w 784"/>
              <a:gd name="T47" fmla="*/ 204 h 430"/>
              <a:gd name="T48" fmla="*/ 40 w 784"/>
              <a:gd name="T49" fmla="*/ 179 h 430"/>
              <a:gd name="T50" fmla="*/ 42 w 784"/>
              <a:gd name="T51" fmla="*/ 199 h 430"/>
              <a:gd name="T52" fmla="*/ 36 w 784"/>
              <a:gd name="T53" fmla="*/ 218 h 430"/>
              <a:gd name="T54" fmla="*/ 30 w 784"/>
              <a:gd name="T55" fmla="*/ 221 h 430"/>
              <a:gd name="T56" fmla="*/ 31 w 784"/>
              <a:gd name="T57" fmla="*/ 203 h 430"/>
              <a:gd name="T58" fmla="*/ 27 w 784"/>
              <a:gd name="T59" fmla="*/ 174 h 430"/>
              <a:gd name="T60" fmla="*/ 33 w 784"/>
              <a:gd name="T61" fmla="*/ 163 h 430"/>
              <a:gd name="T62" fmla="*/ 40 w 784"/>
              <a:gd name="T63" fmla="*/ 152 h 430"/>
              <a:gd name="T64" fmla="*/ 27 w 784"/>
              <a:gd name="T65" fmla="*/ 129 h 430"/>
              <a:gd name="T66" fmla="*/ 7 w 784"/>
              <a:gd name="T67" fmla="*/ 126 h 430"/>
              <a:gd name="T68" fmla="*/ 0 w 784"/>
              <a:gd name="T69" fmla="*/ 117 h 430"/>
              <a:gd name="T70" fmla="*/ 3 w 784"/>
              <a:gd name="T71" fmla="*/ 104 h 430"/>
              <a:gd name="T72" fmla="*/ 11 w 784"/>
              <a:gd name="T73" fmla="*/ 94 h 430"/>
              <a:gd name="T74" fmla="*/ 27 w 784"/>
              <a:gd name="T75" fmla="*/ 92 h 430"/>
              <a:gd name="T76" fmla="*/ 41 w 784"/>
              <a:gd name="T77" fmla="*/ 99 h 430"/>
              <a:gd name="T78" fmla="*/ 57 w 784"/>
              <a:gd name="T79" fmla="*/ 104 h 430"/>
              <a:gd name="T80" fmla="*/ 71 w 784"/>
              <a:gd name="T81" fmla="*/ 92 h 430"/>
              <a:gd name="T82" fmla="*/ 83 w 784"/>
              <a:gd name="T83" fmla="*/ 77 h 430"/>
              <a:gd name="T84" fmla="*/ 87 w 784"/>
              <a:gd name="T85" fmla="*/ 64 h 430"/>
              <a:gd name="T86" fmla="*/ 78 w 784"/>
              <a:gd name="T87" fmla="*/ 55 h 430"/>
              <a:gd name="T88" fmla="*/ 55 w 784"/>
              <a:gd name="T89" fmla="*/ 49 h 430"/>
              <a:gd name="T90" fmla="*/ 47 w 784"/>
              <a:gd name="T91" fmla="*/ 40 h 430"/>
              <a:gd name="T92" fmla="*/ 41 w 784"/>
              <a:gd name="T93" fmla="*/ 28 h 430"/>
              <a:gd name="T94" fmla="*/ 107 w 784"/>
              <a:gd name="T95" fmla="*/ 43 h 430"/>
              <a:gd name="T96" fmla="*/ 219 w 784"/>
              <a:gd name="T97" fmla="*/ 74 h 430"/>
              <a:gd name="T98" fmla="*/ 273 w 784"/>
              <a:gd name="T99" fmla="*/ 0 h 430"/>
              <a:gd name="T100" fmla="*/ 373 w 784"/>
              <a:gd name="T101" fmla="*/ 43 h 430"/>
              <a:gd name="T102" fmla="*/ 465 w 784"/>
              <a:gd name="T103" fmla="*/ 92 h 430"/>
              <a:gd name="T104" fmla="*/ 591 w 784"/>
              <a:gd name="T105" fmla="*/ 210 h 430"/>
              <a:gd name="T106" fmla="*/ 724 w 784"/>
              <a:gd name="T107" fmla="*/ 265 h 430"/>
              <a:gd name="T108" fmla="*/ 778 w 784"/>
              <a:gd name="T109" fmla="*/ 2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85" name="Freeform 353">
            <a:extLst>
              <a:ext uri="{FF2B5EF4-FFF2-40B4-BE49-F238E27FC236}">
                <a16:creationId xmlns="" xmlns:a16="http://schemas.microsoft.com/office/drawing/2014/main" id="{F18A3C6E-2407-47B7-A618-9E403AE81E71}"/>
              </a:ext>
            </a:extLst>
          </p:cNvPr>
          <p:cNvSpPr>
            <a:spLocks/>
          </p:cNvSpPr>
          <p:nvPr>
            <p:custDataLst>
              <p:tags r:id="rId255"/>
            </p:custDataLst>
          </p:nvPr>
        </p:nvSpPr>
        <p:spPr bwMode="auto">
          <a:xfrm>
            <a:off x="4562258" y="2956528"/>
            <a:ext cx="131502" cy="154252"/>
          </a:xfrm>
          <a:custGeom>
            <a:avLst/>
            <a:gdLst>
              <a:gd name="T0" fmla="*/ 30 w 246"/>
              <a:gd name="T1" fmla="*/ 27 h 284"/>
              <a:gd name="T2" fmla="*/ 28 w 246"/>
              <a:gd name="T3" fmla="*/ 24 h 284"/>
              <a:gd name="T4" fmla="*/ 24 w 246"/>
              <a:gd name="T5" fmla="*/ 17 h 284"/>
              <a:gd name="T6" fmla="*/ 35 w 246"/>
              <a:gd name="T7" fmla="*/ 5 h 284"/>
              <a:gd name="T8" fmla="*/ 67 w 246"/>
              <a:gd name="T9" fmla="*/ 1 h 284"/>
              <a:gd name="T10" fmla="*/ 126 w 246"/>
              <a:gd name="T11" fmla="*/ 12 h 284"/>
              <a:gd name="T12" fmla="*/ 131 w 246"/>
              <a:gd name="T13" fmla="*/ 30 h 284"/>
              <a:gd name="T14" fmla="*/ 139 w 246"/>
              <a:gd name="T15" fmla="*/ 46 h 284"/>
              <a:gd name="T16" fmla="*/ 151 w 246"/>
              <a:gd name="T17" fmla="*/ 57 h 284"/>
              <a:gd name="T18" fmla="*/ 165 w 246"/>
              <a:gd name="T19" fmla="*/ 67 h 284"/>
              <a:gd name="T20" fmla="*/ 191 w 246"/>
              <a:gd name="T21" fmla="*/ 87 h 284"/>
              <a:gd name="T22" fmla="*/ 203 w 246"/>
              <a:gd name="T23" fmla="*/ 101 h 284"/>
              <a:gd name="T24" fmla="*/ 212 w 246"/>
              <a:gd name="T25" fmla="*/ 117 h 284"/>
              <a:gd name="T26" fmla="*/ 226 w 246"/>
              <a:gd name="T27" fmla="*/ 117 h 284"/>
              <a:gd name="T28" fmla="*/ 221 w 246"/>
              <a:gd name="T29" fmla="*/ 124 h 284"/>
              <a:gd name="T30" fmla="*/ 221 w 246"/>
              <a:gd name="T31" fmla="*/ 129 h 284"/>
              <a:gd name="T32" fmla="*/ 228 w 246"/>
              <a:gd name="T33" fmla="*/ 140 h 284"/>
              <a:gd name="T34" fmla="*/ 239 w 246"/>
              <a:gd name="T35" fmla="*/ 154 h 284"/>
              <a:gd name="T36" fmla="*/ 244 w 246"/>
              <a:gd name="T37" fmla="*/ 162 h 284"/>
              <a:gd name="T38" fmla="*/ 246 w 246"/>
              <a:gd name="T39" fmla="*/ 173 h 284"/>
              <a:gd name="T40" fmla="*/ 241 w 246"/>
              <a:gd name="T41" fmla="*/ 184 h 284"/>
              <a:gd name="T42" fmla="*/ 233 w 246"/>
              <a:gd name="T43" fmla="*/ 192 h 284"/>
              <a:gd name="T44" fmla="*/ 223 w 246"/>
              <a:gd name="T45" fmla="*/ 198 h 284"/>
              <a:gd name="T46" fmla="*/ 220 w 246"/>
              <a:gd name="T47" fmla="*/ 204 h 284"/>
              <a:gd name="T48" fmla="*/ 189 w 246"/>
              <a:gd name="T49" fmla="*/ 215 h 284"/>
              <a:gd name="T50" fmla="*/ 164 w 246"/>
              <a:gd name="T51" fmla="*/ 230 h 284"/>
              <a:gd name="T52" fmla="*/ 113 w 246"/>
              <a:gd name="T53" fmla="*/ 265 h 284"/>
              <a:gd name="T54" fmla="*/ 88 w 246"/>
              <a:gd name="T55" fmla="*/ 231 h 284"/>
              <a:gd name="T56" fmla="*/ 79 w 246"/>
              <a:gd name="T57" fmla="*/ 220 h 284"/>
              <a:gd name="T58" fmla="*/ 72 w 246"/>
              <a:gd name="T59" fmla="*/ 216 h 284"/>
              <a:gd name="T60" fmla="*/ 60 w 246"/>
              <a:gd name="T61" fmla="*/ 217 h 284"/>
              <a:gd name="T62" fmla="*/ 54 w 246"/>
              <a:gd name="T63" fmla="*/ 221 h 284"/>
              <a:gd name="T64" fmla="*/ 49 w 246"/>
              <a:gd name="T65" fmla="*/ 228 h 284"/>
              <a:gd name="T66" fmla="*/ 48 w 246"/>
              <a:gd name="T67" fmla="*/ 236 h 284"/>
              <a:gd name="T68" fmla="*/ 45 w 246"/>
              <a:gd name="T69" fmla="*/ 257 h 284"/>
              <a:gd name="T70" fmla="*/ 41 w 246"/>
              <a:gd name="T71" fmla="*/ 270 h 284"/>
              <a:gd name="T72" fmla="*/ 33 w 246"/>
              <a:gd name="T73" fmla="*/ 284 h 284"/>
              <a:gd name="T74" fmla="*/ 26 w 246"/>
              <a:gd name="T75" fmla="*/ 243 h 284"/>
              <a:gd name="T76" fmla="*/ 17 w 246"/>
              <a:gd name="T77" fmla="*/ 227 h 284"/>
              <a:gd name="T78" fmla="*/ 11 w 246"/>
              <a:gd name="T79" fmla="*/ 221 h 284"/>
              <a:gd name="T80" fmla="*/ 0 w 246"/>
              <a:gd name="T81" fmla="*/ 216 h 284"/>
              <a:gd name="T82" fmla="*/ 1 w 246"/>
              <a:gd name="T83" fmla="*/ 204 h 284"/>
              <a:gd name="T84" fmla="*/ 4 w 246"/>
              <a:gd name="T85" fmla="*/ 193 h 284"/>
              <a:gd name="T86" fmla="*/ 15 w 246"/>
              <a:gd name="T87" fmla="*/ 176 h 284"/>
              <a:gd name="T88" fmla="*/ 31 w 246"/>
              <a:gd name="T89" fmla="*/ 161 h 284"/>
              <a:gd name="T90" fmla="*/ 46 w 246"/>
              <a:gd name="T91" fmla="*/ 141 h 284"/>
              <a:gd name="T92" fmla="*/ 33 w 246"/>
              <a:gd name="T93" fmla="*/ 4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6" h="284">
                <a:moveTo>
                  <a:pt x="33" y="44"/>
                </a:moveTo>
                <a:lnTo>
                  <a:pt x="30" y="27"/>
                </a:lnTo>
                <a:lnTo>
                  <a:pt x="28" y="24"/>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86" name="Freeform 354">
            <a:extLst>
              <a:ext uri="{FF2B5EF4-FFF2-40B4-BE49-F238E27FC236}">
                <a16:creationId xmlns="" xmlns:a16="http://schemas.microsoft.com/office/drawing/2014/main" id="{4C1D8916-CFCC-45AF-AF03-0DE84522AF77}"/>
              </a:ext>
            </a:extLst>
          </p:cNvPr>
          <p:cNvSpPr>
            <a:spLocks/>
          </p:cNvSpPr>
          <p:nvPr>
            <p:custDataLst>
              <p:tags r:id="rId256"/>
            </p:custDataLst>
          </p:nvPr>
        </p:nvSpPr>
        <p:spPr bwMode="auto">
          <a:xfrm>
            <a:off x="4620274" y="3068114"/>
            <a:ext cx="83156" cy="62357"/>
          </a:xfrm>
          <a:custGeom>
            <a:avLst/>
            <a:gdLst>
              <a:gd name="T0" fmla="*/ 114 w 160"/>
              <a:gd name="T1" fmla="*/ 0 h 117"/>
              <a:gd name="T2" fmla="*/ 114 w 160"/>
              <a:gd name="T3" fmla="*/ 9 h 117"/>
              <a:gd name="T4" fmla="*/ 114 w 160"/>
              <a:gd name="T5" fmla="*/ 18 h 117"/>
              <a:gd name="T6" fmla="*/ 115 w 160"/>
              <a:gd name="T7" fmla="*/ 25 h 117"/>
              <a:gd name="T8" fmla="*/ 117 w 160"/>
              <a:gd name="T9" fmla="*/ 32 h 117"/>
              <a:gd name="T10" fmla="*/ 119 w 160"/>
              <a:gd name="T11" fmla="*/ 34 h 117"/>
              <a:gd name="T12" fmla="*/ 121 w 160"/>
              <a:gd name="T13" fmla="*/ 37 h 117"/>
              <a:gd name="T14" fmla="*/ 123 w 160"/>
              <a:gd name="T15" fmla="*/ 38 h 117"/>
              <a:gd name="T16" fmla="*/ 127 w 160"/>
              <a:gd name="T17" fmla="*/ 39 h 117"/>
              <a:gd name="T18" fmla="*/ 131 w 160"/>
              <a:gd name="T19" fmla="*/ 40 h 117"/>
              <a:gd name="T20" fmla="*/ 135 w 160"/>
              <a:gd name="T21" fmla="*/ 39 h 117"/>
              <a:gd name="T22" fmla="*/ 140 w 160"/>
              <a:gd name="T23" fmla="*/ 38 h 117"/>
              <a:gd name="T24" fmla="*/ 146 w 160"/>
              <a:gd name="T25" fmla="*/ 36 h 117"/>
              <a:gd name="T26" fmla="*/ 149 w 160"/>
              <a:gd name="T27" fmla="*/ 43 h 117"/>
              <a:gd name="T28" fmla="*/ 153 w 160"/>
              <a:gd name="T29" fmla="*/ 52 h 117"/>
              <a:gd name="T30" fmla="*/ 157 w 160"/>
              <a:gd name="T31" fmla="*/ 64 h 117"/>
              <a:gd name="T32" fmla="*/ 160 w 160"/>
              <a:gd name="T33" fmla="*/ 74 h 117"/>
              <a:gd name="T34" fmla="*/ 133 w 160"/>
              <a:gd name="T35" fmla="*/ 88 h 117"/>
              <a:gd name="T36" fmla="*/ 106 w 160"/>
              <a:gd name="T37" fmla="*/ 102 h 117"/>
              <a:gd name="T38" fmla="*/ 92 w 160"/>
              <a:gd name="T39" fmla="*/ 107 h 117"/>
              <a:gd name="T40" fmla="*/ 76 w 160"/>
              <a:gd name="T41" fmla="*/ 113 h 117"/>
              <a:gd name="T42" fmla="*/ 62 w 160"/>
              <a:gd name="T43" fmla="*/ 116 h 117"/>
              <a:gd name="T44" fmla="*/ 47 w 160"/>
              <a:gd name="T45" fmla="*/ 117 h 117"/>
              <a:gd name="T46" fmla="*/ 32 w 160"/>
              <a:gd name="T47" fmla="*/ 99 h 117"/>
              <a:gd name="T48" fmla="*/ 21 w 160"/>
              <a:gd name="T49" fmla="*/ 83 h 117"/>
              <a:gd name="T50" fmla="*/ 10 w 160"/>
              <a:gd name="T51" fmla="*/ 69 h 117"/>
              <a:gd name="T52" fmla="*/ 0 w 160"/>
              <a:gd name="T53" fmla="*/ 55 h 117"/>
              <a:gd name="T54" fmla="*/ 13 w 160"/>
              <a:gd name="T55" fmla="*/ 48 h 117"/>
              <a:gd name="T56" fmla="*/ 41 w 160"/>
              <a:gd name="T57" fmla="*/ 32 h 117"/>
              <a:gd name="T58" fmla="*/ 60 w 160"/>
              <a:gd name="T59" fmla="*/ 23 h 117"/>
              <a:gd name="T60" fmla="*/ 78 w 160"/>
              <a:gd name="T61" fmla="*/ 14 h 117"/>
              <a:gd name="T62" fmla="*/ 97 w 160"/>
              <a:gd name="T63" fmla="*/ 6 h 117"/>
              <a:gd name="T64" fmla="*/ 114 w 160"/>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387" name="Freeform 355">
            <a:extLst>
              <a:ext uri="{FF2B5EF4-FFF2-40B4-BE49-F238E27FC236}">
                <a16:creationId xmlns="" xmlns:a16="http://schemas.microsoft.com/office/drawing/2014/main" id="{B471A05A-B04B-447B-98E2-5967CD8E7A55}"/>
              </a:ext>
            </a:extLst>
          </p:cNvPr>
          <p:cNvSpPr>
            <a:spLocks/>
          </p:cNvSpPr>
          <p:nvPr>
            <p:custDataLst>
              <p:tags r:id="rId257"/>
            </p:custDataLst>
          </p:nvPr>
        </p:nvSpPr>
        <p:spPr bwMode="auto">
          <a:xfrm>
            <a:off x="4722768" y="3713017"/>
            <a:ext cx="500868" cy="631775"/>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88" name="Freeform 356">
            <a:extLst>
              <a:ext uri="{FF2B5EF4-FFF2-40B4-BE49-F238E27FC236}">
                <a16:creationId xmlns="" xmlns:a16="http://schemas.microsoft.com/office/drawing/2014/main" id="{3F5C924F-BA4B-4B55-A52D-6054DF27B003}"/>
              </a:ext>
            </a:extLst>
          </p:cNvPr>
          <p:cNvSpPr>
            <a:spLocks/>
          </p:cNvSpPr>
          <p:nvPr>
            <p:custDataLst>
              <p:tags r:id="rId258"/>
            </p:custDataLst>
          </p:nvPr>
        </p:nvSpPr>
        <p:spPr bwMode="auto">
          <a:xfrm>
            <a:off x="5312593" y="4064186"/>
            <a:ext cx="297814" cy="446345"/>
          </a:xfrm>
          <a:custGeom>
            <a:avLst/>
            <a:gdLst>
              <a:gd name="T0" fmla="*/ 98 w 556"/>
              <a:gd name="T1" fmla="*/ 62 h 819"/>
              <a:gd name="T2" fmla="*/ 112 w 556"/>
              <a:gd name="T3" fmla="*/ 56 h 819"/>
              <a:gd name="T4" fmla="*/ 129 w 556"/>
              <a:gd name="T5" fmla="*/ 69 h 819"/>
              <a:gd name="T6" fmla="*/ 149 w 556"/>
              <a:gd name="T7" fmla="*/ 85 h 819"/>
              <a:gd name="T8" fmla="*/ 171 w 556"/>
              <a:gd name="T9" fmla="*/ 92 h 819"/>
              <a:gd name="T10" fmla="*/ 215 w 556"/>
              <a:gd name="T11" fmla="*/ 88 h 819"/>
              <a:gd name="T12" fmla="*/ 257 w 556"/>
              <a:gd name="T13" fmla="*/ 82 h 819"/>
              <a:gd name="T14" fmla="*/ 291 w 556"/>
              <a:gd name="T15" fmla="*/ 79 h 819"/>
              <a:gd name="T16" fmla="*/ 301 w 556"/>
              <a:gd name="T17" fmla="*/ 74 h 819"/>
              <a:gd name="T18" fmla="*/ 301 w 556"/>
              <a:gd name="T19" fmla="*/ 68 h 819"/>
              <a:gd name="T20" fmla="*/ 355 w 556"/>
              <a:gd name="T21" fmla="*/ 63 h 819"/>
              <a:gd name="T22" fmla="*/ 434 w 556"/>
              <a:gd name="T23" fmla="*/ 45 h 819"/>
              <a:gd name="T24" fmla="*/ 479 w 556"/>
              <a:gd name="T25" fmla="*/ 28 h 819"/>
              <a:gd name="T26" fmla="*/ 514 w 556"/>
              <a:gd name="T27" fmla="*/ 8 h 819"/>
              <a:gd name="T28" fmla="*/ 547 w 556"/>
              <a:gd name="T29" fmla="*/ 31 h 819"/>
              <a:gd name="T30" fmla="*/ 555 w 556"/>
              <a:gd name="T31" fmla="*/ 57 h 819"/>
              <a:gd name="T32" fmla="*/ 552 w 556"/>
              <a:gd name="T33" fmla="*/ 113 h 819"/>
              <a:gd name="T34" fmla="*/ 532 w 556"/>
              <a:gd name="T35" fmla="*/ 174 h 819"/>
              <a:gd name="T36" fmla="*/ 502 w 556"/>
              <a:gd name="T37" fmla="*/ 231 h 819"/>
              <a:gd name="T38" fmla="*/ 447 w 556"/>
              <a:gd name="T39" fmla="*/ 321 h 819"/>
              <a:gd name="T40" fmla="*/ 423 w 556"/>
              <a:gd name="T41" fmla="*/ 375 h 819"/>
              <a:gd name="T42" fmla="*/ 410 w 556"/>
              <a:gd name="T43" fmla="*/ 415 h 819"/>
              <a:gd name="T44" fmla="*/ 379 w 556"/>
              <a:gd name="T45" fmla="*/ 473 h 819"/>
              <a:gd name="T46" fmla="*/ 330 w 556"/>
              <a:gd name="T47" fmla="*/ 531 h 819"/>
              <a:gd name="T48" fmla="*/ 288 w 556"/>
              <a:gd name="T49" fmla="*/ 566 h 819"/>
              <a:gd name="T50" fmla="*/ 239 w 556"/>
              <a:gd name="T51" fmla="*/ 600 h 819"/>
              <a:gd name="T52" fmla="*/ 168 w 556"/>
              <a:gd name="T53" fmla="*/ 651 h 819"/>
              <a:gd name="T54" fmla="*/ 143 w 556"/>
              <a:gd name="T55" fmla="*/ 680 h 819"/>
              <a:gd name="T56" fmla="*/ 131 w 556"/>
              <a:gd name="T57" fmla="*/ 700 h 819"/>
              <a:gd name="T58" fmla="*/ 116 w 556"/>
              <a:gd name="T59" fmla="*/ 717 h 819"/>
              <a:gd name="T60" fmla="*/ 71 w 556"/>
              <a:gd name="T61" fmla="*/ 745 h 819"/>
              <a:gd name="T62" fmla="*/ 19 w 556"/>
              <a:gd name="T63" fmla="*/ 801 h 819"/>
              <a:gd name="T64" fmla="*/ 2 w 556"/>
              <a:gd name="T65" fmla="*/ 564 h 819"/>
              <a:gd name="T66" fmla="*/ 3 w 556"/>
              <a:gd name="T67" fmla="*/ 554 h 819"/>
              <a:gd name="T68" fmla="*/ 27 w 556"/>
              <a:gd name="T69" fmla="*/ 533 h 819"/>
              <a:gd name="T70" fmla="*/ 42 w 556"/>
              <a:gd name="T71" fmla="*/ 516 h 819"/>
              <a:gd name="T72" fmla="*/ 60 w 556"/>
              <a:gd name="T73" fmla="*/ 497 h 819"/>
              <a:gd name="T74" fmla="*/ 111 w 556"/>
              <a:gd name="T75" fmla="*/ 480 h 819"/>
              <a:gd name="T76" fmla="*/ 119 w 556"/>
              <a:gd name="T77" fmla="*/ 470 h 819"/>
              <a:gd name="T78" fmla="*/ 129 w 556"/>
              <a:gd name="T79" fmla="*/ 452 h 819"/>
              <a:gd name="T80" fmla="*/ 152 w 556"/>
              <a:gd name="T81" fmla="*/ 440 h 819"/>
              <a:gd name="T82" fmla="*/ 174 w 556"/>
              <a:gd name="T83" fmla="*/ 439 h 819"/>
              <a:gd name="T84" fmla="*/ 196 w 556"/>
              <a:gd name="T85" fmla="*/ 439 h 819"/>
              <a:gd name="T86" fmla="*/ 228 w 556"/>
              <a:gd name="T87" fmla="*/ 429 h 819"/>
              <a:gd name="T88" fmla="*/ 251 w 556"/>
              <a:gd name="T89" fmla="*/ 405 h 819"/>
              <a:gd name="T90" fmla="*/ 265 w 556"/>
              <a:gd name="T91" fmla="*/ 379 h 819"/>
              <a:gd name="T92" fmla="*/ 296 w 556"/>
              <a:gd name="T93" fmla="*/ 347 h 819"/>
              <a:gd name="T94" fmla="*/ 354 w 556"/>
              <a:gd name="T95" fmla="*/ 293 h 819"/>
              <a:gd name="T96" fmla="*/ 377 w 556"/>
              <a:gd name="T97" fmla="*/ 266 h 819"/>
              <a:gd name="T98" fmla="*/ 324 w 556"/>
              <a:gd name="T99" fmla="*/ 246 h 819"/>
              <a:gd name="T100" fmla="*/ 257 w 556"/>
              <a:gd name="T101" fmla="*/ 228 h 819"/>
              <a:gd name="T102" fmla="*/ 184 w 556"/>
              <a:gd name="T103" fmla="*/ 209 h 819"/>
              <a:gd name="T104" fmla="*/ 149 w 556"/>
              <a:gd name="T105" fmla="*/ 187 h 819"/>
              <a:gd name="T106" fmla="*/ 112 w 556"/>
              <a:gd name="T107" fmla="*/ 154 h 819"/>
              <a:gd name="T108" fmla="*/ 89 w 556"/>
              <a:gd name="T109" fmla="*/ 121 h 819"/>
              <a:gd name="T110" fmla="*/ 77 w 556"/>
              <a:gd name="T111" fmla="*/ 80 h 819"/>
              <a:gd name="T112" fmla="*/ 65 w 556"/>
              <a:gd name="T113" fmla="*/ 87 h 819"/>
              <a:gd name="T114" fmla="*/ 84 w 556"/>
              <a:gd name="T115" fmla="*/ 68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89" name="Freeform 357">
            <a:extLst>
              <a:ext uri="{FF2B5EF4-FFF2-40B4-BE49-F238E27FC236}">
                <a16:creationId xmlns="" xmlns:a16="http://schemas.microsoft.com/office/drawing/2014/main" id="{415DB1BB-957A-4A87-BF22-113BFBEE0D9B}"/>
              </a:ext>
            </a:extLst>
          </p:cNvPr>
          <p:cNvSpPr>
            <a:spLocks/>
          </p:cNvSpPr>
          <p:nvPr>
            <p:custDataLst>
              <p:tags r:id="rId259"/>
            </p:custDataLst>
          </p:nvPr>
        </p:nvSpPr>
        <p:spPr bwMode="auto">
          <a:xfrm>
            <a:off x="5322262" y="4051059"/>
            <a:ext cx="46413" cy="60715"/>
          </a:xfrm>
          <a:custGeom>
            <a:avLst/>
            <a:gdLst>
              <a:gd name="T0" fmla="*/ 59 w 86"/>
              <a:gd name="T1" fmla="*/ 0 h 97"/>
              <a:gd name="T2" fmla="*/ 56 w 86"/>
              <a:gd name="T3" fmla="*/ 2 h 97"/>
              <a:gd name="T4" fmla="*/ 52 w 86"/>
              <a:gd name="T5" fmla="*/ 3 h 97"/>
              <a:gd name="T6" fmla="*/ 46 w 86"/>
              <a:gd name="T7" fmla="*/ 3 h 97"/>
              <a:gd name="T8" fmla="*/ 40 w 86"/>
              <a:gd name="T9" fmla="*/ 3 h 97"/>
              <a:gd name="T10" fmla="*/ 33 w 86"/>
              <a:gd name="T11" fmla="*/ 3 h 97"/>
              <a:gd name="T12" fmla="*/ 27 w 86"/>
              <a:gd name="T13" fmla="*/ 3 h 97"/>
              <a:gd name="T14" fmla="*/ 23 w 86"/>
              <a:gd name="T15" fmla="*/ 4 h 97"/>
              <a:gd name="T16" fmla="*/ 20 w 86"/>
              <a:gd name="T17" fmla="*/ 6 h 97"/>
              <a:gd name="T18" fmla="*/ 16 w 86"/>
              <a:gd name="T19" fmla="*/ 9 h 97"/>
              <a:gd name="T20" fmla="*/ 13 w 86"/>
              <a:gd name="T21" fmla="*/ 12 h 97"/>
              <a:gd name="T22" fmla="*/ 11 w 86"/>
              <a:gd name="T23" fmla="*/ 15 h 97"/>
              <a:gd name="T24" fmla="*/ 8 w 86"/>
              <a:gd name="T25" fmla="*/ 20 h 97"/>
              <a:gd name="T26" fmla="*/ 4 w 86"/>
              <a:gd name="T27" fmla="*/ 29 h 97"/>
              <a:gd name="T28" fmla="*/ 2 w 86"/>
              <a:gd name="T29" fmla="*/ 38 h 97"/>
              <a:gd name="T30" fmla="*/ 0 w 86"/>
              <a:gd name="T31" fmla="*/ 57 h 97"/>
              <a:gd name="T32" fmla="*/ 0 w 86"/>
              <a:gd name="T33" fmla="*/ 75 h 97"/>
              <a:gd name="T34" fmla="*/ 0 w 86"/>
              <a:gd name="T35" fmla="*/ 81 h 97"/>
              <a:gd name="T36" fmla="*/ 1 w 86"/>
              <a:gd name="T37" fmla="*/ 86 h 97"/>
              <a:gd name="T38" fmla="*/ 3 w 86"/>
              <a:gd name="T39" fmla="*/ 90 h 97"/>
              <a:gd name="T40" fmla="*/ 7 w 86"/>
              <a:gd name="T41" fmla="*/ 93 h 97"/>
              <a:gd name="T42" fmla="*/ 10 w 86"/>
              <a:gd name="T43" fmla="*/ 95 h 97"/>
              <a:gd name="T44" fmla="*/ 13 w 86"/>
              <a:gd name="T45" fmla="*/ 96 h 97"/>
              <a:gd name="T46" fmla="*/ 18 w 86"/>
              <a:gd name="T47" fmla="*/ 97 h 97"/>
              <a:gd name="T48" fmla="*/ 21 w 86"/>
              <a:gd name="T49" fmla="*/ 97 h 97"/>
              <a:gd name="T50" fmla="*/ 40 w 86"/>
              <a:gd name="T51" fmla="*/ 95 h 97"/>
              <a:gd name="T52" fmla="*/ 53 w 86"/>
              <a:gd name="T53" fmla="*/ 93 h 97"/>
              <a:gd name="T54" fmla="*/ 86 w 86"/>
              <a:gd name="T55" fmla="*/ 68 h 97"/>
              <a:gd name="T56" fmla="*/ 59 w 86"/>
              <a:gd name="T5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90" name="Freeform 358">
            <a:extLst>
              <a:ext uri="{FF2B5EF4-FFF2-40B4-BE49-F238E27FC236}">
                <a16:creationId xmlns="" xmlns:a16="http://schemas.microsoft.com/office/drawing/2014/main" id="{0960BD36-A135-49AB-ABD5-8BF3C2CF6A2F}"/>
              </a:ext>
            </a:extLst>
          </p:cNvPr>
          <p:cNvSpPr>
            <a:spLocks/>
          </p:cNvSpPr>
          <p:nvPr>
            <p:custDataLst>
              <p:tags r:id="rId260"/>
            </p:custDataLst>
          </p:nvPr>
        </p:nvSpPr>
        <p:spPr bwMode="auto">
          <a:xfrm>
            <a:off x="5076663" y="3959164"/>
            <a:ext cx="442853" cy="388910"/>
          </a:xfrm>
          <a:custGeom>
            <a:avLst/>
            <a:gdLst>
              <a:gd name="T0" fmla="*/ 182 w 845"/>
              <a:gd name="T1" fmla="*/ 36 h 720"/>
              <a:gd name="T2" fmla="*/ 205 w 845"/>
              <a:gd name="T3" fmla="*/ 28 h 720"/>
              <a:gd name="T4" fmla="*/ 247 w 845"/>
              <a:gd name="T5" fmla="*/ 0 h 720"/>
              <a:gd name="T6" fmla="*/ 273 w 845"/>
              <a:gd name="T7" fmla="*/ 12 h 720"/>
              <a:gd name="T8" fmla="*/ 327 w 845"/>
              <a:gd name="T9" fmla="*/ 37 h 720"/>
              <a:gd name="T10" fmla="*/ 380 w 845"/>
              <a:gd name="T11" fmla="*/ 67 h 720"/>
              <a:gd name="T12" fmla="*/ 426 w 845"/>
              <a:gd name="T13" fmla="*/ 98 h 720"/>
              <a:gd name="T14" fmla="*/ 442 w 845"/>
              <a:gd name="T15" fmla="*/ 125 h 720"/>
              <a:gd name="T16" fmla="*/ 443 w 845"/>
              <a:gd name="T17" fmla="*/ 140 h 720"/>
              <a:gd name="T18" fmla="*/ 458 w 845"/>
              <a:gd name="T19" fmla="*/ 147 h 720"/>
              <a:gd name="T20" fmla="*/ 499 w 845"/>
              <a:gd name="T21" fmla="*/ 178 h 720"/>
              <a:gd name="T22" fmla="*/ 506 w 845"/>
              <a:gd name="T23" fmla="*/ 172 h 720"/>
              <a:gd name="T24" fmla="*/ 488 w 845"/>
              <a:gd name="T25" fmla="*/ 184 h 720"/>
              <a:gd name="T26" fmla="*/ 481 w 845"/>
              <a:gd name="T27" fmla="*/ 202 h 720"/>
              <a:gd name="T28" fmla="*/ 481 w 845"/>
              <a:gd name="T29" fmla="*/ 252 h 720"/>
              <a:gd name="T30" fmla="*/ 493 w 845"/>
              <a:gd name="T31" fmla="*/ 264 h 720"/>
              <a:gd name="T32" fmla="*/ 526 w 845"/>
              <a:gd name="T33" fmla="*/ 265 h 720"/>
              <a:gd name="T34" fmla="*/ 545 w 845"/>
              <a:gd name="T35" fmla="*/ 319 h 720"/>
              <a:gd name="T36" fmla="*/ 583 w 845"/>
              <a:gd name="T37" fmla="*/ 361 h 720"/>
              <a:gd name="T38" fmla="*/ 645 w 845"/>
              <a:gd name="T39" fmla="*/ 400 h 720"/>
              <a:gd name="T40" fmla="*/ 738 w 845"/>
              <a:gd name="T41" fmla="*/ 430 h 720"/>
              <a:gd name="T42" fmla="*/ 845 w 845"/>
              <a:gd name="T43" fmla="*/ 449 h 720"/>
              <a:gd name="T44" fmla="*/ 811 w 845"/>
              <a:gd name="T45" fmla="*/ 482 h 720"/>
              <a:gd name="T46" fmla="*/ 731 w 845"/>
              <a:gd name="T47" fmla="*/ 547 h 720"/>
              <a:gd name="T48" fmla="*/ 712 w 845"/>
              <a:gd name="T49" fmla="*/ 579 h 720"/>
              <a:gd name="T50" fmla="*/ 697 w 845"/>
              <a:gd name="T51" fmla="*/ 617 h 720"/>
              <a:gd name="T52" fmla="*/ 674 w 845"/>
              <a:gd name="T53" fmla="*/ 629 h 720"/>
              <a:gd name="T54" fmla="*/ 580 w 845"/>
              <a:gd name="T55" fmla="*/ 655 h 720"/>
              <a:gd name="T56" fmla="*/ 559 w 845"/>
              <a:gd name="T57" fmla="*/ 671 h 720"/>
              <a:gd name="T58" fmla="*/ 525 w 845"/>
              <a:gd name="T59" fmla="*/ 681 h 720"/>
              <a:gd name="T60" fmla="*/ 482 w 845"/>
              <a:gd name="T61" fmla="*/ 693 h 720"/>
              <a:gd name="T62" fmla="*/ 461 w 845"/>
              <a:gd name="T63" fmla="*/ 680 h 720"/>
              <a:gd name="T64" fmla="*/ 427 w 845"/>
              <a:gd name="T65" fmla="*/ 679 h 720"/>
              <a:gd name="T66" fmla="*/ 405 w 845"/>
              <a:gd name="T67" fmla="*/ 699 h 720"/>
              <a:gd name="T68" fmla="*/ 390 w 845"/>
              <a:gd name="T69" fmla="*/ 714 h 720"/>
              <a:gd name="T70" fmla="*/ 360 w 845"/>
              <a:gd name="T71" fmla="*/ 720 h 720"/>
              <a:gd name="T72" fmla="*/ 318 w 845"/>
              <a:gd name="T73" fmla="*/ 714 h 720"/>
              <a:gd name="T74" fmla="*/ 289 w 845"/>
              <a:gd name="T75" fmla="*/ 698 h 720"/>
              <a:gd name="T76" fmla="*/ 246 w 845"/>
              <a:gd name="T77" fmla="*/ 671 h 720"/>
              <a:gd name="T78" fmla="*/ 181 w 845"/>
              <a:gd name="T79" fmla="*/ 661 h 720"/>
              <a:gd name="T80" fmla="*/ 140 w 845"/>
              <a:gd name="T81" fmla="*/ 653 h 720"/>
              <a:gd name="T82" fmla="*/ 151 w 845"/>
              <a:gd name="T83" fmla="*/ 614 h 720"/>
              <a:gd name="T84" fmla="*/ 127 w 845"/>
              <a:gd name="T85" fmla="*/ 596 h 720"/>
              <a:gd name="T86" fmla="*/ 108 w 845"/>
              <a:gd name="T87" fmla="*/ 583 h 720"/>
              <a:gd name="T88" fmla="*/ 93 w 845"/>
              <a:gd name="T89" fmla="*/ 551 h 720"/>
              <a:gd name="T90" fmla="*/ 77 w 845"/>
              <a:gd name="T91" fmla="*/ 511 h 720"/>
              <a:gd name="T92" fmla="*/ 49 w 845"/>
              <a:gd name="T93" fmla="*/ 489 h 720"/>
              <a:gd name="T94" fmla="*/ 16 w 845"/>
              <a:gd name="T95" fmla="*/ 477 h 720"/>
              <a:gd name="T96" fmla="*/ 5 w 845"/>
              <a:gd name="T97" fmla="*/ 472 h 720"/>
              <a:gd name="T98" fmla="*/ 2 w 845"/>
              <a:gd name="T99" fmla="*/ 448 h 720"/>
              <a:gd name="T100" fmla="*/ 21 w 845"/>
              <a:gd name="T101" fmla="*/ 422 h 720"/>
              <a:gd name="T102" fmla="*/ 55 w 845"/>
              <a:gd name="T103" fmla="*/ 413 h 720"/>
              <a:gd name="T104" fmla="*/ 67 w 845"/>
              <a:gd name="T105" fmla="*/ 321 h 720"/>
              <a:gd name="T106" fmla="*/ 82 w 845"/>
              <a:gd name="T107" fmla="*/ 275 h 720"/>
              <a:gd name="T108" fmla="*/ 95 w 845"/>
              <a:gd name="T109" fmla="*/ 260 h 720"/>
              <a:gd name="T110" fmla="*/ 103 w 845"/>
              <a:gd name="T111" fmla="*/ 236 h 720"/>
              <a:gd name="T112" fmla="*/ 116 w 845"/>
              <a:gd name="T113" fmla="*/ 206 h 720"/>
              <a:gd name="T114" fmla="*/ 148 w 845"/>
              <a:gd name="T115" fmla="*/ 178 h 720"/>
              <a:gd name="T116" fmla="*/ 167 w 845"/>
              <a:gd name="T117" fmla="*/ 16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91" name="Line 359">
            <a:extLst>
              <a:ext uri="{FF2B5EF4-FFF2-40B4-BE49-F238E27FC236}">
                <a16:creationId xmlns="" xmlns:a16="http://schemas.microsoft.com/office/drawing/2014/main" id="{662C7F84-B8E7-4C56-9D20-840A65EE1E23}"/>
              </a:ext>
            </a:extLst>
          </p:cNvPr>
          <p:cNvSpPr>
            <a:spLocks noChangeShapeType="1"/>
          </p:cNvSpPr>
          <p:nvPr>
            <p:custDataLst>
              <p:tags r:id="rId261"/>
            </p:custDataLst>
          </p:nvPr>
        </p:nvSpPr>
        <p:spPr bwMode="auto">
          <a:xfrm flipH="1">
            <a:off x="1251503" y="4495762"/>
            <a:ext cx="5802" cy="8205"/>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392" name="Freeform 360">
            <a:extLst>
              <a:ext uri="{FF2B5EF4-FFF2-40B4-BE49-F238E27FC236}">
                <a16:creationId xmlns="" xmlns:a16="http://schemas.microsoft.com/office/drawing/2014/main" id="{89274555-CCA7-44A9-9BD8-03B6443C3D3C}"/>
              </a:ext>
            </a:extLst>
          </p:cNvPr>
          <p:cNvSpPr>
            <a:spLocks/>
          </p:cNvSpPr>
          <p:nvPr>
            <p:custDataLst>
              <p:tags r:id="rId262"/>
            </p:custDataLst>
          </p:nvPr>
        </p:nvSpPr>
        <p:spPr bwMode="auto">
          <a:xfrm>
            <a:off x="1251503" y="4503968"/>
            <a:ext cx="15471" cy="60715"/>
          </a:xfrm>
          <a:custGeom>
            <a:avLst/>
            <a:gdLst>
              <a:gd name="T0" fmla="*/ 0 w 33"/>
              <a:gd name="T1" fmla="*/ 0 h 6"/>
              <a:gd name="T2" fmla="*/ 7 w 33"/>
              <a:gd name="T3" fmla="*/ 1 h 6"/>
              <a:gd name="T4" fmla="*/ 15 w 33"/>
              <a:gd name="T5" fmla="*/ 3 h 6"/>
              <a:gd name="T6" fmla="*/ 23 w 33"/>
              <a:gd name="T7" fmla="*/ 5 h 6"/>
              <a:gd name="T8" fmla="*/ 33 w 33"/>
              <a:gd name="T9" fmla="*/ 6 h 6"/>
            </a:gdLst>
            <a:ahLst/>
            <a:cxnLst>
              <a:cxn ang="0">
                <a:pos x="T0" y="T1"/>
              </a:cxn>
              <a:cxn ang="0">
                <a:pos x="T2" y="T3"/>
              </a:cxn>
              <a:cxn ang="0">
                <a:pos x="T4" y="T5"/>
              </a:cxn>
              <a:cxn ang="0">
                <a:pos x="T6" y="T7"/>
              </a:cxn>
              <a:cxn ang="0">
                <a:pos x="T8" y="T9"/>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93" name="Freeform 361">
            <a:extLst>
              <a:ext uri="{FF2B5EF4-FFF2-40B4-BE49-F238E27FC236}">
                <a16:creationId xmlns="" xmlns:a16="http://schemas.microsoft.com/office/drawing/2014/main" id="{1AC97688-A141-417D-A7F5-D5D8D49DB078}"/>
              </a:ext>
            </a:extLst>
          </p:cNvPr>
          <p:cNvSpPr>
            <a:spLocks/>
          </p:cNvSpPr>
          <p:nvPr>
            <p:custDataLst>
              <p:tags r:id="rId263"/>
            </p:custDataLst>
          </p:nvPr>
        </p:nvSpPr>
        <p:spPr bwMode="auto">
          <a:xfrm>
            <a:off x="1261173" y="4490840"/>
            <a:ext cx="5801" cy="59076"/>
          </a:xfrm>
          <a:custGeom>
            <a:avLst/>
            <a:gdLst>
              <a:gd name="T0" fmla="*/ 13 w 13"/>
              <a:gd name="T1" fmla="*/ 30 h 30"/>
              <a:gd name="T2" fmla="*/ 13 w 13"/>
              <a:gd name="T3" fmla="*/ 0 h 30"/>
              <a:gd name="T4" fmla="*/ 0 w 13"/>
              <a:gd name="T5" fmla="*/ 0 h 30"/>
            </a:gdLst>
            <a:ahLst/>
            <a:cxnLst>
              <a:cxn ang="0">
                <a:pos x="T0" y="T1"/>
              </a:cxn>
              <a:cxn ang="0">
                <a:pos x="T2" y="T3"/>
              </a:cxn>
              <a:cxn ang="0">
                <a:pos x="T4" y="T5"/>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grpSp>
        <p:nvGrpSpPr>
          <p:cNvPr id="394" name="Group 362">
            <a:extLst>
              <a:ext uri="{FF2B5EF4-FFF2-40B4-BE49-F238E27FC236}">
                <a16:creationId xmlns="" xmlns:a16="http://schemas.microsoft.com/office/drawing/2014/main" id="{4A06AA41-5256-4010-B2E2-C63E3025301F}"/>
              </a:ext>
            </a:extLst>
          </p:cNvPr>
          <p:cNvGrpSpPr>
            <a:grpSpLocks/>
          </p:cNvGrpSpPr>
          <p:nvPr>
            <p:custDataLst>
              <p:tags r:id="rId264"/>
            </p:custDataLst>
          </p:nvPr>
        </p:nvGrpSpPr>
        <p:grpSpPr bwMode="auto">
          <a:xfrm>
            <a:off x="1251503" y="4423559"/>
            <a:ext cx="508604" cy="208405"/>
            <a:chOff x="912" y="2626"/>
            <a:chExt cx="311" cy="127"/>
          </a:xfrm>
        </p:grpSpPr>
        <p:sp>
          <p:nvSpPr>
            <p:cNvPr id="582" name="Freeform 363">
              <a:extLst>
                <a:ext uri="{FF2B5EF4-FFF2-40B4-BE49-F238E27FC236}">
                  <a16:creationId xmlns="" xmlns:a16="http://schemas.microsoft.com/office/drawing/2014/main" id="{92EE1E0B-28E3-4321-8F1A-E72E2455E909}"/>
                </a:ext>
              </a:extLst>
            </p:cNvPr>
            <p:cNvSpPr>
              <a:spLocks/>
            </p:cNvSpPr>
            <p:nvPr/>
          </p:nvSpPr>
          <p:spPr bwMode="auto">
            <a:xfrm>
              <a:off x="1110" y="2626"/>
              <a:ext cx="113" cy="127"/>
            </a:xfrm>
            <a:custGeom>
              <a:avLst/>
              <a:gdLst>
                <a:gd name="T0" fmla="*/ 312 w 352"/>
                <a:gd name="T1" fmla="*/ 79 h 387"/>
                <a:gd name="T2" fmla="*/ 286 w 352"/>
                <a:gd name="T3" fmla="*/ 79 h 387"/>
                <a:gd name="T4" fmla="*/ 265 w 352"/>
                <a:gd name="T5" fmla="*/ 79 h 387"/>
                <a:gd name="T6" fmla="*/ 249 w 352"/>
                <a:gd name="T7" fmla="*/ 74 h 387"/>
                <a:gd name="T8" fmla="*/ 222 w 352"/>
                <a:gd name="T9" fmla="*/ 59 h 387"/>
                <a:gd name="T10" fmla="*/ 168 w 352"/>
                <a:gd name="T11" fmla="*/ 20 h 387"/>
                <a:gd name="T12" fmla="*/ 137 w 352"/>
                <a:gd name="T13" fmla="*/ 6 h 387"/>
                <a:gd name="T14" fmla="*/ 129 w 352"/>
                <a:gd name="T15" fmla="*/ 19 h 387"/>
                <a:gd name="T16" fmla="*/ 119 w 352"/>
                <a:gd name="T17" fmla="*/ 29 h 387"/>
                <a:gd name="T18" fmla="*/ 107 w 352"/>
                <a:gd name="T19" fmla="*/ 35 h 387"/>
                <a:gd name="T20" fmla="*/ 86 w 352"/>
                <a:gd name="T21" fmla="*/ 56 h 387"/>
                <a:gd name="T22" fmla="*/ 53 w 352"/>
                <a:gd name="T23" fmla="*/ 97 h 387"/>
                <a:gd name="T24" fmla="*/ 30 w 352"/>
                <a:gd name="T25" fmla="*/ 131 h 387"/>
                <a:gd name="T26" fmla="*/ 17 w 352"/>
                <a:gd name="T27" fmla="*/ 154 h 387"/>
                <a:gd name="T28" fmla="*/ 7 w 352"/>
                <a:gd name="T29" fmla="*/ 177 h 387"/>
                <a:gd name="T30" fmla="*/ 0 w 352"/>
                <a:gd name="T31" fmla="*/ 198 h 387"/>
                <a:gd name="T32" fmla="*/ 0 w 352"/>
                <a:gd name="T33" fmla="*/ 213 h 387"/>
                <a:gd name="T34" fmla="*/ 3 w 352"/>
                <a:gd name="T35" fmla="*/ 222 h 387"/>
                <a:gd name="T36" fmla="*/ 9 w 352"/>
                <a:gd name="T37" fmla="*/ 231 h 387"/>
                <a:gd name="T38" fmla="*/ 24 w 352"/>
                <a:gd name="T39" fmla="*/ 241 h 387"/>
                <a:gd name="T40" fmla="*/ 39 w 352"/>
                <a:gd name="T41" fmla="*/ 245 h 387"/>
                <a:gd name="T42" fmla="*/ 52 w 352"/>
                <a:gd name="T43" fmla="*/ 245 h 387"/>
                <a:gd name="T44" fmla="*/ 63 w 352"/>
                <a:gd name="T45" fmla="*/ 241 h 387"/>
                <a:gd name="T46" fmla="*/ 73 w 352"/>
                <a:gd name="T47" fmla="*/ 236 h 387"/>
                <a:gd name="T48" fmla="*/ 78 w 352"/>
                <a:gd name="T49" fmla="*/ 236 h 387"/>
                <a:gd name="T50" fmla="*/ 80 w 352"/>
                <a:gd name="T51" fmla="*/ 238 h 387"/>
                <a:gd name="T52" fmla="*/ 80 w 352"/>
                <a:gd name="T53" fmla="*/ 257 h 387"/>
                <a:gd name="T54" fmla="*/ 76 w 352"/>
                <a:gd name="T55" fmla="*/ 279 h 387"/>
                <a:gd name="T56" fmla="*/ 71 w 352"/>
                <a:gd name="T57" fmla="*/ 290 h 387"/>
                <a:gd name="T58" fmla="*/ 73 w 352"/>
                <a:gd name="T59" fmla="*/ 307 h 387"/>
                <a:gd name="T60" fmla="*/ 80 w 352"/>
                <a:gd name="T61" fmla="*/ 331 h 387"/>
                <a:gd name="T62" fmla="*/ 89 w 352"/>
                <a:gd name="T63" fmla="*/ 351 h 387"/>
                <a:gd name="T64" fmla="*/ 122 w 352"/>
                <a:gd name="T65" fmla="*/ 373 h 387"/>
                <a:gd name="T66" fmla="*/ 142 w 352"/>
                <a:gd name="T67" fmla="*/ 385 h 387"/>
                <a:gd name="T68" fmla="*/ 152 w 352"/>
                <a:gd name="T69" fmla="*/ 386 h 387"/>
                <a:gd name="T70" fmla="*/ 163 w 352"/>
                <a:gd name="T71" fmla="*/ 377 h 387"/>
                <a:gd name="T72" fmla="*/ 173 w 352"/>
                <a:gd name="T73" fmla="*/ 363 h 387"/>
                <a:gd name="T74" fmla="*/ 178 w 352"/>
                <a:gd name="T75" fmla="*/ 350 h 387"/>
                <a:gd name="T76" fmla="*/ 181 w 352"/>
                <a:gd name="T77" fmla="*/ 338 h 387"/>
                <a:gd name="T78" fmla="*/ 184 w 352"/>
                <a:gd name="T79" fmla="*/ 323 h 387"/>
                <a:gd name="T80" fmla="*/ 195 w 352"/>
                <a:gd name="T81" fmla="*/ 304 h 387"/>
                <a:gd name="T82" fmla="*/ 216 w 352"/>
                <a:gd name="T83" fmla="*/ 281 h 387"/>
                <a:gd name="T84" fmla="*/ 238 w 352"/>
                <a:gd name="T85" fmla="*/ 263 h 387"/>
                <a:gd name="T86" fmla="*/ 264 w 352"/>
                <a:gd name="T87" fmla="*/ 249 h 387"/>
                <a:gd name="T88" fmla="*/ 300 w 352"/>
                <a:gd name="T89" fmla="*/ 229 h 387"/>
                <a:gd name="T90" fmla="*/ 324 w 352"/>
                <a:gd name="T91" fmla="*/ 212 h 387"/>
                <a:gd name="T92" fmla="*/ 338 w 352"/>
                <a:gd name="T93" fmla="*/ 199 h 387"/>
                <a:gd name="T94" fmla="*/ 346 w 352"/>
                <a:gd name="T95" fmla="*/ 185 h 387"/>
                <a:gd name="T96" fmla="*/ 352 w 352"/>
                <a:gd name="T97" fmla="*/ 169 h 387"/>
                <a:gd name="T98" fmla="*/ 351 w 352"/>
                <a:gd name="T99" fmla="*/ 149 h 387"/>
                <a:gd name="T100" fmla="*/ 344 w 352"/>
                <a:gd name="T101" fmla="*/ 125 h 387"/>
                <a:gd name="T102" fmla="*/ 330 w 352"/>
                <a:gd name="T103" fmla="*/ 91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83" name="Freeform 364">
              <a:extLst>
                <a:ext uri="{FF2B5EF4-FFF2-40B4-BE49-F238E27FC236}">
                  <a16:creationId xmlns="" xmlns:a16="http://schemas.microsoft.com/office/drawing/2014/main" id="{8BB66B2F-82F6-453D-BAAC-1EF71309748C}"/>
                </a:ext>
              </a:extLst>
            </p:cNvPr>
            <p:cNvSpPr>
              <a:spLocks/>
            </p:cNvSpPr>
            <p:nvPr/>
          </p:nvSpPr>
          <p:spPr bwMode="auto">
            <a:xfrm>
              <a:off x="923" y="2662"/>
              <a:ext cx="17" cy="26"/>
            </a:xfrm>
            <a:custGeom>
              <a:avLst/>
              <a:gdLst>
                <a:gd name="T0" fmla="*/ 14 w 52"/>
                <a:gd name="T1" fmla="*/ 0 h 78"/>
                <a:gd name="T2" fmla="*/ 20 w 52"/>
                <a:gd name="T3" fmla="*/ 0 h 78"/>
                <a:gd name="T4" fmla="*/ 25 w 52"/>
                <a:gd name="T5" fmla="*/ 2 h 78"/>
                <a:gd name="T6" fmla="*/ 30 w 52"/>
                <a:gd name="T7" fmla="*/ 6 h 78"/>
                <a:gd name="T8" fmla="*/ 36 w 52"/>
                <a:gd name="T9" fmla="*/ 9 h 78"/>
                <a:gd name="T10" fmla="*/ 40 w 52"/>
                <a:gd name="T11" fmla="*/ 13 h 78"/>
                <a:gd name="T12" fmla="*/ 45 w 52"/>
                <a:gd name="T13" fmla="*/ 17 h 78"/>
                <a:gd name="T14" fmla="*/ 47 w 52"/>
                <a:gd name="T15" fmla="*/ 21 h 78"/>
                <a:gd name="T16" fmla="*/ 48 w 52"/>
                <a:gd name="T17" fmla="*/ 24 h 78"/>
                <a:gd name="T18" fmla="*/ 51 w 52"/>
                <a:gd name="T19" fmla="*/ 34 h 78"/>
                <a:gd name="T20" fmla="*/ 52 w 52"/>
                <a:gd name="T21" fmla="*/ 41 h 78"/>
                <a:gd name="T22" fmla="*/ 51 w 52"/>
                <a:gd name="T23" fmla="*/ 46 h 78"/>
                <a:gd name="T24" fmla="*/ 49 w 52"/>
                <a:gd name="T25" fmla="*/ 50 h 78"/>
                <a:gd name="T26" fmla="*/ 47 w 52"/>
                <a:gd name="T27" fmla="*/ 54 h 78"/>
                <a:gd name="T28" fmla="*/ 44 w 52"/>
                <a:gd name="T29" fmla="*/ 60 h 78"/>
                <a:gd name="T30" fmla="*/ 41 w 52"/>
                <a:gd name="T31" fmla="*/ 65 h 78"/>
                <a:gd name="T32" fmla="*/ 41 w 52"/>
                <a:gd name="T33" fmla="*/ 73 h 78"/>
                <a:gd name="T34" fmla="*/ 29 w 52"/>
                <a:gd name="T35" fmla="*/ 75 h 78"/>
                <a:gd name="T36" fmla="*/ 16 w 52"/>
                <a:gd name="T37" fmla="*/ 78 h 78"/>
                <a:gd name="T38" fmla="*/ 11 w 52"/>
                <a:gd name="T39" fmla="*/ 78 h 78"/>
                <a:gd name="T40" fmla="*/ 5 w 52"/>
                <a:gd name="T41" fmla="*/ 78 h 78"/>
                <a:gd name="T42" fmla="*/ 4 w 52"/>
                <a:gd name="T43" fmla="*/ 78 h 78"/>
                <a:gd name="T44" fmla="*/ 2 w 52"/>
                <a:gd name="T45" fmla="*/ 77 h 78"/>
                <a:gd name="T46" fmla="*/ 2 w 52"/>
                <a:gd name="T47" fmla="*/ 75 h 78"/>
                <a:gd name="T48" fmla="*/ 1 w 52"/>
                <a:gd name="T49" fmla="*/ 73 h 78"/>
                <a:gd name="T50" fmla="*/ 0 w 52"/>
                <a:gd name="T51" fmla="*/ 69 h 78"/>
                <a:gd name="T52" fmla="*/ 1 w 52"/>
                <a:gd name="T53" fmla="*/ 64 h 78"/>
                <a:gd name="T54" fmla="*/ 3 w 52"/>
                <a:gd name="T55" fmla="*/ 60 h 78"/>
                <a:gd name="T56" fmla="*/ 7 w 52"/>
                <a:gd name="T57" fmla="*/ 56 h 78"/>
                <a:gd name="T58" fmla="*/ 17 w 52"/>
                <a:gd name="T59" fmla="*/ 47 h 78"/>
                <a:gd name="T60" fmla="*/ 28 w 52"/>
                <a:gd name="T61" fmla="*/ 42 h 78"/>
                <a:gd name="T62" fmla="*/ 24 w 52"/>
                <a:gd name="T63" fmla="*/ 32 h 78"/>
                <a:gd name="T64" fmla="*/ 21 w 52"/>
                <a:gd name="T65" fmla="*/ 21 h 78"/>
                <a:gd name="T66" fmla="*/ 18 w 52"/>
                <a:gd name="T67" fmla="*/ 10 h 78"/>
                <a:gd name="T68" fmla="*/ 14 w 52"/>
                <a:gd name="T6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84" name="Freeform 365">
              <a:extLst>
                <a:ext uri="{FF2B5EF4-FFF2-40B4-BE49-F238E27FC236}">
                  <a16:creationId xmlns="" xmlns:a16="http://schemas.microsoft.com/office/drawing/2014/main" id="{3F642052-7DB9-4DB2-87BC-F62912A3BE1B}"/>
                </a:ext>
              </a:extLst>
            </p:cNvPr>
            <p:cNvSpPr>
              <a:spLocks/>
            </p:cNvSpPr>
            <p:nvPr/>
          </p:nvSpPr>
          <p:spPr bwMode="auto">
            <a:xfrm>
              <a:off x="912" y="2666"/>
              <a:ext cx="9" cy="10"/>
            </a:xfrm>
            <a:custGeom>
              <a:avLst/>
              <a:gdLst>
                <a:gd name="T0" fmla="*/ 13 w 33"/>
                <a:gd name="T1" fmla="*/ 6 h 30"/>
                <a:gd name="T2" fmla="*/ 0 w 33"/>
                <a:gd name="T3" fmla="*/ 24 h 30"/>
                <a:gd name="T4" fmla="*/ 7 w 33"/>
                <a:gd name="T5" fmla="*/ 25 h 30"/>
                <a:gd name="T6" fmla="*/ 15 w 33"/>
                <a:gd name="T7" fmla="*/ 27 h 30"/>
                <a:gd name="T8" fmla="*/ 23 w 33"/>
                <a:gd name="T9" fmla="*/ 29 h 30"/>
                <a:gd name="T10" fmla="*/ 33 w 33"/>
                <a:gd name="T11" fmla="*/ 30 h 30"/>
                <a:gd name="T12" fmla="*/ 33 w 33"/>
                <a:gd name="T13" fmla="*/ 0 h 30"/>
                <a:gd name="T14" fmla="*/ 20 w 33"/>
                <a:gd name="T15" fmla="*/ 0 h 30"/>
                <a:gd name="T16" fmla="*/ 13 w 33"/>
                <a:gd name="T1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grpSp>
      <p:sp>
        <p:nvSpPr>
          <p:cNvPr id="395" name="Freeform 366">
            <a:extLst>
              <a:ext uri="{FF2B5EF4-FFF2-40B4-BE49-F238E27FC236}">
                <a16:creationId xmlns="" xmlns:a16="http://schemas.microsoft.com/office/drawing/2014/main" id="{064AAA8E-5184-4900-A322-C4E06AACB4E3}"/>
              </a:ext>
            </a:extLst>
          </p:cNvPr>
          <p:cNvSpPr>
            <a:spLocks/>
          </p:cNvSpPr>
          <p:nvPr>
            <p:custDataLst>
              <p:tags r:id="rId265"/>
            </p:custDataLst>
          </p:nvPr>
        </p:nvSpPr>
        <p:spPr bwMode="auto">
          <a:xfrm>
            <a:off x="5695495" y="5165281"/>
            <a:ext cx="23206" cy="60716"/>
          </a:xfrm>
          <a:custGeom>
            <a:avLst/>
            <a:gdLst>
              <a:gd name="T0" fmla="*/ 13 w 47"/>
              <a:gd name="T1" fmla="*/ 0 h 28"/>
              <a:gd name="T2" fmla="*/ 25 w 47"/>
              <a:gd name="T3" fmla="*/ 0 h 28"/>
              <a:gd name="T4" fmla="*/ 31 w 47"/>
              <a:gd name="T5" fmla="*/ 2 h 28"/>
              <a:gd name="T6" fmla="*/ 33 w 47"/>
              <a:gd name="T7" fmla="*/ 4 h 28"/>
              <a:gd name="T8" fmla="*/ 33 w 47"/>
              <a:gd name="T9" fmla="*/ 6 h 28"/>
              <a:gd name="T10" fmla="*/ 32 w 47"/>
              <a:gd name="T11" fmla="*/ 8 h 28"/>
              <a:gd name="T12" fmla="*/ 33 w 47"/>
              <a:gd name="T13" fmla="*/ 10 h 28"/>
              <a:gd name="T14" fmla="*/ 37 w 47"/>
              <a:gd name="T15" fmla="*/ 12 h 28"/>
              <a:gd name="T16" fmla="*/ 47 w 47"/>
              <a:gd name="T17" fmla="*/ 12 h 28"/>
              <a:gd name="T18" fmla="*/ 42 w 47"/>
              <a:gd name="T19" fmla="*/ 19 h 28"/>
              <a:gd name="T20" fmla="*/ 37 w 47"/>
              <a:gd name="T21" fmla="*/ 25 h 28"/>
              <a:gd name="T22" fmla="*/ 33 w 47"/>
              <a:gd name="T23" fmla="*/ 27 h 28"/>
              <a:gd name="T24" fmla="*/ 28 w 47"/>
              <a:gd name="T25" fmla="*/ 28 h 28"/>
              <a:gd name="T26" fmla="*/ 16 w 47"/>
              <a:gd name="T27" fmla="*/ 27 h 28"/>
              <a:gd name="T28" fmla="*/ 0 w 47"/>
              <a:gd name="T29" fmla="*/ 25 h 28"/>
              <a:gd name="T30" fmla="*/ 1 w 47"/>
              <a:gd name="T31" fmla="*/ 19 h 28"/>
              <a:gd name="T32" fmla="*/ 2 w 47"/>
              <a:gd name="T33" fmla="*/ 15 h 28"/>
              <a:gd name="T34" fmla="*/ 4 w 47"/>
              <a:gd name="T35" fmla="*/ 13 h 28"/>
              <a:gd name="T36" fmla="*/ 6 w 47"/>
              <a:gd name="T37" fmla="*/ 12 h 28"/>
              <a:gd name="T38" fmla="*/ 9 w 47"/>
              <a:gd name="T39" fmla="*/ 11 h 28"/>
              <a:gd name="T40" fmla="*/ 11 w 47"/>
              <a:gd name="T41" fmla="*/ 9 h 28"/>
              <a:gd name="T42" fmla="*/ 13 w 47"/>
              <a:gd name="T43" fmla="*/ 5 h 28"/>
              <a:gd name="T44" fmla="*/ 13 w 47"/>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96" name="Freeform 367">
            <a:extLst>
              <a:ext uri="{FF2B5EF4-FFF2-40B4-BE49-F238E27FC236}">
                <a16:creationId xmlns="" xmlns:a16="http://schemas.microsoft.com/office/drawing/2014/main" id="{84A01D3C-A84E-4BCE-8479-4769C3982E0D}"/>
              </a:ext>
            </a:extLst>
          </p:cNvPr>
          <p:cNvSpPr>
            <a:spLocks/>
          </p:cNvSpPr>
          <p:nvPr>
            <p:custDataLst>
              <p:tags r:id="rId266"/>
            </p:custDataLst>
          </p:nvPr>
        </p:nvSpPr>
        <p:spPr bwMode="auto">
          <a:xfrm>
            <a:off x="5660686" y="5193177"/>
            <a:ext cx="29009" cy="59076"/>
          </a:xfrm>
          <a:custGeom>
            <a:avLst/>
            <a:gdLst>
              <a:gd name="T0" fmla="*/ 13 w 53"/>
              <a:gd name="T1" fmla="*/ 0 h 33"/>
              <a:gd name="T2" fmla="*/ 26 w 53"/>
              <a:gd name="T3" fmla="*/ 1 h 33"/>
              <a:gd name="T4" fmla="*/ 34 w 53"/>
              <a:gd name="T5" fmla="*/ 1 h 33"/>
              <a:gd name="T6" fmla="*/ 37 w 53"/>
              <a:gd name="T7" fmla="*/ 3 h 33"/>
              <a:gd name="T8" fmla="*/ 37 w 53"/>
              <a:gd name="T9" fmla="*/ 4 h 33"/>
              <a:gd name="T10" fmla="*/ 37 w 53"/>
              <a:gd name="T11" fmla="*/ 6 h 33"/>
              <a:gd name="T12" fmla="*/ 39 w 53"/>
              <a:gd name="T13" fmla="*/ 8 h 33"/>
              <a:gd name="T14" fmla="*/ 44 w 53"/>
              <a:gd name="T15" fmla="*/ 10 h 33"/>
              <a:gd name="T16" fmla="*/ 53 w 53"/>
              <a:gd name="T17" fmla="*/ 12 h 33"/>
              <a:gd name="T18" fmla="*/ 48 w 53"/>
              <a:gd name="T19" fmla="*/ 22 h 33"/>
              <a:gd name="T20" fmla="*/ 44 w 53"/>
              <a:gd name="T21" fmla="*/ 28 h 33"/>
              <a:gd name="T22" fmla="*/ 42 w 53"/>
              <a:gd name="T23" fmla="*/ 31 h 33"/>
              <a:gd name="T24" fmla="*/ 38 w 53"/>
              <a:gd name="T25" fmla="*/ 32 h 33"/>
              <a:gd name="T26" fmla="*/ 36 w 53"/>
              <a:gd name="T27" fmla="*/ 33 h 33"/>
              <a:gd name="T28" fmla="*/ 34 w 53"/>
              <a:gd name="T29" fmla="*/ 33 h 33"/>
              <a:gd name="T30" fmla="*/ 20 w 53"/>
              <a:gd name="T31" fmla="*/ 30 h 33"/>
              <a:gd name="T32" fmla="*/ 0 w 53"/>
              <a:gd name="T33" fmla="*/ 24 h 33"/>
              <a:gd name="T34" fmla="*/ 0 w 53"/>
              <a:gd name="T35" fmla="*/ 19 h 33"/>
              <a:gd name="T36" fmla="*/ 2 w 53"/>
              <a:gd name="T37" fmla="*/ 16 h 33"/>
              <a:gd name="T38" fmla="*/ 4 w 53"/>
              <a:gd name="T39" fmla="*/ 14 h 33"/>
              <a:gd name="T40" fmla="*/ 7 w 53"/>
              <a:gd name="T41" fmla="*/ 12 h 33"/>
              <a:gd name="T42" fmla="*/ 9 w 53"/>
              <a:gd name="T43" fmla="*/ 11 h 33"/>
              <a:gd name="T44" fmla="*/ 11 w 53"/>
              <a:gd name="T45" fmla="*/ 9 h 33"/>
              <a:gd name="T46" fmla="*/ 12 w 53"/>
              <a:gd name="T47" fmla="*/ 6 h 33"/>
              <a:gd name="T48" fmla="*/ 13 w 53"/>
              <a:gd name="T4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endParaRPr lang="en-GB" dirty="0"/>
          </a:p>
        </p:txBody>
      </p:sp>
      <p:grpSp>
        <p:nvGrpSpPr>
          <p:cNvPr id="397" name="Group 368">
            <a:extLst>
              <a:ext uri="{FF2B5EF4-FFF2-40B4-BE49-F238E27FC236}">
                <a16:creationId xmlns="" xmlns:a16="http://schemas.microsoft.com/office/drawing/2014/main" id="{386F83A1-977D-4B1C-96D6-7FFBFDC1B7FC}"/>
              </a:ext>
            </a:extLst>
          </p:cNvPr>
          <p:cNvGrpSpPr>
            <a:grpSpLocks/>
          </p:cNvGrpSpPr>
          <p:nvPr>
            <p:custDataLst>
              <p:tags r:id="rId267"/>
            </p:custDataLst>
          </p:nvPr>
        </p:nvGrpSpPr>
        <p:grpSpPr bwMode="auto">
          <a:xfrm>
            <a:off x="5467301" y="4668066"/>
            <a:ext cx="204988" cy="106663"/>
            <a:chOff x="3481" y="2773"/>
            <a:chExt cx="125" cy="65"/>
          </a:xfrm>
        </p:grpSpPr>
        <p:sp>
          <p:nvSpPr>
            <p:cNvPr id="571" name="Freeform 369">
              <a:extLst>
                <a:ext uri="{FF2B5EF4-FFF2-40B4-BE49-F238E27FC236}">
                  <a16:creationId xmlns="" xmlns:a16="http://schemas.microsoft.com/office/drawing/2014/main" id="{9D7A36CD-5C21-4D7D-9AFD-5D5226D2BC2B}"/>
                </a:ext>
              </a:extLst>
            </p:cNvPr>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Lst>
              <a:ahLst/>
              <a:cxnLst>
                <a:cxn ang="0">
                  <a:pos x="T0" y="T1"/>
                </a:cxn>
                <a:cxn ang="0">
                  <a:pos x="T2" y="T3"/>
                </a:cxn>
                <a:cxn ang="0">
                  <a:pos x="T4" y="T5"/>
                </a:cxn>
                <a:cxn ang="0">
                  <a:pos x="T6" y="T7"/>
                </a:cxn>
                <a:cxn ang="0">
                  <a:pos x="T8" y="T9"/>
                </a:cxn>
                <a:cxn ang="0">
                  <a:pos x="T10" y="T11"/>
                </a:cxn>
                <a:cxn ang="0">
                  <a:pos x="T12" y="T13"/>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572" name="Line 370">
              <a:extLst>
                <a:ext uri="{FF2B5EF4-FFF2-40B4-BE49-F238E27FC236}">
                  <a16:creationId xmlns="" xmlns:a16="http://schemas.microsoft.com/office/drawing/2014/main" id="{8EF758A3-E241-46C0-A0EA-D7AC8146D365}"/>
                </a:ext>
              </a:extLst>
            </p:cNvPr>
            <p:cNvSpPr>
              <a:spLocks noChangeShapeType="1"/>
            </p:cNvSpPr>
            <p:nvPr/>
          </p:nvSpPr>
          <p:spPr bwMode="auto">
            <a:xfrm>
              <a:off x="3583" y="2800"/>
              <a:ext cx="2" cy="1"/>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573" name="Freeform 371">
              <a:extLst>
                <a:ext uri="{FF2B5EF4-FFF2-40B4-BE49-F238E27FC236}">
                  <a16:creationId xmlns="" xmlns:a16="http://schemas.microsoft.com/office/drawing/2014/main" id="{36ED3779-E168-4D35-89AC-D924E1F73D18}"/>
                </a:ext>
              </a:extLst>
            </p:cNvPr>
            <p:cNvSpPr>
              <a:spLocks/>
            </p:cNvSpPr>
            <p:nvPr/>
          </p:nvSpPr>
          <p:spPr bwMode="auto">
            <a:xfrm>
              <a:off x="3554" y="2819"/>
              <a:ext cx="5" cy="6"/>
            </a:xfrm>
            <a:custGeom>
              <a:avLst/>
              <a:gdLst>
                <a:gd name="T0" fmla="*/ 14 w 14"/>
                <a:gd name="T1" fmla="*/ 19 h 19"/>
                <a:gd name="T2" fmla="*/ 0 w 14"/>
                <a:gd name="T3" fmla="*/ 0 h 19"/>
                <a:gd name="T4" fmla="*/ 14 w 14"/>
                <a:gd name="T5" fmla="*/ 19 h 19"/>
              </a:gdLst>
              <a:ahLst/>
              <a:cxnLst>
                <a:cxn ang="0">
                  <a:pos x="T0" y="T1"/>
                </a:cxn>
                <a:cxn ang="0">
                  <a:pos x="T2" y="T3"/>
                </a:cxn>
                <a:cxn ang="0">
                  <a:pos x="T4" y="T5"/>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endParaRPr lang="en-GB" dirty="0"/>
            </a:p>
          </p:txBody>
        </p:sp>
        <p:sp>
          <p:nvSpPr>
            <p:cNvPr id="574" name="Freeform 372">
              <a:extLst>
                <a:ext uri="{FF2B5EF4-FFF2-40B4-BE49-F238E27FC236}">
                  <a16:creationId xmlns="" xmlns:a16="http://schemas.microsoft.com/office/drawing/2014/main" id="{AD595E2B-68FA-4428-9035-2E6F5E3E9FA1}"/>
                </a:ext>
              </a:extLst>
            </p:cNvPr>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Lst>
              <a:ahLst/>
              <a:cxnLst>
                <a:cxn ang="0">
                  <a:pos x="T0" y="T1"/>
                </a:cxn>
                <a:cxn ang="0">
                  <a:pos x="T2" y="T3"/>
                </a:cxn>
                <a:cxn ang="0">
                  <a:pos x="T4" y="T5"/>
                </a:cxn>
                <a:cxn ang="0">
                  <a:pos x="T6" y="T7"/>
                </a:cxn>
                <a:cxn ang="0">
                  <a:pos x="T8" y="T9"/>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575" name="Freeform 373">
              <a:extLst>
                <a:ext uri="{FF2B5EF4-FFF2-40B4-BE49-F238E27FC236}">
                  <a16:creationId xmlns="" xmlns:a16="http://schemas.microsoft.com/office/drawing/2014/main" id="{791B44E1-849C-4C19-ADFE-E0FB8F555EB3}"/>
                </a:ext>
              </a:extLst>
            </p:cNvPr>
            <p:cNvSpPr>
              <a:spLocks/>
            </p:cNvSpPr>
            <p:nvPr/>
          </p:nvSpPr>
          <p:spPr bwMode="auto">
            <a:xfrm>
              <a:off x="3599" y="2773"/>
              <a:ext cx="7" cy="4"/>
            </a:xfrm>
            <a:custGeom>
              <a:avLst/>
              <a:gdLst>
                <a:gd name="T0" fmla="*/ 20 w 20"/>
                <a:gd name="T1" fmla="*/ 12 h 12"/>
                <a:gd name="T2" fmla="*/ 10 w 20"/>
                <a:gd name="T3" fmla="*/ 9 h 12"/>
                <a:gd name="T4" fmla="*/ 0 w 20"/>
                <a:gd name="T5" fmla="*/ 6 h 12"/>
                <a:gd name="T6" fmla="*/ 1 w 20"/>
                <a:gd name="T7" fmla="*/ 5 h 12"/>
                <a:gd name="T8" fmla="*/ 3 w 20"/>
                <a:gd name="T9" fmla="*/ 3 h 12"/>
                <a:gd name="T10" fmla="*/ 8 w 20"/>
                <a:gd name="T11" fmla="*/ 1 h 12"/>
                <a:gd name="T12" fmla="*/ 13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576" name="Line 374">
              <a:extLst>
                <a:ext uri="{FF2B5EF4-FFF2-40B4-BE49-F238E27FC236}">
                  <a16:creationId xmlns="" xmlns:a16="http://schemas.microsoft.com/office/drawing/2014/main" id="{A80814A6-5CB2-4E83-8645-0DB7C88A771F}"/>
                </a:ext>
              </a:extLst>
            </p:cNvPr>
            <p:cNvSpPr>
              <a:spLocks noChangeShapeType="1"/>
            </p:cNvSpPr>
            <p:nvPr/>
          </p:nvSpPr>
          <p:spPr bwMode="auto">
            <a:xfrm>
              <a:off x="3603" y="2773"/>
              <a:ext cx="1" cy="2"/>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577" name="Freeform 375">
              <a:extLst>
                <a:ext uri="{FF2B5EF4-FFF2-40B4-BE49-F238E27FC236}">
                  <a16:creationId xmlns="" xmlns:a16="http://schemas.microsoft.com/office/drawing/2014/main" id="{98549F3C-5219-42EA-B5C0-995C5C48D1CC}"/>
                </a:ext>
              </a:extLst>
            </p:cNvPr>
            <p:cNvSpPr>
              <a:spLocks/>
            </p:cNvSpPr>
            <p:nvPr/>
          </p:nvSpPr>
          <p:spPr bwMode="auto">
            <a:xfrm>
              <a:off x="3481" y="2828"/>
              <a:ext cx="7" cy="6"/>
            </a:xfrm>
            <a:custGeom>
              <a:avLst/>
              <a:gdLst>
                <a:gd name="T0" fmla="*/ 0 w 20"/>
                <a:gd name="T1" fmla="*/ 0 h 18"/>
                <a:gd name="T2" fmla="*/ 0 w 20"/>
                <a:gd name="T3" fmla="*/ 18 h 18"/>
                <a:gd name="T4" fmla="*/ 20 w 20"/>
                <a:gd name="T5" fmla="*/ 18 h 18"/>
              </a:gdLst>
              <a:ahLst/>
              <a:cxnLst>
                <a:cxn ang="0">
                  <a:pos x="T0" y="T1"/>
                </a:cxn>
                <a:cxn ang="0">
                  <a:pos x="T2" y="T3"/>
                </a:cxn>
                <a:cxn ang="0">
                  <a:pos x="T4" y="T5"/>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endParaRPr lang="en-GB" dirty="0"/>
            </a:p>
          </p:txBody>
        </p:sp>
        <p:sp>
          <p:nvSpPr>
            <p:cNvPr id="578" name="Freeform 376">
              <a:extLst>
                <a:ext uri="{FF2B5EF4-FFF2-40B4-BE49-F238E27FC236}">
                  <a16:creationId xmlns="" xmlns:a16="http://schemas.microsoft.com/office/drawing/2014/main" id="{76C4F789-678B-4F55-917D-7A2CF62EE7B8}"/>
                </a:ext>
              </a:extLst>
            </p:cNvPr>
            <p:cNvSpPr>
              <a:spLocks/>
            </p:cNvSpPr>
            <p:nvPr/>
          </p:nvSpPr>
          <p:spPr bwMode="auto">
            <a:xfrm>
              <a:off x="3485" y="2830"/>
              <a:ext cx="3" cy="4"/>
            </a:xfrm>
            <a:custGeom>
              <a:avLst/>
              <a:gdLst>
                <a:gd name="T0" fmla="*/ 7 w 7"/>
                <a:gd name="T1" fmla="*/ 12 h 12"/>
                <a:gd name="T2" fmla="*/ 4 w 7"/>
                <a:gd name="T3" fmla="*/ 6 h 12"/>
                <a:gd name="T4" fmla="*/ 0 w 7"/>
                <a:gd name="T5" fmla="*/ 0 h 12"/>
              </a:gdLst>
              <a:ahLst/>
              <a:cxnLst>
                <a:cxn ang="0">
                  <a:pos x="T0" y="T1"/>
                </a:cxn>
                <a:cxn ang="0">
                  <a:pos x="T2" y="T3"/>
                </a:cxn>
                <a:cxn ang="0">
                  <a:pos x="T4" y="T5"/>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579" name="Freeform 377">
              <a:extLst>
                <a:ext uri="{FF2B5EF4-FFF2-40B4-BE49-F238E27FC236}">
                  <a16:creationId xmlns="" xmlns:a16="http://schemas.microsoft.com/office/drawing/2014/main" id="{4B582F25-6B6D-493A-9F29-AA0038DB822D}"/>
                </a:ext>
              </a:extLst>
            </p:cNvPr>
            <p:cNvSpPr>
              <a:spLocks/>
            </p:cNvSpPr>
            <p:nvPr/>
          </p:nvSpPr>
          <p:spPr bwMode="auto">
            <a:xfrm>
              <a:off x="3481" y="2828"/>
              <a:ext cx="7" cy="6"/>
            </a:xfrm>
            <a:custGeom>
              <a:avLst/>
              <a:gdLst>
                <a:gd name="T0" fmla="*/ 0 w 20"/>
                <a:gd name="T1" fmla="*/ 0 h 18"/>
                <a:gd name="T2" fmla="*/ 0 w 20"/>
                <a:gd name="T3" fmla="*/ 18 h 18"/>
                <a:gd name="T4" fmla="*/ 20 w 20"/>
                <a:gd name="T5" fmla="*/ 18 h 18"/>
                <a:gd name="T6" fmla="*/ 17 w 20"/>
                <a:gd name="T7" fmla="*/ 12 h 18"/>
                <a:gd name="T8" fmla="*/ 13 w 20"/>
                <a:gd name="T9" fmla="*/ 6 h 18"/>
                <a:gd name="T10" fmla="*/ 0 w 20"/>
                <a:gd name="T11" fmla="*/ 0 h 18"/>
              </a:gdLst>
              <a:ahLst/>
              <a:cxnLst>
                <a:cxn ang="0">
                  <a:pos x="T0" y="T1"/>
                </a:cxn>
                <a:cxn ang="0">
                  <a:pos x="T2" y="T3"/>
                </a:cxn>
                <a:cxn ang="0">
                  <a:pos x="T4" y="T5"/>
                </a:cxn>
                <a:cxn ang="0">
                  <a:pos x="T6" y="T7"/>
                </a:cxn>
                <a:cxn ang="0">
                  <a:pos x="T8" y="T9"/>
                </a:cxn>
                <a:cxn ang="0">
                  <a:pos x="T10" y="T11"/>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580" name="Freeform 378">
              <a:extLst>
                <a:ext uri="{FF2B5EF4-FFF2-40B4-BE49-F238E27FC236}">
                  <a16:creationId xmlns="" xmlns:a16="http://schemas.microsoft.com/office/drawing/2014/main" id="{5A2B4939-6F4D-4DDE-994E-1C262EA9CD01}"/>
                </a:ext>
              </a:extLst>
            </p:cNvPr>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 name="T10" fmla="*/ 0 w 7"/>
                <a:gd name="T11" fmla="*/ 6 h 18"/>
              </a:gdLst>
              <a:ahLst/>
              <a:cxnLst>
                <a:cxn ang="0">
                  <a:pos x="T0" y="T1"/>
                </a:cxn>
                <a:cxn ang="0">
                  <a:pos x="T2" y="T3"/>
                </a:cxn>
                <a:cxn ang="0">
                  <a:pos x="T4" y="T5"/>
                </a:cxn>
                <a:cxn ang="0">
                  <a:pos x="T6" y="T7"/>
                </a:cxn>
                <a:cxn ang="0">
                  <a:pos x="T8" y="T9"/>
                </a:cxn>
                <a:cxn ang="0">
                  <a:pos x="T10" y="T11"/>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581" name="Freeform 379">
              <a:extLst>
                <a:ext uri="{FF2B5EF4-FFF2-40B4-BE49-F238E27FC236}">
                  <a16:creationId xmlns="" xmlns:a16="http://schemas.microsoft.com/office/drawing/2014/main" id="{33FA1471-CE40-41B1-B4D9-269DE9E2960C}"/>
                </a:ext>
              </a:extLst>
            </p:cNvPr>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 name="T14" fmla="*/ 6 w 13"/>
                <a:gd name="T15" fmla="*/ 6 h 18"/>
                <a:gd name="T16" fmla="*/ 13 w 13"/>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endParaRPr lang="en-GB" dirty="0"/>
            </a:p>
          </p:txBody>
        </p:sp>
      </p:grpSp>
      <p:sp>
        <p:nvSpPr>
          <p:cNvPr id="398" name="Freeform 380">
            <a:extLst>
              <a:ext uri="{FF2B5EF4-FFF2-40B4-BE49-F238E27FC236}">
                <a16:creationId xmlns="" xmlns:a16="http://schemas.microsoft.com/office/drawing/2014/main" id="{3A6BD179-FF44-431C-A8E2-60BDF5537DE6}"/>
              </a:ext>
            </a:extLst>
          </p:cNvPr>
          <p:cNvSpPr>
            <a:spLocks/>
          </p:cNvSpPr>
          <p:nvPr>
            <p:custDataLst>
              <p:tags r:id="rId268"/>
            </p:custDataLst>
          </p:nvPr>
        </p:nvSpPr>
        <p:spPr bwMode="auto">
          <a:xfrm>
            <a:off x="4405616" y="4659860"/>
            <a:ext cx="388704" cy="392194"/>
          </a:xfrm>
          <a:custGeom>
            <a:avLst/>
            <a:gdLst>
              <a:gd name="T0" fmla="*/ 60 w 736"/>
              <a:gd name="T1" fmla="*/ 685 h 721"/>
              <a:gd name="T2" fmla="*/ 91 w 736"/>
              <a:gd name="T3" fmla="*/ 668 h 721"/>
              <a:gd name="T4" fmla="*/ 126 w 736"/>
              <a:gd name="T5" fmla="*/ 668 h 721"/>
              <a:gd name="T6" fmla="*/ 196 w 736"/>
              <a:gd name="T7" fmla="*/ 692 h 721"/>
              <a:gd name="T8" fmla="*/ 245 w 736"/>
              <a:gd name="T9" fmla="*/ 705 h 721"/>
              <a:gd name="T10" fmla="*/ 292 w 736"/>
              <a:gd name="T11" fmla="*/ 703 h 721"/>
              <a:gd name="T12" fmla="*/ 611 w 736"/>
              <a:gd name="T13" fmla="*/ 717 h 721"/>
              <a:gd name="T14" fmla="*/ 651 w 736"/>
              <a:gd name="T15" fmla="*/ 707 h 721"/>
              <a:gd name="T16" fmla="*/ 627 w 736"/>
              <a:gd name="T17" fmla="*/ 657 h 721"/>
              <a:gd name="T18" fmla="*/ 664 w 736"/>
              <a:gd name="T19" fmla="*/ 433 h 721"/>
              <a:gd name="T20" fmla="*/ 709 w 736"/>
              <a:gd name="T21" fmla="*/ 429 h 721"/>
              <a:gd name="T22" fmla="*/ 723 w 736"/>
              <a:gd name="T23" fmla="*/ 416 h 721"/>
              <a:gd name="T24" fmla="*/ 734 w 736"/>
              <a:gd name="T25" fmla="*/ 360 h 721"/>
              <a:gd name="T26" fmla="*/ 722 w 736"/>
              <a:gd name="T27" fmla="*/ 302 h 721"/>
              <a:gd name="T28" fmla="*/ 708 w 736"/>
              <a:gd name="T29" fmla="*/ 304 h 721"/>
              <a:gd name="T30" fmla="*/ 676 w 736"/>
              <a:gd name="T31" fmla="*/ 300 h 721"/>
              <a:gd name="T32" fmla="*/ 634 w 736"/>
              <a:gd name="T33" fmla="*/ 299 h 721"/>
              <a:gd name="T34" fmla="*/ 623 w 736"/>
              <a:gd name="T35" fmla="*/ 290 h 721"/>
              <a:gd name="T36" fmla="*/ 617 w 736"/>
              <a:gd name="T37" fmla="*/ 253 h 721"/>
              <a:gd name="T38" fmla="*/ 607 w 736"/>
              <a:gd name="T39" fmla="*/ 219 h 721"/>
              <a:gd name="T40" fmla="*/ 597 w 736"/>
              <a:gd name="T41" fmla="*/ 186 h 721"/>
              <a:gd name="T42" fmla="*/ 607 w 736"/>
              <a:gd name="T43" fmla="*/ 167 h 721"/>
              <a:gd name="T44" fmla="*/ 617 w 736"/>
              <a:gd name="T45" fmla="*/ 148 h 721"/>
              <a:gd name="T46" fmla="*/ 611 w 736"/>
              <a:gd name="T47" fmla="*/ 100 h 721"/>
              <a:gd name="T48" fmla="*/ 544 w 736"/>
              <a:gd name="T49" fmla="*/ 70 h 721"/>
              <a:gd name="T50" fmla="*/ 477 w 736"/>
              <a:gd name="T51" fmla="*/ 66 h 721"/>
              <a:gd name="T52" fmla="*/ 471 w 736"/>
              <a:gd name="T53" fmla="*/ 81 h 721"/>
              <a:gd name="T54" fmla="*/ 463 w 736"/>
              <a:gd name="T55" fmla="*/ 101 h 721"/>
              <a:gd name="T56" fmla="*/ 440 w 736"/>
              <a:gd name="T57" fmla="*/ 122 h 721"/>
              <a:gd name="T58" fmla="*/ 392 w 736"/>
              <a:gd name="T59" fmla="*/ 130 h 721"/>
              <a:gd name="T60" fmla="*/ 364 w 736"/>
              <a:gd name="T61" fmla="*/ 115 h 721"/>
              <a:gd name="T62" fmla="*/ 339 w 736"/>
              <a:gd name="T63" fmla="*/ 82 h 721"/>
              <a:gd name="T64" fmla="*/ 319 w 736"/>
              <a:gd name="T65" fmla="*/ 39 h 721"/>
              <a:gd name="T66" fmla="*/ 312 w 736"/>
              <a:gd name="T67" fmla="*/ 0 h 721"/>
              <a:gd name="T68" fmla="*/ 30 w 736"/>
              <a:gd name="T69" fmla="*/ 15 h 721"/>
              <a:gd name="T70" fmla="*/ 47 w 736"/>
              <a:gd name="T71" fmla="*/ 29 h 721"/>
              <a:gd name="T72" fmla="*/ 75 w 736"/>
              <a:gd name="T73" fmla="*/ 75 h 721"/>
              <a:gd name="T74" fmla="*/ 102 w 736"/>
              <a:gd name="T75" fmla="*/ 130 h 721"/>
              <a:gd name="T76" fmla="*/ 103 w 736"/>
              <a:gd name="T77" fmla="*/ 171 h 721"/>
              <a:gd name="T78" fmla="*/ 93 w 736"/>
              <a:gd name="T79" fmla="*/ 203 h 721"/>
              <a:gd name="T80" fmla="*/ 96 w 736"/>
              <a:gd name="T81" fmla="*/ 229 h 721"/>
              <a:gd name="T82" fmla="*/ 119 w 736"/>
              <a:gd name="T83" fmla="*/ 272 h 721"/>
              <a:gd name="T84" fmla="*/ 131 w 736"/>
              <a:gd name="T85" fmla="*/ 307 h 721"/>
              <a:gd name="T86" fmla="*/ 127 w 736"/>
              <a:gd name="T87" fmla="*/ 352 h 721"/>
              <a:gd name="T88" fmla="*/ 106 w 736"/>
              <a:gd name="T89" fmla="*/ 403 h 721"/>
              <a:gd name="T90" fmla="*/ 77 w 736"/>
              <a:gd name="T91" fmla="*/ 446 h 721"/>
              <a:gd name="T92" fmla="*/ 41 w 736"/>
              <a:gd name="T93" fmla="*/ 477 h 721"/>
              <a:gd name="T94" fmla="*/ 25 w 736"/>
              <a:gd name="T95" fmla="*/ 591 h 721"/>
              <a:gd name="T96" fmla="*/ 11 w 736"/>
              <a:gd name="T97" fmla="*/ 62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chemeClr val="accent2"/>
          </a:solidFill>
          <a:ln w="9525" cmpd="sng">
            <a:solidFill>
              <a:srgbClr val="FFFFFF"/>
            </a:solidFill>
            <a:prstDash val="solid"/>
            <a:round/>
            <a:headEnd/>
            <a:tailEnd/>
          </a:ln>
        </p:spPr>
        <p:txBody>
          <a:bodyPr/>
          <a:lstStyle/>
          <a:p>
            <a:endParaRPr lang="en-GB" dirty="0"/>
          </a:p>
        </p:txBody>
      </p:sp>
      <p:sp>
        <p:nvSpPr>
          <p:cNvPr id="399" name="Freeform 381">
            <a:extLst>
              <a:ext uri="{FF2B5EF4-FFF2-40B4-BE49-F238E27FC236}">
                <a16:creationId xmlns="" xmlns:a16="http://schemas.microsoft.com/office/drawing/2014/main" id="{78279F4C-3950-41F5-B752-0DF3B546F0B4}"/>
              </a:ext>
            </a:extLst>
          </p:cNvPr>
          <p:cNvSpPr>
            <a:spLocks/>
          </p:cNvSpPr>
          <p:nvPr>
            <p:custDataLst>
              <p:tags r:id="rId269"/>
            </p:custDataLst>
          </p:nvPr>
        </p:nvSpPr>
        <p:spPr bwMode="auto">
          <a:xfrm>
            <a:off x="4419153" y="4631964"/>
            <a:ext cx="19338" cy="62357"/>
          </a:xfrm>
          <a:custGeom>
            <a:avLst/>
            <a:gdLst>
              <a:gd name="T0" fmla="*/ 0 w 39"/>
              <a:gd name="T1" fmla="*/ 31 h 31"/>
              <a:gd name="T2" fmla="*/ 12 w 39"/>
              <a:gd name="T3" fmla="*/ 28 h 31"/>
              <a:gd name="T4" fmla="*/ 22 w 39"/>
              <a:gd name="T5" fmla="*/ 28 h 31"/>
              <a:gd name="T6" fmla="*/ 26 w 39"/>
              <a:gd name="T7" fmla="*/ 28 h 31"/>
              <a:gd name="T8" fmla="*/ 30 w 39"/>
              <a:gd name="T9" fmla="*/ 28 h 31"/>
              <a:gd name="T10" fmla="*/ 35 w 39"/>
              <a:gd name="T11" fmla="*/ 27 h 31"/>
              <a:gd name="T12" fmla="*/ 39 w 39"/>
              <a:gd name="T13" fmla="*/ 25 h 31"/>
              <a:gd name="T14" fmla="*/ 39 w 39"/>
              <a:gd name="T15" fmla="*/ 0 h 31"/>
              <a:gd name="T16" fmla="*/ 26 w 39"/>
              <a:gd name="T17" fmla="*/ 0 h 31"/>
              <a:gd name="T18" fmla="*/ 17 w 39"/>
              <a:gd name="T19" fmla="*/ 0 h 31"/>
              <a:gd name="T20" fmla="*/ 8 w 39"/>
              <a:gd name="T21" fmla="*/ 0 h 31"/>
              <a:gd name="T22" fmla="*/ 0 w 39"/>
              <a:gd name="T23" fmla="*/ 0 h 31"/>
              <a:gd name="T24" fmla="*/ 0 w 39"/>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00" name="Freeform 382">
            <a:extLst>
              <a:ext uri="{FF2B5EF4-FFF2-40B4-BE49-F238E27FC236}">
                <a16:creationId xmlns="" xmlns:a16="http://schemas.microsoft.com/office/drawing/2014/main" id="{EB5403D5-5D59-46F0-990D-4491B52C80A2}"/>
              </a:ext>
            </a:extLst>
          </p:cNvPr>
          <p:cNvSpPr>
            <a:spLocks/>
          </p:cNvSpPr>
          <p:nvPr>
            <p:custDataLst>
              <p:tags r:id="rId270"/>
            </p:custDataLst>
          </p:nvPr>
        </p:nvSpPr>
        <p:spPr bwMode="auto">
          <a:xfrm>
            <a:off x="4539744" y="5199527"/>
            <a:ext cx="483464" cy="411885"/>
          </a:xfrm>
          <a:custGeom>
            <a:avLst/>
            <a:gdLst>
              <a:gd name="T0" fmla="*/ 899 w 903"/>
              <a:gd name="T1" fmla="*/ 291 h 759"/>
              <a:gd name="T2" fmla="*/ 863 w 903"/>
              <a:gd name="T3" fmla="*/ 388 h 759"/>
              <a:gd name="T4" fmla="*/ 832 w 903"/>
              <a:gd name="T5" fmla="*/ 414 h 759"/>
              <a:gd name="T6" fmla="*/ 761 w 903"/>
              <a:gd name="T7" fmla="*/ 507 h 759"/>
              <a:gd name="T8" fmla="*/ 720 w 903"/>
              <a:gd name="T9" fmla="*/ 561 h 759"/>
              <a:gd name="T10" fmla="*/ 647 w 903"/>
              <a:gd name="T11" fmla="*/ 613 h 759"/>
              <a:gd name="T12" fmla="*/ 583 w 903"/>
              <a:gd name="T13" fmla="*/ 666 h 759"/>
              <a:gd name="T14" fmla="*/ 557 w 903"/>
              <a:gd name="T15" fmla="*/ 698 h 759"/>
              <a:gd name="T16" fmla="*/ 520 w 903"/>
              <a:gd name="T17" fmla="*/ 705 h 759"/>
              <a:gd name="T18" fmla="*/ 496 w 903"/>
              <a:gd name="T19" fmla="*/ 710 h 759"/>
              <a:gd name="T20" fmla="*/ 485 w 903"/>
              <a:gd name="T21" fmla="*/ 727 h 759"/>
              <a:gd name="T22" fmla="*/ 372 w 903"/>
              <a:gd name="T23" fmla="*/ 727 h 759"/>
              <a:gd name="T24" fmla="*/ 339 w 903"/>
              <a:gd name="T25" fmla="*/ 732 h 759"/>
              <a:gd name="T26" fmla="*/ 316 w 903"/>
              <a:gd name="T27" fmla="*/ 732 h 759"/>
              <a:gd name="T28" fmla="*/ 286 w 903"/>
              <a:gd name="T29" fmla="*/ 727 h 759"/>
              <a:gd name="T30" fmla="*/ 263 w 903"/>
              <a:gd name="T31" fmla="*/ 737 h 759"/>
              <a:gd name="T32" fmla="*/ 146 w 903"/>
              <a:gd name="T33" fmla="*/ 759 h 759"/>
              <a:gd name="T34" fmla="*/ 116 w 903"/>
              <a:gd name="T35" fmla="*/ 753 h 759"/>
              <a:gd name="T36" fmla="*/ 90 w 903"/>
              <a:gd name="T37" fmla="*/ 739 h 759"/>
              <a:gd name="T38" fmla="*/ 76 w 903"/>
              <a:gd name="T39" fmla="*/ 719 h 759"/>
              <a:gd name="T40" fmla="*/ 79 w 903"/>
              <a:gd name="T41" fmla="*/ 697 h 759"/>
              <a:gd name="T42" fmla="*/ 75 w 903"/>
              <a:gd name="T43" fmla="*/ 628 h 759"/>
              <a:gd name="T44" fmla="*/ 79 w 903"/>
              <a:gd name="T45" fmla="*/ 608 h 759"/>
              <a:gd name="T46" fmla="*/ 68 w 903"/>
              <a:gd name="T47" fmla="*/ 572 h 759"/>
              <a:gd name="T48" fmla="*/ 22 w 903"/>
              <a:gd name="T49" fmla="*/ 516 h 759"/>
              <a:gd name="T50" fmla="*/ 12 w 903"/>
              <a:gd name="T51" fmla="*/ 484 h 759"/>
              <a:gd name="T52" fmla="*/ 10 w 903"/>
              <a:gd name="T53" fmla="*/ 439 h 759"/>
              <a:gd name="T54" fmla="*/ 0 w 903"/>
              <a:gd name="T55" fmla="*/ 377 h 759"/>
              <a:gd name="T56" fmla="*/ 39 w 903"/>
              <a:gd name="T57" fmla="*/ 377 h 759"/>
              <a:gd name="T58" fmla="*/ 57 w 903"/>
              <a:gd name="T59" fmla="*/ 396 h 759"/>
              <a:gd name="T60" fmla="*/ 94 w 903"/>
              <a:gd name="T61" fmla="*/ 410 h 759"/>
              <a:gd name="T62" fmla="*/ 135 w 903"/>
              <a:gd name="T63" fmla="*/ 411 h 759"/>
              <a:gd name="T64" fmla="*/ 160 w 903"/>
              <a:gd name="T65" fmla="*/ 400 h 759"/>
              <a:gd name="T66" fmla="*/ 182 w 903"/>
              <a:gd name="T67" fmla="*/ 372 h 759"/>
              <a:gd name="T68" fmla="*/ 197 w 903"/>
              <a:gd name="T69" fmla="*/ 229 h 759"/>
              <a:gd name="T70" fmla="*/ 204 w 903"/>
              <a:gd name="T71" fmla="*/ 184 h 759"/>
              <a:gd name="T72" fmla="*/ 210 w 903"/>
              <a:gd name="T73" fmla="*/ 168 h 759"/>
              <a:gd name="T74" fmla="*/ 239 w 903"/>
              <a:gd name="T75" fmla="*/ 178 h 759"/>
              <a:gd name="T76" fmla="*/ 245 w 903"/>
              <a:gd name="T77" fmla="*/ 238 h 759"/>
              <a:gd name="T78" fmla="*/ 247 w 903"/>
              <a:gd name="T79" fmla="*/ 274 h 759"/>
              <a:gd name="T80" fmla="*/ 256 w 903"/>
              <a:gd name="T81" fmla="*/ 287 h 759"/>
              <a:gd name="T82" fmla="*/ 287 w 903"/>
              <a:gd name="T83" fmla="*/ 295 h 759"/>
              <a:gd name="T84" fmla="*/ 312 w 903"/>
              <a:gd name="T85" fmla="*/ 293 h 759"/>
              <a:gd name="T86" fmla="*/ 333 w 903"/>
              <a:gd name="T87" fmla="*/ 272 h 759"/>
              <a:gd name="T88" fmla="*/ 350 w 903"/>
              <a:gd name="T89" fmla="*/ 234 h 759"/>
              <a:gd name="T90" fmla="*/ 368 w 903"/>
              <a:gd name="T91" fmla="*/ 201 h 759"/>
              <a:gd name="T92" fmla="*/ 387 w 903"/>
              <a:gd name="T93" fmla="*/ 191 h 759"/>
              <a:gd name="T94" fmla="*/ 414 w 903"/>
              <a:gd name="T95" fmla="*/ 193 h 759"/>
              <a:gd name="T96" fmla="*/ 451 w 903"/>
              <a:gd name="T97" fmla="*/ 208 h 759"/>
              <a:gd name="T98" fmla="*/ 478 w 903"/>
              <a:gd name="T99" fmla="*/ 216 h 759"/>
              <a:gd name="T100" fmla="*/ 512 w 903"/>
              <a:gd name="T101" fmla="*/ 213 h 759"/>
              <a:gd name="T102" fmla="*/ 531 w 903"/>
              <a:gd name="T103" fmla="*/ 200 h 759"/>
              <a:gd name="T104" fmla="*/ 564 w 903"/>
              <a:gd name="T105" fmla="*/ 127 h 759"/>
              <a:gd name="T106" fmla="*/ 620 w 903"/>
              <a:gd name="T107" fmla="*/ 80 h 759"/>
              <a:gd name="T108" fmla="*/ 732 w 903"/>
              <a:gd name="T109" fmla="*/ 11 h 759"/>
              <a:gd name="T110" fmla="*/ 806 w 903"/>
              <a:gd name="T111" fmla="*/ 3 h 759"/>
              <a:gd name="T112" fmla="*/ 830 w 903"/>
              <a:gd name="T113" fmla="*/ 6 h 759"/>
              <a:gd name="T114" fmla="*/ 854 w 903"/>
              <a:gd name="T115" fmla="*/ 35 h 759"/>
              <a:gd name="T116" fmla="*/ 873 w 903"/>
              <a:gd name="T117" fmla="*/ 71 h 759"/>
              <a:gd name="T118" fmla="*/ 883 w 903"/>
              <a:gd name="T119" fmla="*/ 107 h 759"/>
              <a:gd name="T120" fmla="*/ 868 w 903"/>
              <a:gd name="T121" fmla="*/ 207 h 759"/>
              <a:gd name="T122" fmla="*/ 830 w 903"/>
              <a:gd name="T123" fmla="*/ 204 h 759"/>
              <a:gd name="T124" fmla="*/ 826 w 903"/>
              <a:gd name="T125" fmla="*/ 281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000" b="1" dirty="0"/>
          </a:p>
        </p:txBody>
      </p:sp>
      <p:sp>
        <p:nvSpPr>
          <p:cNvPr id="401" name="Freeform 383">
            <a:extLst>
              <a:ext uri="{FF2B5EF4-FFF2-40B4-BE49-F238E27FC236}">
                <a16:creationId xmlns="" xmlns:a16="http://schemas.microsoft.com/office/drawing/2014/main" id="{63357985-FB9E-4587-ABB3-08460C3ECC70}"/>
              </a:ext>
            </a:extLst>
          </p:cNvPr>
          <p:cNvSpPr>
            <a:spLocks/>
          </p:cNvSpPr>
          <p:nvPr>
            <p:custDataLst>
              <p:tags r:id="rId271"/>
            </p:custDataLst>
          </p:nvPr>
        </p:nvSpPr>
        <p:spPr bwMode="auto">
          <a:xfrm>
            <a:off x="4722768" y="3713017"/>
            <a:ext cx="500868" cy="631775"/>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GB" dirty="0"/>
          </a:p>
        </p:txBody>
      </p:sp>
      <p:grpSp>
        <p:nvGrpSpPr>
          <p:cNvPr id="402" name="Group 384">
            <a:extLst>
              <a:ext uri="{FF2B5EF4-FFF2-40B4-BE49-F238E27FC236}">
                <a16:creationId xmlns="" xmlns:a16="http://schemas.microsoft.com/office/drawing/2014/main" id="{FF455486-DCCF-4BD7-B277-75D47587A8EC}"/>
              </a:ext>
            </a:extLst>
          </p:cNvPr>
          <p:cNvGrpSpPr>
            <a:grpSpLocks/>
          </p:cNvGrpSpPr>
          <p:nvPr>
            <p:custDataLst>
              <p:tags r:id="rId272"/>
            </p:custDataLst>
          </p:nvPr>
        </p:nvGrpSpPr>
        <p:grpSpPr bwMode="auto">
          <a:xfrm>
            <a:off x="3241437" y="3921421"/>
            <a:ext cx="98626" cy="85330"/>
            <a:chOff x="2352" y="2343"/>
            <a:chExt cx="65" cy="53"/>
          </a:xfrm>
        </p:grpSpPr>
        <p:sp>
          <p:nvSpPr>
            <p:cNvPr id="565" name="Freeform 385">
              <a:extLst>
                <a:ext uri="{FF2B5EF4-FFF2-40B4-BE49-F238E27FC236}">
                  <a16:creationId xmlns="" xmlns:a16="http://schemas.microsoft.com/office/drawing/2014/main" id="{32997345-88F9-485D-9AE5-103D278EDBCB}"/>
                </a:ext>
              </a:extLst>
            </p:cNvPr>
            <p:cNvSpPr>
              <a:spLocks/>
            </p:cNvSpPr>
            <p:nvPr/>
          </p:nvSpPr>
          <p:spPr bwMode="auto">
            <a:xfrm>
              <a:off x="2352" y="2343"/>
              <a:ext cx="16" cy="11"/>
            </a:xfrm>
            <a:custGeom>
              <a:avLst/>
              <a:gdLst>
                <a:gd name="T0" fmla="*/ 46 w 51"/>
                <a:gd name="T1" fmla="*/ 0 h 33"/>
                <a:gd name="T2" fmla="*/ 0 w 51"/>
                <a:gd name="T3" fmla="*/ 5 h 33"/>
                <a:gd name="T4" fmla="*/ 4 w 51"/>
                <a:gd name="T5" fmla="*/ 28 h 33"/>
                <a:gd name="T6" fmla="*/ 10 w 51"/>
                <a:gd name="T7" fmla="*/ 33 h 33"/>
                <a:gd name="T8" fmla="*/ 35 w 51"/>
                <a:gd name="T9" fmla="*/ 25 h 33"/>
                <a:gd name="T10" fmla="*/ 48 w 51"/>
                <a:gd name="T11" fmla="*/ 15 h 33"/>
                <a:gd name="T12" fmla="*/ 51 w 51"/>
                <a:gd name="T13" fmla="*/ 8 h 33"/>
                <a:gd name="T14" fmla="*/ 46 w 51"/>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566" name="Freeform 386">
              <a:extLst>
                <a:ext uri="{FF2B5EF4-FFF2-40B4-BE49-F238E27FC236}">
                  <a16:creationId xmlns="" xmlns:a16="http://schemas.microsoft.com/office/drawing/2014/main" id="{0105D2A5-542F-4956-A254-B7E68D15460D}"/>
                </a:ext>
              </a:extLst>
            </p:cNvPr>
            <p:cNvSpPr>
              <a:spLocks/>
            </p:cNvSpPr>
            <p:nvPr/>
          </p:nvSpPr>
          <p:spPr bwMode="auto">
            <a:xfrm>
              <a:off x="2372" y="2354"/>
              <a:ext cx="20" cy="7"/>
            </a:xfrm>
            <a:custGeom>
              <a:avLst/>
              <a:gdLst>
                <a:gd name="T0" fmla="*/ 61 w 61"/>
                <a:gd name="T1" fmla="*/ 6 h 20"/>
                <a:gd name="T2" fmla="*/ 53 w 61"/>
                <a:gd name="T3" fmla="*/ 2 h 20"/>
                <a:gd name="T4" fmla="*/ 0 w 61"/>
                <a:gd name="T5" fmla="*/ 0 h 20"/>
                <a:gd name="T6" fmla="*/ 2 w 61"/>
                <a:gd name="T7" fmla="*/ 14 h 20"/>
                <a:gd name="T8" fmla="*/ 7 w 61"/>
                <a:gd name="T9" fmla="*/ 20 h 20"/>
                <a:gd name="T10" fmla="*/ 18 w 61"/>
                <a:gd name="T11" fmla="*/ 13 h 20"/>
                <a:gd name="T12" fmla="*/ 61 w 61"/>
                <a:gd name="T13" fmla="*/ 6 h 20"/>
              </a:gdLst>
              <a:ahLst/>
              <a:cxnLst>
                <a:cxn ang="0">
                  <a:pos x="T0" y="T1"/>
                </a:cxn>
                <a:cxn ang="0">
                  <a:pos x="T2" y="T3"/>
                </a:cxn>
                <a:cxn ang="0">
                  <a:pos x="T4" y="T5"/>
                </a:cxn>
                <a:cxn ang="0">
                  <a:pos x="T6" y="T7"/>
                </a:cxn>
                <a:cxn ang="0">
                  <a:pos x="T8" y="T9"/>
                </a:cxn>
                <a:cxn ang="0">
                  <a:pos x="T10" y="T11"/>
                </a:cxn>
                <a:cxn ang="0">
                  <a:pos x="T12" y="T13"/>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567" name="Freeform 387">
              <a:extLst>
                <a:ext uri="{FF2B5EF4-FFF2-40B4-BE49-F238E27FC236}">
                  <a16:creationId xmlns="" xmlns:a16="http://schemas.microsoft.com/office/drawing/2014/main" id="{6A0CB35C-CE8E-4D22-B722-12328BA9A969}"/>
                </a:ext>
              </a:extLst>
            </p:cNvPr>
            <p:cNvSpPr>
              <a:spLocks/>
            </p:cNvSpPr>
            <p:nvPr/>
          </p:nvSpPr>
          <p:spPr bwMode="auto">
            <a:xfrm>
              <a:off x="2407" y="2346"/>
              <a:ext cx="5" cy="12"/>
            </a:xfrm>
            <a:custGeom>
              <a:avLst/>
              <a:gdLst>
                <a:gd name="T0" fmla="*/ 2 w 15"/>
                <a:gd name="T1" fmla="*/ 0 h 36"/>
                <a:gd name="T2" fmla="*/ 0 w 15"/>
                <a:gd name="T3" fmla="*/ 20 h 36"/>
                <a:gd name="T4" fmla="*/ 0 w 15"/>
                <a:gd name="T5" fmla="*/ 36 h 36"/>
                <a:gd name="T6" fmla="*/ 11 w 15"/>
                <a:gd name="T7" fmla="*/ 35 h 36"/>
                <a:gd name="T8" fmla="*/ 15 w 15"/>
                <a:gd name="T9" fmla="*/ 14 h 36"/>
                <a:gd name="T10" fmla="*/ 2 w 15"/>
                <a:gd name="T11" fmla="*/ 0 h 36"/>
              </a:gdLst>
              <a:ahLst/>
              <a:cxnLst>
                <a:cxn ang="0">
                  <a:pos x="T0" y="T1"/>
                </a:cxn>
                <a:cxn ang="0">
                  <a:pos x="T2" y="T3"/>
                </a:cxn>
                <a:cxn ang="0">
                  <a:pos x="T4" y="T5"/>
                </a:cxn>
                <a:cxn ang="0">
                  <a:pos x="T6" y="T7"/>
                </a:cxn>
                <a:cxn ang="0">
                  <a:pos x="T8" y="T9"/>
                </a:cxn>
                <a:cxn ang="0">
                  <a:pos x="T10" y="T11"/>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568" name="Freeform 388">
              <a:extLst>
                <a:ext uri="{FF2B5EF4-FFF2-40B4-BE49-F238E27FC236}">
                  <a16:creationId xmlns="" xmlns:a16="http://schemas.microsoft.com/office/drawing/2014/main" id="{6B8AFB5F-4AA2-42DF-A408-A37601BF9E89}"/>
                </a:ext>
              </a:extLst>
            </p:cNvPr>
            <p:cNvSpPr>
              <a:spLocks/>
            </p:cNvSpPr>
            <p:nvPr/>
          </p:nvSpPr>
          <p:spPr bwMode="auto">
            <a:xfrm>
              <a:off x="2406" y="2361"/>
              <a:ext cx="11" cy="11"/>
            </a:xfrm>
            <a:custGeom>
              <a:avLst/>
              <a:gdLst>
                <a:gd name="T0" fmla="*/ 4 w 37"/>
                <a:gd name="T1" fmla="*/ 4 h 33"/>
                <a:gd name="T2" fmla="*/ 22 w 37"/>
                <a:gd name="T3" fmla="*/ 0 h 33"/>
                <a:gd name="T4" fmla="*/ 35 w 37"/>
                <a:gd name="T5" fmla="*/ 6 h 33"/>
                <a:gd name="T6" fmla="*/ 37 w 37"/>
                <a:gd name="T7" fmla="*/ 22 h 33"/>
                <a:gd name="T8" fmla="*/ 24 w 37"/>
                <a:gd name="T9" fmla="*/ 33 h 33"/>
                <a:gd name="T10" fmla="*/ 11 w 37"/>
                <a:gd name="T11" fmla="*/ 33 h 33"/>
                <a:gd name="T12" fmla="*/ 2 w 37"/>
                <a:gd name="T13" fmla="*/ 24 h 33"/>
                <a:gd name="T14" fmla="*/ 0 w 37"/>
                <a:gd name="T15" fmla="*/ 16 h 33"/>
                <a:gd name="T16" fmla="*/ 4 w 37"/>
                <a:gd name="T17"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en-GB" dirty="0"/>
            </a:p>
          </p:txBody>
        </p:sp>
        <p:sp>
          <p:nvSpPr>
            <p:cNvPr id="569" name="Freeform 389">
              <a:extLst>
                <a:ext uri="{FF2B5EF4-FFF2-40B4-BE49-F238E27FC236}">
                  <a16:creationId xmlns="" xmlns:a16="http://schemas.microsoft.com/office/drawing/2014/main" id="{AD644623-B101-455A-9F3A-987EE614C61F}"/>
                </a:ext>
              </a:extLst>
            </p:cNvPr>
            <p:cNvSpPr>
              <a:spLocks/>
            </p:cNvSpPr>
            <p:nvPr/>
          </p:nvSpPr>
          <p:spPr bwMode="auto">
            <a:xfrm>
              <a:off x="2388" y="2378"/>
              <a:ext cx="16" cy="18"/>
            </a:xfrm>
            <a:custGeom>
              <a:avLst/>
              <a:gdLst>
                <a:gd name="T0" fmla="*/ 2 w 49"/>
                <a:gd name="T1" fmla="*/ 0 h 54"/>
                <a:gd name="T2" fmla="*/ 0 w 49"/>
                <a:gd name="T3" fmla="*/ 0 h 54"/>
                <a:gd name="T4" fmla="*/ 2 w 49"/>
                <a:gd name="T5" fmla="*/ 50 h 54"/>
                <a:gd name="T6" fmla="*/ 18 w 49"/>
                <a:gd name="T7" fmla="*/ 54 h 54"/>
                <a:gd name="T8" fmla="*/ 44 w 49"/>
                <a:gd name="T9" fmla="*/ 45 h 54"/>
                <a:gd name="T10" fmla="*/ 49 w 49"/>
                <a:gd name="T11" fmla="*/ 31 h 54"/>
                <a:gd name="T12" fmla="*/ 40 w 49"/>
                <a:gd name="T13" fmla="*/ 21 h 54"/>
                <a:gd name="T14" fmla="*/ 19 w 49"/>
                <a:gd name="T15" fmla="*/ 8 h 54"/>
                <a:gd name="T16" fmla="*/ 2 w 49"/>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570" name="Freeform 390">
              <a:extLst>
                <a:ext uri="{FF2B5EF4-FFF2-40B4-BE49-F238E27FC236}">
                  <a16:creationId xmlns="" xmlns:a16="http://schemas.microsoft.com/office/drawing/2014/main" id="{7AAF6173-7ECD-4288-A1FF-3F131D6DEE25}"/>
                </a:ext>
              </a:extLst>
            </p:cNvPr>
            <p:cNvSpPr>
              <a:spLocks/>
            </p:cNvSpPr>
            <p:nvPr/>
          </p:nvSpPr>
          <p:spPr bwMode="auto">
            <a:xfrm>
              <a:off x="2374" y="2388"/>
              <a:ext cx="9" cy="7"/>
            </a:xfrm>
            <a:custGeom>
              <a:avLst/>
              <a:gdLst>
                <a:gd name="T0" fmla="*/ 18 w 26"/>
                <a:gd name="T1" fmla="*/ 0 h 22"/>
                <a:gd name="T2" fmla="*/ 3 w 26"/>
                <a:gd name="T3" fmla="*/ 2 h 22"/>
                <a:gd name="T4" fmla="*/ 0 w 26"/>
                <a:gd name="T5" fmla="*/ 15 h 22"/>
                <a:gd name="T6" fmla="*/ 6 w 26"/>
                <a:gd name="T7" fmla="*/ 21 h 22"/>
                <a:gd name="T8" fmla="*/ 19 w 26"/>
                <a:gd name="T9" fmla="*/ 22 h 22"/>
                <a:gd name="T10" fmla="*/ 26 w 26"/>
                <a:gd name="T11" fmla="*/ 11 h 22"/>
                <a:gd name="T12" fmla="*/ 18 w 2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en-GB" dirty="0"/>
            </a:p>
          </p:txBody>
        </p:sp>
      </p:grpSp>
      <p:grpSp>
        <p:nvGrpSpPr>
          <p:cNvPr id="403" name="Group 391">
            <a:extLst>
              <a:ext uri="{FF2B5EF4-FFF2-40B4-BE49-F238E27FC236}">
                <a16:creationId xmlns="" xmlns:a16="http://schemas.microsoft.com/office/drawing/2014/main" id="{DCFE1A91-2DEF-417F-8B01-0A8E6E061EC1}"/>
              </a:ext>
            </a:extLst>
          </p:cNvPr>
          <p:cNvGrpSpPr>
            <a:grpSpLocks/>
          </p:cNvGrpSpPr>
          <p:nvPr>
            <p:custDataLst>
              <p:tags r:id="rId273"/>
            </p:custDataLst>
          </p:nvPr>
        </p:nvGrpSpPr>
        <p:grpSpPr bwMode="auto">
          <a:xfrm>
            <a:off x="617199" y="1916149"/>
            <a:ext cx="2310954" cy="1171656"/>
            <a:chOff x="527" y="1110"/>
            <a:chExt cx="1410" cy="709"/>
          </a:xfrm>
        </p:grpSpPr>
        <p:sp>
          <p:nvSpPr>
            <p:cNvPr id="523" name="Freeform 392">
              <a:extLst>
                <a:ext uri="{FF2B5EF4-FFF2-40B4-BE49-F238E27FC236}">
                  <a16:creationId xmlns="" xmlns:a16="http://schemas.microsoft.com/office/drawing/2014/main" id="{853A836F-E8BB-489D-8070-CDEA94F6FEE0}"/>
                </a:ext>
              </a:extLst>
            </p:cNvPr>
            <p:cNvSpPr>
              <a:spLocks/>
            </p:cNvSpPr>
            <p:nvPr/>
          </p:nvSpPr>
          <p:spPr bwMode="auto">
            <a:xfrm>
              <a:off x="1401" y="1427"/>
              <a:ext cx="31" cy="17"/>
            </a:xfrm>
            <a:custGeom>
              <a:avLst/>
              <a:gdLst>
                <a:gd name="T0" fmla="*/ 0 w 98"/>
                <a:gd name="T1" fmla="*/ 41 h 54"/>
                <a:gd name="T2" fmla="*/ 5 w 98"/>
                <a:gd name="T3" fmla="*/ 46 h 54"/>
                <a:gd name="T4" fmla="*/ 13 w 98"/>
                <a:gd name="T5" fmla="*/ 50 h 54"/>
                <a:gd name="T6" fmla="*/ 23 w 98"/>
                <a:gd name="T7" fmla="*/ 53 h 54"/>
                <a:gd name="T8" fmla="*/ 32 w 98"/>
                <a:gd name="T9" fmla="*/ 54 h 54"/>
                <a:gd name="T10" fmla="*/ 38 w 98"/>
                <a:gd name="T11" fmla="*/ 54 h 54"/>
                <a:gd name="T12" fmla="*/ 45 w 98"/>
                <a:gd name="T13" fmla="*/ 53 h 54"/>
                <a:gd name="T14" fmla="*/ 50 w 98"/>
                <a:gd name="T15" fmla="*/ 51 h 54"/>
                <a:gd name="T16" fmla="*/ 56 w 98"/>
                <a:gd name="T17" fmla="*/ 49 h 54"/>
                <a:gd name="T18" fmla="*/ 67 w 98"/>
                <a:gd name="T19" fmla="*/ 42 h 54"/>
                <a:gd name="T20" fmla="*/ 75 w 98"/>
                <a:gd name="T21" fmla="*/ 35 h 54"/>
                <a:gd name="T22" fmla="*/ 84 w 98"/>
                <a:gd name="T23" fmla="*/ 28 h 54"/>
                <a:gd name="T24" fmla="*/ 91 w 98"/>
                <a:gd name="T25" fmla="*/ 20 h 54"/>
                <a:gd name="T26" fmla="*/ 95 w 98"/>
                <a:gd name="T27" fmla="*/ 12 h 54"/>
                <a:gd name="T28" fmla="*/ 98 w 98"/>
                <a:gd name="T29" fmla="*/ 4 h 54"/>
                <a:gd name="T30" fmla="*/ 91 w 98"/>
                <a:gd name="T31" fmla="*/ 2 h 54"/>
                <a:gd name="T32" fmla="*/ 83 w 98"/>
                <a:gd name="T33" fmla="*/ 0 h 54"/>
                <a:gd name="T34" fmla="*/ 75 w 98"/>
                <a:gd name="T35" fmla="*/ 0 h 54"/>
                <a:gd name="T36" fmla="*/ 68 w 98"/>
                <a:gd name="T37" fmla="*/ 0 h 54"/>
                <a:gd name="T38" fmla="*/ 59 w 98"/>
                <a:gd name="T39" fmla="*/ 1 h 54"/>
                <a:gd name="T40" fmla="*/ 51 w 98"/>
                <a:gd name="T41" fmla="*/ 3 h 54"/>
                <a:gd name="T42" fmla="*/ 43 w 98"/>
                <a:gd name="T43" fmla="*/ 6 h 54"/>
                <a:gd name="T44" fmla="*/ 37 w 98"/>
                <a:gd name="T45" fmla="*/ 9 h 54"/>
                <a:gd name="T46" fmla="*/ 23 w 98"/>
                <a:gd name="T47" fmla="*/ 17 h 54"/>
                <a:gd name="T48" fmla="*/ 12 w 98"/>
                <a:gd name="T49" fmla="*/ 25 h 54"/>
                <a:gd name="T50" fmla="*/ 7 w 98"/>
                <a:gd name="T51" fmla="*/ 29 h 54"/>
                <a:gd name="T52" fmla="*/ 4 w 98"/>
                <a:gd name="T53" fmla="*/ 33 h 54"/>
                <a:gd name="T54" fmla="*/ 1 w 98"/>
                <a:gd name="T55" fmla="*/ 37 h 54"/>
                <a:gd name="T56" fmla="*/ 0 w 98"/>
                <a:gd name="T5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24" name="Freeform 393">
              <a:extLst>
                <a:ext uri="{FF2B5EF4-FFF2-40B4-BE49-F238E27FC236}">
                  <a16:creationId xmlns="" xmlns:a16="http://schemas.microsoft.com/office/drawing/2014/main" id="{65132FB4-CC6D-4886-A73F-1F4403EB941B}"/>
                </a:ext>
              </a:extLst>
            </p:cNvPr>
            <p:cNvSpPr>
              <a:spLocks/>
            </p:cNvSpPr>
            <p:nvPr/>
          </p:nvSpPr>
          <p:spPr bwMode="auto">
            <a:xfrm>
              <a:off x="1387" y="1551"/>
              <a:ext cx="21" cy="8"/>
            </a:xfrm>
            <a:custGeom>
              <a:avLst/>
              <a:gdLst>
                <a:gd name="T0" fmla="*/ 0 w 67"/>
                <a:gd name="T1" fmla="*/ 27 h 28"/>
                <a:gd name="T2" fmla="*/ 11 w 67"/>
                <a:gd name="T3" fmla="*/ 28 h 28"/>
                <a:gd name="T4" fmla="*/ 21 w 67"/>
                <a:gd name="T5" fmla="*/ 27 h 28"/>
                <a:gd name="T6" fmla="*/ 31 w 67"/>
                <a:gd name="T7" fmla="*/ 25 h 28"/>
                <a:gd name="T8" fmla="*/ 41 w 67"/>
                <a:gd name="T9" fmla="*/ 21 h 28"/>
                <a:gd name="T10" fmla="*/ 49 w 67"/>
                <a:gd name="T11" fmla="*/ 17 h 28"/>
                <a:gd name="T12" fmla="*/ 57 w 67"/>
                <a:gd name="T13" fmla="*/ 12 h 28"/>
                <a:gd name="T14" fmla="*/ 63 w 67"/>
                <a:gd name="T15" fmla="*/ 7 h 28"/>
                <a:gd name="T16" fmla="*/ 67 w 67"/>
                <a:gd name="T17" fmla="*/ 3 h 28"/>
                <a:gd name="T18" fmla="*/ 57 w 67"/>
                <a:gd name="T19" fmla="*/ 1 h 28"/>
                <a:gd name="T20" fmla="*/ 46 w 67"/>
                <a:gd name="T21" fmla="*/ 0 h 28"/>
                <a:gd name="T22" fmla="*/ 36 w 67"/>
                <a:gd name="T23" fmla="*/ 1 h 28"/>
                <a:gd name="T24" fmla="*/ 26 w 67"/>
                <a:gd name="T25" fmla="*/ 3 h 28"/>
                <a:gd name="T26" fmla="*/ 17 w 67"/>
                <a:gd name="T27" fmla="*/ 7 h 28"/>
                <a:gd name="T28" fmla="*/ 10 w 67"/>
                <a:gd name="T29" fmla="*/ 12 h 28"/>
                <a:gd name="T30" fmla="*/ 7 w 67"/>
                <a:gd name="T31" fmla="*/ 15 h 28"/>
                <a:gd name="T32" fmla="*/ 4 w 67"/>
                <a:gd name="T33" fmla="*/ 19 h 28"/>
                <a:gd name="T34" fmla="*/ 2 w 67"/>
                <a:gd name="T35" fmla="*/ 22 h 28"/>
                <a:gd name="T36" fmla="*/ 0 w 67"/>
                <a:gd name="T3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25" name="Freeform 394">
              <a:extLst>
                <a:ext uri="{FF2B5EF4-FFF2-40B4-BE49-F238E27FC236}">
                  <a16:creationId xmlns="" xmlns:a16="http://schemas.microsoft.com/office/drawing/2014/main" id="{9C4F21BE-07E1-4DE0-B525-15CBADB13139}"/>
                </a:ext>
              </a:extLst>
            </p:cNvPr>
            <p:cNvSpPr>
              <a:spLocks/>
            </p:cNvSpPr>
            <p:nvPr/>
          </p:nvSpPr>
          <p:spPr bwMode="auto">
            <a:xfrm>
              <a:off x="1332" y="1608"/>
              <a:ext cx="11" cy="11"/>
            </a:xfrm>
            <a:custGeom>
              <a:avLst/>
              <a:gdLst>
                <a:gd name="T0" fmla="*/ 0 w 32"/>
                <a:gd name="T1" fmla="*/ 18 h 36"/>
                <a:gd name="T2" fmla="*/ 1 w 32"/>
                <a:gd name="T3" fmla="*/ 24 h 36"/>
                <a:gd name="T4" fmla="*/ 4 w 32"/>
                <a:gd name="T5" fmla="*/ 29 h 36"/>
                <a:gd name="T6" fmla="*/ 6 w 32"/>
                <a:gd name="T7" fmla="*/ 32 h 36"/>
                <a:gd name="T8" fmla="*/ 8 w 32"/>
                <a:gd name="T9" fmla="*/ 34 h 36"/>
                <a:gd name="T10" fmla="*/ 11 w 32"/>
                <a:gd name="T11" fmla="*/ 36 h 36"/>
                <a:gd name="T12" fmla="*/ 13 w 32"/>
                <a:gd name="T13" fmla="*/ 36 h 36"/>
                <a:gd name="T14" fmla="*/ 32 w 32"/>
                <a:gd name="T15" fmla="*/ 36 h 36"/>
                <a:gd name="T16" fmla="*/ 32 w 32"/>
                <a:gd name="T17" fmla="*/ 22 h 36"/>
                <a:gd name="T18" fmla="*/ 31 w 32"/>
                <a:gd name="T19" fmla="*/ 14 h 36"/>
                <a:gd name="T20" fmla="*/ 30 w 32"/>
                <a:gd name="T21" fmla="*/ 7 h 36"/>
                <a:gd name="T22" fmla="*/ 26 w 32"/>
                <a:gd name="T23" fmla="*/ 0 h 36"/>
                <a:gd name="T24" fmla="*/ 19 w 32"/>
                <a:gd name="T25" fmla="*/ 2 h 36"/>
                <a:gd name="T26" fmla="*/ 11 w 32"/>
                <a:gd name="T27" fmla="*/ 7 h 36"/>
                <a:gd name="T28" fmla="*/ 6 w 32"/>
                <a:gd name="T29" fmla="*/ 10 h 36"/>
                <a:gd name="T30" fmla="*/ 3 w 32"/>
                <a:gd name="T31" fmla="*/ 13 h 36"/>
                <a:gd name="T32" fmla="*/ 1 w 32"/>
                <a:gd name="T33" fmla="*/ 16 h 36"/>
                <a:gd name="T34" fmla="*/ 0 w 32"/>
                <a:gd name="T35"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26" name="Freeform 395">
              <a:extLst>
                <a:ext uri="{FF2B5EF4-FFF2-40B4-BE49-F238E27FC236}">
                  <a16:creationId xmlns="" xmlns:a16="http://schemas.microsoft.com/office/drawing/2014/main" id="{16FE2D2F-91AD-4559-AE33-508C00B19635}"/>
                </a:ext>
              </a:extLst>
            </p:cNvPr>
            <p:cNvSpPr>
              <a:spLocks/>
            </p:cNvSpPr>
            <p:nvPr/>
          </p:nvSpPr>
          <p:spPr bwMode="auto">
            <a:xfrm>
              <a:off x="1279" y="1314"/>
              <a:ext cx="46" cy="17"/>
            </a:xfrm>
            <a:custGeom>
              <a:avLst/>
              <a:gdLst>
                <a:gd name="T0" fmla="*/ 0 w 146"/>
                <a:gd name="T1" fmla="*/ 43 h 52"/>
                <a:gd name="T2" fmla="*/ 11 w 146"/>
                <a:gd name="T3" fmla="*/ 46 h 52"/>
                <a:gd name="T4" fmla="*/ 22 w 146"/>
                <a:gd name="T5" fmla="*/ 48 h 52"/>
                <a:gd name="T6" fmla="*/ 33 w 146"/>
                <a:gd name="T7" fmla="*/ 51 h 52"/>
                <a:gd name="T8" fmla="*/ 43 w 146"/>
                <a:gd name="T9" fmla="*/ 52 h 52"/>
                <a:gd name="T10" fmla="*/ 63 w 146"/>
                <a:gd name="T11" fmla="*/ 52 h 52"/>
                <a:gd name="T12" fmla="*/ 82 w 146"/>
                <a:gd name="T13" fmla="*/ 51 h 52"/>
                <a:gd name="T14" fmla="*/ 117 w 146"/>
                <a:gd name="T15" fmla="*/ 46 h 52"/>
                <a:gd name="T16" fmla="*/ 146 w 146"/>
                <a:gd name="T17" fmla="*/ 43 h 52"/>
                <a:gd name="T18" fmla="*/ 144 w 146"/>
                <a:gd name="T19" fmla="*/ 36 h 52"/>
                <a:gd name="T20" fmla="*/ 142 w 146"/>
                <a:gd name="T21" fmla="*/ 30 h 52"/>
                <a:gd name="T22" fmla="*/ 139 w 146"/>
                <a:gd name="T23" fmla="*/ 24 h 52"/>
                <a:gd name="T24" fmla="*/ 137 w 146"/>
                <a:gd name="T25" fmla="*/ 19 h 52"/>
                <a:gd name="T26" fmla="*/ 134 w 146"/>
                <a:gd name="T27" fmla="*/ 15 h 52"/>
                <a:gd name="T28" fmla="*/ 129 w 146"/>
                <a:gd name="T29" fmla="*/ 11 h 52"/>
                <a:gd name="T30" fmla="*/ 125 w 146"/>
                <a:gd name="T31" fmla="*/ 8 h 52"/>
                <a:gd name="T32" fmla="*/ 121 w 146"/>
                <a:gd name="T33" fmla="*/ 6 h 52"/>
                <a:gd name="T34" fmla="*/ 111 w 146"/>
                <a:gd name="T35" fmla="*/ 2 h 52"/>
                <a:gd name="T36" fmla="*/ 101 w 146"/>
                <a:gd name="T37" fmla="*/ 0 h 52"/>
                <a:gd name="T38" fmla="*/ 89 w 146"/>
                <a:gd name="T39" fmla="*/ 1 h 52"/>
                <a:gd name="T40" fmla="*/ 78 w 146"/>
                <a:gd name="T41" fmla="*/ 2 h 52"/>
                <a:gd name="T42" fmla="*/ 66 w 146"/>
                <a:gd name="T43" fmla="*/ 5 h 52"/>
                <a:gd name="T44" fmla="*/ 54 w 146"/>
                <a:gd name="T45" fmla="*/ 9 h 52"/>
                <a:gd name="T46" fmla="*/ 43 w 146"/>
                <a:gd name="T47" fmla="*/ 14 h 52"/>
                <a:gd name="T48" fmla="*/ 32 w 146"/>
                <a:gd name="T49" fmla="*/ 19 h 52"/>
                <a:gd name="T50" fmla="*/ 22 w 146"/>
                <a:gd name="T51" fmla="*/ 25 h 52"/>
                <a:gd name="T52" fmla="*/ 13 w 146"/>
                <a:gd name="T53" fmla="*/ 31 h 52"/>
                <a:gd name="T54" fmla="*/ 5 w 146"/>
                <a:gd name="T55" fmla="*/ 37 h 52"/>
                <a:gd name="T56" fmla="*/ 0 w 146"/>
                <a:gd name="T5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27" name="Freeform 396">
              <a:extLst>
                <a:ext uri="{FF2B5EF4-FFF2-40B4-BE49-F238E27FC236}">
                  <a16:creationId xmlns="" xmlns:a16="http://schemas.microsoft.com/office/drawing/2014/main" id="{E1707A2A-5DA4-4978-B0C6-448FB3EC537D}"/>
                </a:ext>
              </a:extLst>
            </p:cNvPr>
            <p:cNvSpPr>
              <a:spLocks/>
            </p:cNvSpPr>
            <p:nvPr/>
          </p:nvSpPr>
          <p:spPr bwMode="auto">
            <a:xfrm>
              <a:off x="1261" y="1252"/>
              <a:ext cx="20" cy="10"/>
            </a:xfrm>
            <a:custGeom>
              <a:avLst/>
              <a:gdLst>
                <a:gd name="T0" fmla="*/ 60 w 60"/>
                <a:gd name="T1" fmla="*/ 0 h 31"/>
                <a:gd name="T2" fmla="*/ 49 w 60"/>
                <a:gd name="T3" fmla="*/ 0 h 31"/>
                <a:gd name="T4" fmla="*/ 38 w 60"/>
                <a:gd name="T5" fmla="*/ 0 h 31"/>
                <a:gd name="T6" fmla="*/ 31 w 60"/>
                <a:gd name="T7" fmla="*/ 0 h 31"/>
                <a:gd name="T8" fmla="*/ 27 w 60"/>
                <a:gd name="T9" fmla="*/ 0 h 31"/>
                <a:gd name="T10" fmla="*/ 18 w 60"/>
                <a:gd name="T11" fmla="*/ 0 h 31"/>
                <a:gd name="T12" fmla="*/ 9 w 60"/>
                <a:gd name="T13" fmla="*/ 2 h 31"/>
                <a:gd name="T14" fmla="*/ 5 w 60"/>
                <a:gd name="T15" fmla="*/ 3 h 31"/>
                <a:gd name="T16" fmla="*/ 2 w 60"/>
                <a:gd name="T17" fmla="*/ 5 h 31"/>
                <a:gd name="T18" fmla="*/ 1 w 60"/>
                <a:gd name="T19" fmla="*/ 8 h 31"/>
                <a:gd name="T20" fmla="*/ 0 w 60"/>
                <a:gd name="T21" fmla="*/ 12 h 31"/>
                <a:gd name="T22" fmla="*/ 1 w 60"/>
                <a:gd name="T23" fmla="*/ 15 h 31"/>
                <a:gd name="T24" fmla="*/ 2 w 60"/>
                <a:gd name="T25" fmla="*/ 18 h 31"/>
                <a:gd name="T26" fmla="*/ 5 w 60"/>
                <a:gd name="T27" fmla="*/ 22 h 31"/>
                <a:gd name="T28" fmla="*/ 9 w 60"/>
                <a:gd name="T29" fmla="*/ 24 h 31"/>
                <a:gd name="T30" fmla="*/ 12 w 60"/>
                <a:gd name="T31" fmla="*/ 27 h 31"/>
                <a:gd name="T32" fmla="*/ 18 w 60"/>
                <a:gd name="T33" fmla="*/ 29 h 31"/>
                <a:gd name="T34" fmla="*/ 22 w 60"/>
                <a:gd name="T35" fmla="*/ 31 h 31"/>
                <a:gd name="T36" fmla="*/ 27 w 60"/>
                <a:gd name="T37" fmla="*/ 31 h 31"/>
                <a:gd name="T38" fmla="*/ 32 w 60"/>
                <a:gd name="T39" fmla="*/ 30 h 31"/>
                <a:gd name="T40" fmla="*/ 37 w 60"/>
                <a:gd name="T41" fmla="*/ 28 h 31"/>
                <a:gd name="T42" fmla="*/ 43 w 60"/>
                <a:gd name="T43" fmla="*/ 24 h 31"/>
                <a:gd name="T44" fmla="*/ 48 w 60"/>
                <a:gd name="T45" fmla="*/ 18 h 31"/>
                <a:gd name="T46" fmla="*/ 57 w 60"/>
                <a:gd name="T47" fmla="*/ 10 h 31"/>
                <a:gd name="T48" fmla="*/ 60 w 60"/>
                <a:gd name="T49" fmla="*/ 6 h 31"/>
                <a:gd name="T50" fmla="*/ 60 w 60"/>
                <a:gd name="T5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28" name="Freeform 397">
              <a:extLst>
                <a:ext uri="{FF2B5EF4-FFF2-40B4-BE49-F238E27FC236}">
                  <a16:creationId xmlns="" xmlns:a16="http://schemas.microsoft.com/office/drawing/2014/main" id="{5FAC428D-C5D2-4F48-BD38-D5D68F076AF8}"/>
                </a:ext>
              </a:extLst>
            </p:cNvPr>
            <p:cNvSpPr>
              <a:spLocks/>
            </p:cNvSpPr>
            <p:nvPr/>
          </p:nvSpPr>
          <p:spPr bwMode="auto">
            <a:xfrm>
              <a:off x="1730" y="1713"/>
              <a:ext cx="26" cy="20"/>
            </a:xfrm>
            <a:custGeom>
              <a:avLst/>
              <a:gdLst>
                <a:gd name="T0" fmla="*/ 0 w 80"/>
                <a:gd name="T1" fmla="*/ 43 h 62"/>
                <a:gd name="T2" fmla="*/ 1 w 80"/>
                <a:gd name="T3" fmla="*/ 46 h 62"/>
                <a:gd name="T4" fmla="*/ 1 w 80"/>
                <a:gd name="T5" fmla="*/ 49 h 62"/>
                <a:gd name="T6" fmla="*/ 3 w 80"/>
                <a:gd name="T7" fmla="*/ 51 h 62"/>
                <a:gd name="T8" fmla="*/ 4 w 80"/>
                <a:gd name="T9" fmla="*/ 53 h 62"/>
                <a:gd name="T10" fmla="*/ 10 w 80"/>
                <a:gd name="T11" fmla="*/ 57 h 62"/>
                <a:gd name="T12" fmla="*/ 15 w 80"/>
                <a:gd name="T13" fmla="*/ 59 h 62"/>
                <a:gd name="T14" fmla="*/ 28 w 80"/>
                <a:gd name="T15" fmla="*/ 62 h 62"/>
                <a:gd name="T16" fmla="*/ 40 w 80"/>
                <a:gd name="T17" fmla="*/ 62 h 62"/>
                <a:gd name="T18" fmla="*/ 45 w 80"/>
                <a:gd name="T19" fmla="*/ 62 h 62"/>
                <a:gd name="T20" fmla="*/ 49 w 80"/>
                <a:gd name="T21" fmla="*/ 59 h 62"/>
                <a:gd name="T22" fmla="*/ 54 w 80"/>
                <a:gd name="T23" fmla="*/ 57 h 62"/>
                <a:gd name="T24" fmla="*/ 58 w 80"/>
                <a:gd name="T25" fmla="*/ 54 h 62"/>
                <a:gd name="T26" fmla="*/ 65 w 80"/>
                <a:gd name="T27" fmla="*/ 47 h 62"/>
                <a:gd name="T28" fmla="*/ 70 w 80"/>
                <a:gd name="T29" fmla="*/ 38 h 62"/>
                <a:gd name="T30" fmla="*/ 74 w 80"/>
                <a:gd name="T31" fmla="*/ 28 h 62"/>
                <a:gd name="T32" fmla="*/ 78 w 80"/>
                <a:gd name="T33" fmla="*/ 18 h 62"/>
                <a:gd name="T34" fmla="*/ 79 w 80"/>
                <a:gd name="T35" fmla="*/ 8 h 62"/>
                <a:gd name="T36" fmla="*/ 80 w 80"/>
                <a:gd name="T37" fmla="*/ 0 h 62"/>
                <a:gd name="T38" fmla="*/ 71 w 80"/>
                <a:gd name="T39" fmla="*/ 0 h 62"/>
                <a:gd name="T40" fmla="*/ 59 w 80"/>
                <a:gd name="T41" fmla="*/ 3 h 62"/>
                <a:gd name="T42" fmla="*/ 46 w 80"/>
                <a:gd name="T43" fmla="*/ 8 h 62"/>
                <a:gd name="T44" fmla="*/ 33 w 80"/>
                <a:gd name="T45" fmla="*/ 13 h 62"/>
                <a:gd name="T46" fmla="*/ 21 w 80"/>
                <a:gd name="T47" fmla="*/ 19 h 62"/>
                <a:gd name="T48" fmla="*/ 10 w 80"/>
                <a:gd name="T49" fmla="*/ 26 h 62"/>
                <a:gd name="T50" fmla="*/ 6 w 80"/>
                <a:gd name="T51" fmla="*/ 30 h 62"/>
                <a:gd name="T52" fmla="*/ 3 w 80"/>
                <a:gd name="T53" fmla="*/ 34 h 62"/>
                <a:gd name="T54" fmla="*/ 1 w 80"/>
                <a:gd name="T55" fmla="*/ 39 h 62"/>
                <a:gd name="T56" fmla="*/ 0 w 80"/>
                <a:gd name="T5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29" name="Freeform 398">
              <a:extLst>
                <a:ext uri="{FF2B5EF4-FFF2-40B4-BE49-F238E27FC236}">
                  <a16:creationId xmlns="" xmlns:a16="http://schemas.microsoft.com/office/drawing/2014/main" id="{76FF8BB1-52CB-46E0-83E8-A583F45A463A}"/>
                </a:ext>
              </a:extLst>
            </p:cNvPr>
            <p:cNvSpPr>
              <a:spLocks/>
            </p:cNvSpPr>
            <p:nvPr/>
          </p:nvSpPr>
          <p:spPr bwMode="auto">
            <a:xfrm>
              <a:off x="1583" y="1674"/>
              <a:ext cx="33" cy="16"/>
            </a:xfrm>
            <a:custGeom>
              <a:avLst/>
              <a:gdLst>
                <a:gd name="T0" fmla="*/ 80 w 106"/>
                <a:gd name="T1" fmla="*/ 13 h 49"/>
                <a:gd name="T2" fmla="*/ 72 w 106"/>
                <a:gd name="T3" fmla="*/ 12 h 49"/>
                <a:gd name="T4" fmla="*/ 66 w 106"/>
                <a:gd name="T5" fmla="*/ 11 h 49"/>
                <a:gd name="T6" fmla="*/ 59 w 106"/>
                <a:gd name="T7" fmla="*/ 8 h 49"/>
                <a:gd name="T8" fmla="*/ 53 w 106"/>
                <a:gd name="T9" fmla="*/ 6 h 49"/>
                <a:gd name="T10" fmla="*/ 47 w 106"/>
                <a:gd name="T11" fmla="*/ 4 h 49"/>
                <a:gd name="T12" fmla="*/ 41 w 106"/>
                <a:gd name="T13" fmla="*/ 2 h 49"/>
                <a:gd name="T14" fmla="*/ 34 w 106"/>
                <a:gd name="T15" fmla="*/ 0 h 49"/>
                <a:gd name="T16" fmla="*/ 26 w 106"/>
                <a:gd name="T17" fmla="*/ 0 h 49"/>
                <a:gd name="T18" fmla="*/ 15 w 106"/>
                <a:gd name="T19" fmla="*/ 0 h 49"/>
                <a:gd name="T20" fmla="*/ 0 w 106"/>
                <a:gd name="T21" fmla="*/ 0 h 49"/>
                <a:gd name="T22" fmla="*/ 9 w 106"/>
                <a:gd name="T23" fmla="*/ 11 h 49"/>
                <a:gd name="T24" fmla="*/ 17 w 106"/>
                <a:gd name="T25" fmla="*/ 21 h 49"/>
                <a:gd name="T26" fmla="*/ 26 w 106"/>
                <a:gd name="T27" fmla="*/ 29 h 49"/>
                <a:gd name="T28" fmla="*/ 34 w 106"/>
                <a:gd name="T29" fmla="*/ 36 h 49"/>
                <a:gd name="T30" fmla="*/ 42 w 106"/>
                <a:gd name="T31" fmla="*/ 42 h 49"/>
                <a:gd name="T32" fmla="*/ 52 w 106"/>
                <a:gd name="T33" fmla="*/ 46 h 49"/>
                <a:gd name="T34" fmla="*/ 61 w 106"/>
                <a:gd name="T35" fmla="*/ 48 h 49"/>
                <a:gd name="T36" fmla="*/ 72 w 106"/>
                <a:gd name="T37" fmla="*/ 49 h 49"/>
                <a:gd name="T38" fmla="*/ 79 w 106"/>
                <a:gd name="T39" fmla="*/ 48 h 49"/>
                <a:gd name="T40" fmla="*/ 87 w 106"/>
                <a:gd name="T41" fmla="*/ 45 h 49"/>
                <a:gd name="T42" fmla="*/ 97 w 106"/>
                <a:gd name="T43" fmla="*/ 39 h 49"/>
                <a:gd name="T44" fmla="*/ 106 w 106"/>
                <a:gd name="T45" fmla="*/ 31 h 49"/>
                <a:gd name="T46" fmla="*/ 101 w 106"/>
                <a:gd name="T47" fmla="*/ 30 h 49"/>
                <a:gd name="T48" fmla="*/ 98 w 106"/>
                <a:gd name="T49" fmla="*/ 28 h 49"/>
                <a:gd name="T50" fmla="*/ 93 w 106"/>
                <a:gd name="T51" fmla="*/ 25 h 49"/>
                <a:gd name="T52" fmla="*/ 90 w 106"/>
                <a:gd name="T53" fmla="*/ 22 h 49"/>
                <a:gd name="T54" fmla="*/ 88 w 106"/>
                <a:gd name="T55" fmla="*/ 19 h 49"/>
                <a:gd name="T56" fmla="*/ 84 w 106"/>
                <a:gd name="T57" fmla="*/ 16 h 49"/>
                <a:gd name="T58" fmla="*/ 82 w 106"/>
                <a:gd name="T59" fmla="*/ 14 h 49"/>
                <a:gd name="T60" fmla="*/ 80 w 106"/>
                <a:gd name="T61"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30" name="Freeform 399">
              <a:extLst>
                <a:ext uri="{FF2B5EF4-FFF2-40B4-BE49-F238E27FC236}">
                  <a16:creationId xmlns="" xmlns:a16="http://schemas.microsoft.com/office/drawing/2014/main" id="{97EF7D2B-9965-45A2-A708-D5279473D3E2}"/>
                </a:ext>
              </a:extLst>
            </p:cNvPr>
            <p:cNvSpPr>
              <a:spLocks/>
            </p:cNvSpPr>
            <p:nvPr/>
          </p:nvSpPr>
          <p:spPr bwMode="auto">
            <a:xfrm>
              <a:off x="1599" y="1713"/>
              <a:ext cx="15" cy="7"/>
            </a:xfrm>
            <a:custGeom>
              <a:avLst/>
              <a:gdLst>
                <a:gd name="T0" fmla="*/ 0 w 47"/>
                <a:gd name="T1" fmla="*/ 19 h 22"/>
                <a:gd name="T2" fmla="*/ 5 w 47"/>
                <a:gd name="T3" fmla="*/ 21 h 22"/>
                <a:gd name="T4" fmla="*/ 12 w 47"/>
                <a:gd name="T5" fmla="*/ 22 h 22"/>
                <a:gd name="T6" fmla="*/ 18 w 47"/>
                <a:gd name="T7" fmla="*/ 22 h 22"/>
                <a:gd name="T8" fmla="*/ 26 w 47"/>
                <a:gd name="T9" fmla="*/ 21 h 22"/>
                <a:gd name="T10" fmla="*/ 33 w 47"/>
                <a:gd name="T11" fmla="*/ 19 h 22"/>
                <a:gd name="T12" fmla="*/ 38 w 47"/>
                <a:gd name="T13" fmla="*/ 15 h 22"/>
                <a:gd name="T14" fmla="*/ 41 w 47"/>
                <a:gd name="T15" fmla="*/ 12 h 22"/>
                <a:gd name="T16" fmla="*/ 44 w 47"/>
                <a:gd name="T17" fmla="*/ 9 h 22"/>
                <a:gd name="T18" fmla="*/ 45 w 47"/>
                <a:gd name="T19" fmla="*/ 5 h 22"/>
                <a:gd name="T20" fmla="*/ 47 w 47"/>
                <a:gd name="T21" fmla="*/ 0 h 22"/>
                <a:gd name="T22" fmla="*/ 0 w 47"/>
                <a:gd name="T2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31" name="Freeform 400">
              <a:extLst>
                <a:ext uri="{FF2B5EF4-FFF2-40B4-BE49-F238E27FC236}">
                  <a16:creationId xmlns="" xmlns:a16="http://schemas.microsoft.com/office/drawing/2014/main" id="{F366A0A6-59DD-4E64-9FE1-6CD71DBC305F}"/>
                </a:ext>
              </a:extLst>
            </p:cNvPr>
            <p:cNvSpPr>
              <a:spLocks/>
            </p:cNvSpPr>
            <p:nvPr/>
          </p:nvSpPr>
          <p:spPr bwMode="auto">
            <a:xfrm>
              <a:off x="1608" y="1742"/>
              <a:ext cx="17" cy="11"/>
            </a:xfrm>
            <a:custGeom>
              <a:avLst/>
              <a:gdLst>
                <a:gd name="T0" fmla="*/ 53 w 53"/>
                <a:gd name="T1" fmla="*/ 0 h 32"/>
                <a:gd name="T2" fmla="*/ 37 w 53"/>
                <a:gd name="T3" fmla="*/ 9 h 32"/>
                <a:gd name="T4" fmla="*/ 23 w 53"/>
                <a:gd name="T5" fmla="*/ 18 h 32"/>
                <a:gd name="T6" fmla="*/ 11 w 53"/>
                <a:gd name="T7" fmla="*/ 26 h 32"/>
                <a:gd name="T8" fmla="*/ 0 w 53"/>
                <a:gd name="T9" fmla="*/ 32 h 32"/>
                <a:gd name="T10" fmla="*/ 13 w 53"/>
                <a:gd name="T11" fmla="*/ 32 h 32"/>
                <a:gd name="T12" fmla="*/ 26 w 53"/>
                <a:gd name="T13" fmla="*/ 32 h 32"/>
                <a:gd name="T14" fmla="*/ 39 w 53"/>
                <a:gd name="T15" fmla="*/ 32 h 32"/>
                <a:gd name="T16" fmla="*/ 53 w 53"/>
                <a:gd name="T17" fmla="*/ 32 h 32"/>
                <a:gd name="T18" fmla="*/ 53 w 53"/>
                <a:gd name="T19" fmla="*/ 24 h 32"/>
                <a:gd name="T20" fmla="*/ 53 w 53"/>
                <a:gd name="T21" fmla="*/ 16 h 32"/>
                <a:gd name="T22" fmla="*/ 53 w 53"/>
                <a:gd name="T23" fmla="*/ 9 h 32"/>
                <a:gd name="T24" fmla="*/ 53 w 53"/>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32" name="Freeform 401">
              <a:extLst>
                <a:ext uri="{FF2B5EF4-FFF2-40B4-BE49-F238E27FC236}">
                  <a16:creationId xmlns="" xmlns:a16="http://schemas.microsoft.com/office/drawing/2014/main" id="{E4118EE0-9D7D-42A2-A9F6-98ED7F6ECE1B}"/>
                </a:ext>
              </a:extLst>
            </p:cNvPr>
            <p:cNvSpPr>
              <a:spLocks/>
            </p:cNvSpPr>
            <p:nvPr/>
          </p:nvSpPr>
          <p:spPr bwMode="auto">
            <a:xfrm>
              <a:off x="1450" y="1438"/>
              <a:ext cx="14" cy="12"/>
            </a:xfrm>
            <a:custGeom>
              <a:avLst/>
              <a:gdLst>
                <a:gd name="T0" fmla="*/ 27 w 46"/>
                <a:gd name="T1" fmla="*/ 3 h 34"/>
                <a:gd name="T2" fmla="*/ 0 w 46"/>
                <a:gd name="T3" fmla="*/ 16 h 34"/>
                <a:gd name="T4" fmla="*/ 0 w 46"/>
                <a:gd name="T5" fmla="*/ 34 h 34"/>
                <a:gd name="T6" fmla="*/ 27 w 46"/>
                <a:gd name="T7" fmla="*/ 34 h 34"/>
                <a:gd name="T8" fmla="*/ 31 w 46"/>
                <a:gd name="T9" fmla="*/ 32 h 34"/>
                <a:gd name="T10" fmla="*/ 35 w 46"/>
                <a:gd name="T11" fmla="*/ 28 h 34"/>
                <a:gd name="T12" fmla="*/ 39 w 46"/>
                <a:gd name="T13" fmla="*/ 25 h 34"/>
                <a:gd name="T14" fmla="*/ 42 w 46"/>
                <a:gd name="T15" fmla="*/ 21 h 34"/>
                <a:gd name="T16" fmla="*/ 44 w 46"/>
                <a:gd name="T17" fmla="*/ 17 h 34"/>
                <a:gd name="T18" fmla="*/ 45 w 46"/>
                <a:gd name="T19" fmla="*/ 13 h 34"/>
                <a:gd name="T20" fmla="*/ 46 w 46"/>
                <a:gd name="T21" fmla="*/ 8 h 34"/>
                <a:gd name="T22" fmla="*/ 46 w 46"/>
                <a:gd name="T23" fmla="*/ 3 h 34"/>
                <a:gd name="T24" fmla="*/ 46 w 46"/>
                <a:gd name="T25" fmla="*/ 1 h 34"/>
                <a:gd name="T26" fmla="*/ 44 w 46"/>
                <a:gd name="T27" fmla="*/ 0 h 34"/>
                <a:gd name="T28" fmla="*/ 42 w 46"/>
                <a:gd name="T29" fmla="*/ 0 h 34"/>
                <a:gd name="T30" fmla="*/ 39 w 46"/>
                <a:gd name="T31" fmla="*/ 0 h 34"/>
                <a:gd name="T32" fmla="*/ 32 w 46"/>
                <a:gd name="T33" fmla="*/ 2 h 34"/>
                <a:gd name="T34" fmla="*/ 27 w 46"/>
                <a:gd name="T35"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33" name="Freeform 402">
              <a:extLst>
                <a:ext uri="{FF2B5EF4-FFF2-40B4-BE49-F238E27FC236}">
                  <a16:creationId xmlns="" xmlns:a16="http://schemas.microsoft.com/office/drawing/2014/main" id="{BF1577A0-4B57-4A59-907C-C28270D0E19B}"/>
                </a:ext>
              </a:extLst>
            </p:cNvPr>
            <p:cNvSpPr>
              <a:spLocks/>
            </p:cNvSpPr>
            <p:nvPr/>
          </p:nvSpPr>
          <p:spPr bwMode="auto">
            <a:xfrm>
              <a:off x="1305" y="1224"/>
              <a:ext cx="16" cy="8"/>
            </a:xfrm>
            <a:custGeom>
              <a:avLst/>
              <a:gdLst>
                <a:gd name="T0" fmla="*/ 0 w 48"/>
                <a:gd name="T1" fmla="*/ 25 h 25"/>
                <a:gd name="T2" fmla="*/ 14 w 48"/>
                <a:gd name="T3" fmla="*/ 25 h 25"/>
                <a:gd name="T4" fmla="*/ 28 w 48"/>
                <a:gd name="T5" fmla="*/ 25 h 25"/>
                <a:gd name="T6" fmla="*/ 30 w 48"/>
                <a:gd name="T7" fmla="*/ 24 h 25"/>
                <a:gd name="T8" fmla="*/ 33 w 48"/>
                <a:gd name="T9" fmla="*/ 22 h 25"/>
                <a:gd name="T10" fmla="*/ 37 w 48"/>
                <a:gd name="T11" fmla="*/ 18 h 25"/>
                <a:gd name="T12" fmla="*/ 40 w 48"/>
                <a:gd name="T13" fmla="*/ 15 h 25"/>
                <a:gd name="T14" fmla="*/ 45 w 48"/>
                <a:gd name="T15" fmla="*/ 7 h 25"/>
                <a:gd name="T16" fmla="*/ 48 w 48"/>
                <a:gd name="T17" fmla="*/ 0 h 25"/>
                <a:gd name="T18" fmla="*/ 40 w 48"/>
                <a:gd name="T19" fmla="*/ 1 h 25"/>
                <a:gd name="T20" fmla="*/ 33 w 48"/>
                <a:gd name="T21" fmla="*/ 2 h 25"/>
                <a:gd name="T22" fmla="*/ 28 w 48"/>
                <a:gd name="T23" fmla="*/ 5 h 25"/>
                <a:gd name="T24" fmla="*/ 21 w 48"/>
                <a:gd name="T25" fmla="*/ 8 h 25"/>
                <a:gd name="T26" fmla="*/ 11 w 48"/>
                <a:gd name="T27" fmla="*/ 16 h 25"/>
                <a:gd name="T28" fmla="*/ 0 w 48"/>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34" name="Freeform 403">
              <a:extLst>
                <a:ext uri="{FF2B5EF4-FFF2-40B4-BE49-F238E27FC236}">
                  <a16:creationId xmlns="" xmlns:a16="http://schemas.microsoft.com/office/drawing/2014/main" id="{230D160D-89E6-49F4-B746-46DD8A803E65}"/>
                </a:ext>
              </a:extLst>
            </p:cNvPr>
            <p:cNvSpPr>
              <a:spLocks/>
            </p:cNvSpPr>
            <p:nvPr/>
          </p:nvSpPr>
          <p:spPr bwMode="auto">
            <a:xfrm>
              <a:off x="1343" y="1188"/>
              <a:ext cx="8" cy="11"/>
            </a:xfrm>
            <a:custGeom>
              <a:avLst/>
              <a:gdLst>
                <a:gd name="T0" fmla="*/ 0 w 30"/>
                <a:gd name="T1" fmla="*/ 0 h 37"/>
                <a:gd name="T2" fmla="*/ 0 w 30"/>
                <a:gd name="T3" fmla="*/ 37 h 37"/>
                <a:gd name="T4" fmla="*/ 11 w 30"/>
                <a:gd name="T5" fmla="*/ 36 h 37"/>
                <a:gd name="T6" fmla="*/ 20 w 30"/>
                <a:gd name="T7" fmla="*/ 34 h 37"/>
                <a:gd name="T8" fmla="*/ 22 w 30"/>
                <a:gd name="T9" fmla="*/ 33 h 37"/>
                <a:gd name="T10" fmla="*/ 26 w 30"/>
                <a:gd name="T11" fmla="*/ 32 h 37"/>
                <a:gd name="T12" fmla="*/ 28 w 30"/>
                <a:gd name="T13" fmla="*/ 30 h 37"/>
                <a:gd name="T14" fmla="*/ 29 w 30"/>
                <a:gd name="T15" fmla="*/ 28 h 37"/>
                <a:gd name="T16" fmla="*/ 30 w 30"/>
                <a:gd name="T17" fmla="*/ 23 h 37"/>
                <a:gd name="T18" fmla="*/ 30 w 30"/>
                <a:gd name="T19" fmla="*/ 16 h 37"/>
                <a:gd name="T20" fmla="*/ 29 w 30"/>
                <a:gd name="T21" fmla="*/ 9 h 37"/>
                <a:gd name="T22" fmla="*/ 27 w 30"/>
                <a:gd name="T23" fmla="*/ 0 h 37"/>
                <a:gd name="T24" fmla="*/ 0 w 30"/>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35" name="Freeform 404">
              <a:extLst>
                <a:ext uri="{FF2B5EF4-FFF2-40B4-BE49-F238E27FC236}">
                  <a16:creationId xmlns="" xmlns:a16="http://schemas.microsoft.com/office/drawing/2014/main" id="{6446829F-717B-4D49-9820-10B70CF148EA}"/>
                </a:ext>
              </a:extLst>
            </p:cNvPr>
            <p:cNvSpPr>
              <a:spLocks/>
            </p:cNvSpPr>
            <p:nvPr/>
          </p:nvSpPr>
          <p:spPr bwMode="auto">
            <a:xfrm>
              <a:off x="1334" y="1208"/>
              <a:ext cx="36" cy="16"/>
            </a:xfrm>
            <a:custGeom>
              <a:avLst/>
              <a:gdLst>
                <a:gd name="T0" fmla="*/ 33 w 113"/>
                <a:gd name="T1" fmla="*/ 3 h 46"/>
                <a:gd name="T2" fmla="*/ 22 w 113"/>
                <a:gd name="T3" fmla="*/ 3 h 46"/>
                <a:gd name="T4" fmla="*/ 12 w 113"/>
                <a:gd name="T5" fmla="*/ 5 h 46"/>
                <a:gd name="T6" fmla="*/ 7 w 113"/>
                <a:gd name="T7" fmla="*/ 7 h 46"/>
                <a:gd name="T8" fmla="*/ 3 w 113"/>
                <a:gd name="T9" fmla="*/ 11 h 46"/>
                <a:gd name="T10" fmla="*/ 1 w 113"/>
                <a:gd name="T11" fmla="*/ 15 h 46"/>
                <a:gd name="T12" fmla="*/ 0 w 113"/>
                <a:gd name="T13" fmla="*/ 21 h 46"/>
                <a:gd name="T14" fmla="*/ 6 w 113"/>
                <a:gd name="T15" fmla="*/ 27 h 46"/>
                <a:gd name="T16" fmla="*/ 10 w 113"/>
                <a:gd name="T17" fmla="*/ 33 h 46"/>
                <a:gd name="T18" fmla="*/ 16 w 113"/>
                <a:gd name="T19" fmla="*/ 37 h 46"/>
                <a:gd name="T20" fmla="*/ 20 w 113"/>
                <a:gd name="T21" fmla="*/ 41 h 46"/>
                <a:gd name="T22" fmla="*/ 25 w 113"/>
                <a:gd name="T23" fmla="*/ 43 h 46"/>
                <a:gd name="T24" fmla="*/ 30 w 113"/>
                <a:gd name="T25" fmla="*/ 45 h 46"/>
                <a:gd name="T26" fmla="*/ 35 w 113"/>
                <a:gd name="T27" fmla="*/ 46 h 46"/>
                <a:gd name="T28" fmla="*/ 40 w 113"/>
                <a:gd name="T29" fmla="*/ 46 h 46"/>
                <a:gd name="T30" fmla="*/ 56 w 113"/>
                <a:gd name="T31" fmla="*/ 46 h 46"/>
                <a:gd name="T32" fmla="*/ 70 w 113"/>
                <a:gd name="T33" fmla="*/ 43 h 46"/>
                <a:gd name="T34" fmla="*/ 76 w 113"/>
                <a:gd name="T35" fmla="*/ 41 h 46"/>
                <a:gd name="T36" fmla="*/ 81 w 113"/>
                <a:gd name="T37" fmla="*/ 38 h 46"/>
                <a:gd name="T38" fmla="*/ 87 w 113"/>
                <a:gd name="T39" fmla="*/ 36 h 46"/>
                <a:gd name="T40" fmla="*/ 91 w 113"/>
                <a:gd name="T41" fmla="*/ 33 h 46"/>
                <a:gd name="T42" fmla="*/ 99 w 113"/>
                <a:gd name="T43" fmla="*/ 27 h 46"/>
                <a:gd name="T44" fmla="*/ 106 w 113"/>
                <a:gd name="T45" fmla="*/ 20 h 46"/>
                <a:gd name="T46" fmla="*/ 110 w 113"/>
                <a:gd name="T47" fmla="*/ 12 h 46"/>
                <a:gd name="T48" fmla="*/ 113 w 113"/>
                <a:gd name="T49" fmla="*/ 3 h 46"/>
                <a:gd name="T50" fmla="*/ 99 w 113"/>
                <a:gd name="T51" fmla="*/ 1 h 46"/>
                <a:gd name="T52" fmla="*/ 87 w 113"/>
                <a:gd name="T53" fmla="*/ 0 h 46"/>
                <a:gd name="T54" fmla="*/ 76 w 113"/>
                <a:gd name="T55" fmla="*/ 0 h 46"/>
                <a:gd name="T56" fmla="*/ 66 w 113"/>
                <a:gd name="T57" fmla="*/ 1 h 46"/>
                <a:gd name="T58" fmla="*/ 48 w 113"/>
                <a:gd name="T59" fmla="*/ 2 h 46"/>
                <a:gd name="T60" fmla="*/ 33 w 113"/>
                <a:gd name="T61"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36" name="Freeform 405">
              <a:extLst>
                <a:ext uri="{FF2B5EF4-FFF2-40B4-BE49-F238E27FC236}">
                  <a16:creationId xmlns="" xmlns:a16="http://schemas.microsoft.com/office/drawing/2014/main" id="{C81BDE7E-7CF8-44D4-B013-9A31B17A1385}"/>
                </a:ext>
              </a:extLst>
            </p:cNvPr>
            <p:cNvSpPr>
              <a:spLocks/>
            </p:cNvSpPr>
            <p:nvPr/>
          </p:nvSpPr>
          <p:spPr bwMode="auto">
            <a:xfrm>
              <a:off x="1365" y="1201"/>
              <a:ext cx="49" cy="28"/>
            </a:xfrm>
            <a:custGeom>
              <a:avLst/>
              <a:gdLst>
                <a:gd name="T0" fmla="*/ 0 w 153"/>
                <a:gd name="T1" fmla="*/ 79 h 82"/>
                <a:gd name="T2" fmla="*/ 2 w 153"/>
                <a:gd name="T3" fmla="*/ 81 h 82"/>
                <a:gd name="T4" fmla="*/ 6 w 153"/>
                <a:gd name="T5" fmla="*/ 82 h 82"/>
                <a:gd name="T6" fmla="*/ 10 w 153"/>
                <a:gd name="T7" fmla="*/ 82 h 82"/>
                <a:gd name="T8" fmla="*/ 14 w 153"/>
                <a:gd name="T9" fmla="*/ 82 h 82"/>
                <a:gd name="T10" fmla="*/ 23 w 153"/>
                <a:gd name="T11" fmla="*/ 80 h 82"/>
                <a:gd name="T12" fmla="*/ 33 w 153"/>
                <a:gd name="T13" fmla="*/ 79 h 82"/>
                <a:gd name="T14" fmla="*/ 40 w 153"/>
                <a:gd name="T15" fmla="*/ 79 h 82"/>
                <a:gd name="T16" fmla="*/ 47 w 153"/>
                <a:gd name="T17" fmla="*/ 78 h 82"/>
                <a:gd name="T18" fmla="*/ 56 w 153"/>
                <a:gd name="T19" fmla="*/ 76 h 82"/>
                <a:gd name="T20" fmla="*/ 65 w 153"/>
                <a:gd name="T21" fmla="*/ 74 h 82"/>
                <a:gd name="T22" fmla="*/ 83 w 153"/>
                <a:gd name="T23" fmla="*/ 68 h 82"/>
                <a:gd name="T24" fmla="*/ 103 w 153"/>
                <a:gd name="T25" fmla="*/ 59 h 82"/>
                <a:gd name="T26" fmla="*/ 112 w 153"/>
                <a:gd name="T27" fmla="*/ 54 h 82"/>
                <a:gd name="T28" fmla="*/ 121 w 153"/>
                <a:gd name="T29" fmla="*/ 49 h 82"/>
                <a:gd name="T30" fmla="*/ 129 w 153"/>
                <a:gd name="T31" fmla="*/ 43 h 82"/>
                <a:gd name="T32" fmla="*/ 136 w 153"/>
                <a:gd name="T33" fmla="*/ 38 h 82"/>
                <a:gd name="T34" fmla="*/ 142 w 153"/>
                <a:gd name="T35" fmla="*/ 32 h 82"/>
                <a:gd name="T36" fmla="*/ 147 w 153"/>
                <a:gd name="T37" fmla="*/ 25 h 82"/>
                <a:gd name="T38" fmla="*/ 150 w 153"/>
                <a:gd name="T39" fmla="*/ 19 h 82"/>
                <a:gd name="T40" fmla="*/ 153 w 153"/>
                <a:gd name="T41" fmla="*/ 12 h 82"/>
                <a:gd name="T42" fmla="*/ 134 w 153"/>
                <a:gd name="T43" fmla="*/ 8 h 82"/>
                <a:gd name="T44" fmla="*/ 115 w 153"/>
                <a:gd name="T45" fmla="*/ 3 h 82"/>
                <a:gd name="T46" fmla="*/ 96 w 153"/>
                <a:gd name="T47" fmla="*/ 1 h 82"/>
                <a:gd name="T48" fmla="*/ 77 w 153"/>
                <a:gd name="T49" fmla="*/ 0 h 82"/>
                <a:gd name="T50" fmla="*/ 68 w 153"/>
                <a:gd name="T51" fmla="*/ 1 h 82"/>
                <a:gd name="T52" fmla="*/ 60 w 153"/>
                <a:gd name="T53" fmla="*/ 1 h 82"/>
                <a:gd name="T54" fmla="*/ 52 w 153"/>
                <a:gd name="T55" fmla="*/ 2 h 82"/>
                <a:gd name="T56" fmla="*/ 45 w 153"/>
                <a:gd name="T57" fmla="*/ 4 h 82"/>
                <a:gd name="T58" fmla="*/ 38 w 153"/>
                <a:gd name="T59" fmla="*/ 7 h 82"/>
                <a:gd name="T60" fmla="*/ 34 w 153"/>
                <a:gd name="T61" fmla="*/ 10 h 82"/>
                <a:gd name="T62" fmla="*/ 30 w 153"/>
                <a:gd name="T63" fmla="*/ 14 h 82"/>
                <a:gd name="T64" fmla="*/ 26 w 153"/>
                <a:gd name="T65" fmla="*/ 18 h 82"/>
                <a:gd name="T66" fmla="*/ 32 w 153"/>
                <a:gd name="T67" fmla="*/ 23 h 82"/>
                <a:gd name="T68" fmla="*/ 36 w 153"/>
                <a:gd name="T69" fmla="*/ 29 h 82"/>
                <a:gd name="T70" fmla="*/ 38 w 153"/>
                <a:gd name="T71" fmla="*/ 32 h 82"/>
                <a:gd name="T72" fmla="*/ 42 w 153"/>
                <a:gd name="T73" fmla="*/ 34 h 82"/>
                <a:gd name="T74" fmla="*/ 44 w 153"/>
                <a:gd name="T75" fmla="*/ 36 h 82"/>
                <a:gd name="T76" fmla="*/ 46 w 153"/>
                <a:gd name="T77" fmla="*/ 36 h 82"/>
                <a:gd name="T78" fmla="*/ 40 w 153"/>
                <a:gd name="T79" fmla="*/ 41 h 82"/>
                <a:gd name="T80" fmla="*/ 33 w 153"/>
                <a:gd name="T81" fmla="*/ 46 h 82"/>
                <a:gd name="T82" fmla="*/ 29 w 153"/>
                <a:gd name="T83" fmla="*/ 52 h 82"/>
                <a:gd name="T84" fmla="*/ 23 w 153"/>
                <a:gd name="T85" fmla="*/ 57 h 82"/>
                <a:gd name="T86" fmla="*/ 18 w 153"/>
                <a:gd name="T87" fmla="*/ 64 h 82"/>
                <a:gd name="T88" fmla="*/ 13 w 153"/>
                <a:gd name="T89" fmla="*/ 69 h 82"/>
                <a:gd name="T90" fmla="*/ 7 w 153"/>
                <a:gd name="T91" fmla="*/ 75 h 82"/>
                <a:gd name="T92" fmla="*/ 0 w 153"/>
                <a:gd name="T93"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37" name="Freeform 406">
              <a:extLst>
                <a:ext uri="{FF2B5EF4-FFF2-40B4-BE49-F238E27FC236}">
                  <a16:creationId xmlns="" xmlns:a16="http://schemas.microsoft.com/office/drawing/2014/main" id="{F3C66B38-2312-42C2-A5EA-2C74A6F54558}"/>
                </a:ext>
              </a:extLst>
            </p:cNvPr>
            <p:cNvSpPr>
              <a:spLocks/>
            </p:cNvSpPr>
            <p:nvPr/>
          </p:nvSpPr>
          <p:spPr bwMode="auto">
            <a:xfrm>
              <a:off x="1414" y="1217"/>
              <a:ext cx="29" cy="17"/>
            </a:xfrm>
            <a:custGeom>
              <a:avLst/>
              <a:gdLst>
                <a:gd name="T0" fmla="*/ 0 w 86"/>
                <a:gd name="T1" fmla="*/ 37 h 50"/>
                <a:gd name="T2" fmla="*/ 5 w 86"/>
                <a:gd name="T3" fmla="*/ 41 h 50"/>
                <a:gd name="T4" fmla="*/ 11 w 86"/>
                <a:gd name="T5" fmla="*/ 44 h 50"/>
                <a:gd name="T6" fmla="*/ 16 w 86"/>
                <a:gd name="T7" fmla="*/ 47 h 50"/>
                <a:gd name="T8" fmla="*/ 23 w 86"/>
                <a:gd name="T9" fmla="*/ 48 h 50"/>
                <a:gd name="T10" fmla="*/ 35 w 86"/>
                <a:gd name="T11" fmla="*/ 49 h 50"/>
                <a:gd name="T12" fmla="*/ 46 w 86"/>
                <a:gd name="T13" fmla="*/ 50 h 50"/>
                <a:gd name="T14" fmla="*/ 58 w 86"/>
                <a:gd name="T15" fmla="*/ 49 h 50"/>
                <a:gd name="T16" fmla="*/ 67 w 86"/>
                <a:gd name="T17" fmla="*/ 48 h 50"/>
                <a:gd name="T18" fmla="*/ 73 w 86"/>
                <a:gd name="T19" fmla="*/ 47 h 50"/>
                <a:gd name="T20" fmla="*/ 79 w 86"/>
                <a:gd name="T21" fmla="*/ 44 h 50"/>
                <a:gd name="T22" fmla="*/ 82 w 86"/>
                <a:gd name="T23" fmla="*/ 41 h 50"/>
                <a:gd name="T24" fmla="*/ 84 w 86"/>
                <a:gd name="T25" fmla="*/ 37 h 50"/>
                <a:gd name="T26" fmla="*/ 85 w 86"/>
                <a:gd name="T27" fmla="*/ 32 h 50"/>
                <a:gd name="T28" fmla="*/ 86 w 86"/>
                <a:gd name="T29" fmla="*/ 25 h 50"/>
                <a:gd name="T30" fmla="*/ 85 w 86"/>
                <a:gd name="T31" fmla="*/ 17 h 50"/>
                <a:gd name="T32" fmla="*/ 84 w 86"/>
                <a:gd name="T33" fmla="*/ 10 h 50"/>
                <a:gd name="T34" fmla="*/ 83 w 86"/>
                <a:gd name="T35" fmla="*/ 7 h 50"/>
                <a:gd name="T36" fmla="*/ 81 w 86"/>
                <a:gd name="T37" fmla="*/ 5 h 50"/>
                <a:gd name="T38" fmla="*/ 77 w 86"/>
                <a:gd name="T39" fmla="*/ 2 h 50"/>
                <a:gd name="T40" fmla="*/ 73 w 86"/>
                <a:gd name="T41" fmla="*/ 0 h 50"/>
                <a:gd name="T42" fmla="*/ 0 w 86"/>
                <a:gd name="T43"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38" name="Freeform 407">
              <a:extLst>
                <a:ext uri="{FF2B5EF4-FFF2-40B4-BE49-F238E27FC236}">
                  <a16:creationId xmlns="" xmlns:a16="http://schemas.microsoft.com/office/drawing/2014/main" id="{46A42476-015D-4B95-9D29-B5A9319A42D5}"/>
                </a:ext>
              </a:extLst>
            </p:cNvPr>
            <p:cNvSpPr>
              <a:spLocks/>
            </p:cNvSpPr>
            <p:nvPr/>
          </p:nvSpPr>
          <p:spPr bwMode="auto">
            <a:xfrm>
              <a:off x="1379" y="1163"/>
              <a:ext cx="55" cy="25"/>
            </a:xfrm>
            <a:custGeom>
              <a:avLst/>
              <a:gdLst>
                <a:gd name="T0" fmla="*/ 119 w 172"/>
                <a:gd name="T1" fmla="*/ 61 h 74"/>
                <a:gd name="T2" fmla="*/ 109 w 172"/>
                <a:gd name="T3" fmla="*/ 61 h 74"/>
                <a:gd name="T4" fmla="*/ 99 w 172"/>
                <a:gd name="T5" fmla="*/ 61 h 74"/>
                <a:gd name="T6" fmla="*/ 90 w 172"/>
                <a:gd name="T7" fmla="*/ 61 h 74"/>
                <a:gd name="T8" fmla="*/ 80 w 172"/>
                <a:gd name="T9" fmla="*/ 61 h 74"/>
                <a:gd name="T10" fmla="*/ 60 w 172"/>
                <a:gd name="T11" fmla="*/ 74 h 74"/>
                <a:gd name="T12" fmla="*/ 33 w 172"/>
                <a:gd name="T13" fmla="*/ 74 h 74"/>
                <a:gd name="T14" fmla="*/ 36 w 172"/>
                <a:gd name="T15" fmla="*/ 61 h 74"/>
                <a:gd name="T16" fmla="*/ 39 w 172"/>
                <a:gd name="T17" fmla="*/ 49 h 74"/>
                <a:gd name="T18" fmla="*/ 30 w 172"/>
                <a:gd name="T19" fmla="*/ 49 h 74"/>
                <a:gd name="T20" fmla="*/ 23 w 172"/>
                <a:gd name="T21" fmla="*/ 48 h 74"/>
                <a:gd name="T22" fmla="*/ 15 w 172"/>
                <a:gd name="T23" fmla="*/ 47 h 74"/>
                <a:gd name="T24" fmla="*/ 9 w 172"/>
                <a:gd name="T25" fmla="*/ 45 h 74"/>
                <a:gd name="T26" fmla="*/ 5 w 172"/>
                <a:gd name="T27" fmla="*/ 42 h 74"/>
                <a:gd name="T28" fmla="*/ 2 w 172"/>
                <a:gd name="T29" fmla="*/ 39 h 74"/>
                <a:gd name="T30" fmla="*/ 1 w 172"/>
                <a:gd name="T31" fmla="*/ 35 h 74"/>
                <a:gd name="T32" fmla="*/ 0 w 172"/>
                <a:gd name="T33" fmla="*/ 31 h 74"/>
                <a:gd name="T34" fmla="*/ 1 w 172"/>
                <a:gd name="T35" fmla="*/ 26 h 74"/>
                <a:gd name="T36" fmla="*/ 2 w 172"/>
                <a:gd name="T37" fmla="*/ 21 h 74"/>
                <a:gd name="T38" fmla="*/ 5 w 172"/>
                <a:gd name="T39" fmla="*/ 17 h 74"/>
                <a:gd name="T40" fmla="*/ 8 w 172"/>
                <a:gd name="T41" fmla="*/ 14 h 74"/>
                <a:gd name="T42" fmla="*/ 13 w 172"/>
                <a:gd name="T43" fmla="*/ 10 h 74"/>
                <a:gd name="T44" fmla="*/ 18 w 172"/>
                <a:gd name="T45" fmla="*/ 7 h 74"/>
                <a:gd name="T46" fmla="*/ 24 w 172"/>
                <a:gd name="T47" fmla="*/ 5 h 74"/>
                <a:gd name="T48" fmla="*/ 29 w 172"/>
                <a:gd name="T49" fmla="*/ 4 h 74"/>
                <a:gd name="T50" fmla="*/ 42 w 172"/>
                <a:gd name="T51" fmla="*/ 1 h 74"/>
                <a:gd name="T52" fmla="*/ 56 w 172"/>
                <a:gd name="T53" fmla="*/ 0 h 74"/>
                <a:gd name="T54" fmla="*/ 69 w 172"/>
                <a:gd name="T55" fmla="*/ 0 h 74"/>
                <a:gd name="T56" fmla="*/ 80 w 172"/>
                <a:gd name="T57" fmla="*/ 0 h 74"/>
                <a:gd name="T58" fmla="*/ 94 w 172"/>
                <a:gd name="T59" fmla="*/ 1 h 74"/>
                <a:gd name="T60" fmla="*/ 106 w 172"/>
                <a:gd name="T61" fmla="*/ 4 h 74"/>
                <a:gd name="T62" fmla="*/ 117 w 172"/>
                <a:gd name="T63" fmla="*/ 7 h 74"/>
                <a:gd name="T64" fmla="*/ 128 w 172"/>
                <a:gd name="T65" fmla="*/ 13 h 74"/>
                <a:gd name="T66" fmla="*/ 139 w 172"/>
                <a:gd name="T67" fmla="*/ 17 h 74"/>
                <a:gd name="T68" fmla="*/ 150 w 172"/>
                <a:gd name="T69" fmla="*/ 21 h 74"/>
                <a:gd name="T70" fmla="*/ 161 w 172"/>
                <a:gd name="T71" fmla="*/ 24 h 74"/>
                <a:gd name="T72" fmla="*/ 172 w 172"/>
                <a:gd name="T73" fmla="*/ 25 h 74"/>
                <a:gd name="T74" fmla="*/ 172 w 172"/>
                <a:gd name="T75" fmla="*/ 43 h 74"/>
                <a:gd name="T76" fmla="*/ 169 w 172"/>
                <a:gd name="T77" fmla="*/ 48 h 74"/>
                <a:gd name="T78" fmla="*/ 165 w 172"/>
                <a:gd name="T79" fmla="*/ 53 h 74"/>
                <a:gd name="T80" fmla="*/ 161 w 172"/>
                <a:gd name="T81" fmla="*/ 57 h 74"/>
                <a:gd name="T82" fmla="*/ 158 w 172"/>
                <a:gd name="T83" fmla="*/ 60 h 74"/>
                <a:gd name="T84" fmla="*/ 153 w 172"/>
                <a:gd name="T85" fmla="*/ 62 h 74"/>
                <a:gd name="T86" fmla="*/ 149 w 172"/>
                <a:gd name="T87" fmla="*/ 63 h 74"/>
                <a:gd name="T88" fmla="*/ 146 w 172"/>
                <a:gd name="T89" fmla="*/ 65 h 74"/>
                <a:gd name="T90" fmla="*/ 141 w 172"/>
                <a:gd name="T91" fmla="*/ 65 h 74"/>
                <a:gd name="T92" fmla="*/ 131 w 172"/>
                <a:gd name="T93" fmla="*/ 65 h 74"/>
                <a:gd name="T94" fmla="*/ 121 w 172"/>
                <a:gd name="T95" fmla="*/ 63 h 74"/>
                <a:gd name="T96" fmla="*/ 112 w 172"/>
                <a:gd name="T97" fmla="*/ 59 h 74"/>
                <a:gd name="T98" fmla="*/ 99 w 172"/>
                <a:gd name="T99" fmla="*/ 55 h 74"/>
                <a:gd name="T100" fmla="*/ 106 w 172"/>
                <a:gd name="T101" fmla="*/ 55 h 74"/>
                <a:gd name="T102" fmla="*/ 119 w 172"/>
                <a:gd name="T10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39" name="Freeform 408">
              <a:extLst>
                <a:ext uri="{FF2B5EF4-FFF2-40B4-BE49-F238E27FC236}">
                  <a16:creationId xmlns="" xmlns:a16="http://schemas.microsoft.com/office/drawing/2014/main" id="{EFF271A9-0D5F-4CC8-949B-67D96790B76C}"/>
                </a:ext>
              </a:extLst>
            </p:cNvPr>
            <p:cNvSpPr>
              <a:spLocks/>
            </p:cNvSpPr>
            <p:nvPr/>
          </p:nvSpPr>
          <p:spPr bwMode="auto">
            <a:xfrm>
              <a:off x="1450" y="1171"/>
              <a:ext cx="38" cy="17"/>
            </a:xfrm>
            <a:custGeom>
              <a:avLst/>
              <a:gdLst>
                <a:gd name="T0" fmla="*/ 27 w 120"/>
                <a:gd name="T1" fmla="*/ 49 h 49"/>
                <a:gd name="T2" fmla="*/ 47 w 120"/>
                <a:gd name="T3" fmla="*/ 49 h 49"/>
                <a:gd name="T4" fmla="*/ 64 w 120"/>
                <a:gd name="T5" fmla="*/ 48 h 49"/>
                <a:gd name="T6" fmla="*/ 78 w 120"/>
                <a:gd name="T7" fmla="*/ 46 h 49"/>
                <a:gd name="T8" fmla="*/ 90 w 120"/>
                <a:gd name="T9" fmla="*/ 43 h 49"/>
                <a:gd name="T10" fmla="*/ 96 w 120"/>
                <a:gd name="T11" fmla="*/ 39 h 49"/>
                <a:gd name="T12" fmla="*/ 100 w 120"/>
                <a:gd name="T13" fmla="*/ 37 h 49"/>
                <a:gd name="T14" fmla="*/ 104 w 120"/>
                <a:gd name="T15" fmla="*/ 34 h 49"/>
                <a:gd name="T16" fmla="*/ 108 w 120"/>
                <a:gd name="T17" fmla="*/ 31 h 49"/>
                <a:gd name="T18" fmla="*/ 114 w 120"/>
                <a:gd name="T19" fmla="*/ 22 h 49"/>
                <a:gd name="T20" fmla="*/ 120 w 120"/>
                <a:gd name="T21" fmla="*/ 12 h 49"/>
                <a:gd name="T22" fmla="*/ 102 w 120"/>
                <a:gd name="T23" fmla="*/ 6 h 49"/>
                <a:gd name="T24" fmla="*/ 84 w 120"/>
                <a:gd name="T25" fmla="*/ 3 h 49"/>
                <a:gd name="T26" fmla="*/ 66 w 120"/>
                <a:gd name="T27" fmla="*/ 1 h 49"/>
                <a:gd name="T28" fmla="*/ 50 w 120"/>
                <a:gd name="T29" fmla="*/ 0 h 49"/>
                <a:gd name="T30" fmla="*/ 34 w 120"/>
                <a:gd name="T31" fmla="*/ 1 h 49"/>
                <a:gd name="T32" fmla="*/ 20 w 120"/>
                <a:gd name="T33" fmla="*/ 2 h 49"/>
                <a:gd name="T34" fmla="*/ 9 w 120"/>
                <a:gd name="T35" fmla="*/ 4 h 49"/>
                <a:gd name="T36" fmla="*/ 0 w 120"/>
                <a:gd name="T37" fmla="*/ 6 h 49"/>
                <a:gd name="T38" fmla="*/ 0 w 120"/>
                <a:gd name="T39" fmla="*/ 30 h 49"/>
                <a:gd name="T40" fmla="*/ 2 w 120"/>
                <a:gd name="T41" fmla="*/ 35 h 49"/>
                <a:gd name="T42" fmla="*/ 6 w 120"/>
                <a:gd name="T43" fmla="*/ 38 h 49"/>
                <a:gd name="T44" fmla="*/ 9 w 120"/>
                <a:gd name="T45" fmla="*/ 41 h 49"/>
                <a:gd name="T46" fmla="*/ 13 w 120"/>
                <a:gd name="T47" fmla="*/ 45 h 49"/>
                <a:gd name="T48" fmla="*/ 20 w 120"/>
                <a:gd name="T49" fmla="*/ 48 h 49"/>
                <a:gd name="T50" fmla="*/ 27 w 120"/>
                <a:gd name="T5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40" name="Freeform 409">
              <a:extLst>
                <a:ext uri="{FF2B5EF4-FFF2-40B4-BE49-F238E27FC236}">
                  <a16:creationId xmlns="" xmlns:a16="http://schemas.microsoft.com/office/drawing/2014/main" id="{EA1F9A5B-6870-4AF7-BD1D-57769F0FD20D}"/>
                </a:ext>
              </a:extLst>
            </p:cNvPr>
            <p:cNvSpPr>
              <a:spLocks/>
            </p:cNvSpPr>
            <p:nvPr/>
          </p:nvSpPr>
          <p:spPr bwMode="auto">
            <a:xfrm>
              <a:off x="1441" y="1194"/>
              <a:ext cx="26" cy="19"/>
            </a:xfrm>
            <a:custGeom>
              <a:avLst/>
              <a:gdLst>
                <a:gd name="T0" fmla="*/ 33 w 85"/>
                <a:gd name="T1" fmla="*/ 0 h 61"/>
                <a:gd name="T2" fmla="*/ 22 w 85"/>
                <a:gd name="T3" fmla="*/ 5 h 61"/>
                <a:gd name="T4" fmla="*/ 11 w 85"/>
                <a:gd name="T5" fmla="*/ 12 h 61"/>
                <a:gd name="T6" fmla="*/ 6 w 85"/>
                <a:gd name="T7" fmla="*/ 17 h 61"/>
                <a:gd name="T8" fmla="*/ 3 w 85"/>
                <a:gd name="T9" fmla="*/ 21 h 61"/>
                <a:gd name="T10" fmla="*/ 0 w 85"/>
                <a:gd name="T11" fmla="*/ 25 h 61"/>
                <a:gd name="T12" fmla="*/ 0 w 85"/>
                <a:gd name="T13" fmla="*/ 31 h 61"/>
                <a:gd name="T14" fmla="*/ 0 w 85"/>
                <a:gd name="T15" fmla="*/ 34 h 61"/>
                <a:gd name="T16" fmla="*/ 1 w 85"/>
                <a:gd name="T17" fmla="*/ 37 h 61"/>
                <a:gd name="T18" fmla="*/ 2 w 85"/>
                <a:gd name="T19" fmla="*/ 40 h 61"/>
                <a:gd name="T20" fmla="*/ 5 w 85"/>
                <a:gd name="T21" fmla="*/ 43 h 61"/>
                <a:gd name="T22" fmla="*/ 11 w 85"/>
                <a:gd name="T23" fmla="*/ 48 h 61"/>
                <a:gd name="T24" fmla="*/ 18 w 85"/>
                <a:gd name="T25" fmla="*/ 53 h 61"/>
                <a:gd name="T26" fmla="*/ 27 w 85"/>
                <a:gd name="T27" fmla="*/ 56 h 61"/>
                <a:gd name="T28" fmla="*/ 36 w 85"/>
                <a:gd name="T29" fmla="*/ 59 h 61"/>
                <a:gd name="T30" fmla="*/ 45 w 85"/>
                <a:gd name="T31" fmla="*/ 61 h 61"/>
                <a:gd name="T32" fmla="*/ 53 w 85"/>
                <a:gd name="T33" fmla="*/ 61 h 61"/>
                <a:gd name="T34" fmla="*/ 56 w 85"/>
                <a:gd name="T35" fmla="*/ 61 h 61"/>
                <a:gd name="T36" fmla="*/ 59 w 85"/>
                <a:gd name="T37" fmla="*/ 60 h 61"/>
                <a:gd name="T38" fmla="*/ 62 w 85"/>
                <a:gd name="T39" fmla="*/ 59 h 61"/>
                <a:gd name="T40" fmla="*/ 66 w 85"/>
                <a:gd name="T41" fmla="*/ 57 h 61"/>
                <a:gd name="T42" fmla="*/ 72 w 85"/>
                <a:gd name="T43" fmla="*/ 52 h 61"/>
                <a:gd name="T44" fmla="*/ 77 w 85"/>
                <a:gd name="T45" fmla="*/ 47 h 61"/>
                <a:gd name="T46" fmla="*/ 80 w 85"/>
                <a:gd name="T47" fmla="*/ 40 h 61"/>
                <a:gd name="T48" fmla="*/ 83 w 85"/>
                <a:gd name="T49" fmla="*/ 33 h 61"/>
                <a:gd name="T50" fmla="*/ 85 w 85"/>
                <a:gd name="T51" fmla="*/ 25 h 61"/>
                <a:gd name="T52" fmla="*/ 85 w 85"/>
                <a:gd name="T53" fmla="*/ 18 h 61"/>
                <a:gd name="T54" fmla="*/ 33 w 85"/>
                <a:gd name="T5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41" name="Freeform 410">
              <a:extLst>
                <a:ext uri="{FF2B5EF4-FFF2-40B4-BE49-F238E27FC236}">
                  <a16:creationId xmlns="" xmlns:a16="http://schemas.microsoft.com/office/drawing/2014/main" id="{C86C23EA-FB4E-4F68-B52F-5BE490C1BC08}"/>
                </a:ext>
              </a:extLst>
            </p:cNvPr>
            <p:cNvSpPr>
              <a:spLocks/>
            </p:cNvSpPr>
            <p:nvPr/>
          </p:nvSpPr>
          <p:spPr bwMode="auto">
            <a:xfrm>
              <a:off x="1254" y="1188"/>
              <a:ext cx="31" cy="6"/>
            </a:xfrm>
            <a:custGeom>
              <a:avLst/>
              <a:gdLst>
                <a:gd name="T0" fmla="*/ 0 w 100"/>
                <a:gd name="T1" fmla="*/ 6 h 19"/>
                <a:gd name="T2" fmla="*/ 7 w 100"/>
                <a:gd name="T3" fmla="*/ 11 h 19"/>
                <a:gd name="T4" fmla="*/ 13 w 100"/>
                <a:gd name="T5" fmla="*/ 15 h 19"/>
                <a:gd name="T6" fmla="*/ 21 w 100"/>
                <a:gd name="T7" fmla="*/ 18 h 19"/>
                <a:gd name="T8" fmla="*/ 27 w 100"/>
                <a:gd name="T9" fmla="*/ 19 h 19"/>
                <a:gd name="T10" fmla="*/ 100 w 100"/>
                <a:gd name="T11" fmla="*/ 6 h 19"/>
                <a:gd name="T12" fmla="*/ 73 w 100"/>
                <a:gd name="T13" fmla="*/ 2 h 19"/>
                <a:gd name="T14" fmla="*/ 47 w 100"/>
                <a:gd name="T15" fmla="*/ 0 h 19"/>
                <a:gd name="T16" fmla="*/ 36 w 100"/>
                <a:gd name="T17" fmla="*/ 0 h 19"/>
                <a:gd name="T18" fmla="*/ 24 w 100"/>
                <a:gd name="T19" fmla="*/ 1 h 19"/>
                <a:gd name="T20" fmla="*/ 12 w 100"/>
                <a:gd name="T21" fmla="*/ 3 h 19"/>
                <a:gd name="T22" fmla="*/ 0 w 100"/>
                <a:gd name="T2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42" name="Freeform 411">
              <a:extLst>
                <a:ext uri="{FF2B5EF4-FFF2-40B4-BE49-F238E27FC236}">
                  <a16:creationId xmlns="" xmlns:a16="http://schemas.microsoft.com/office/drawing/2014/main" id="{CBBB7434-0691-41C4-B5D0-4BC5C038D1D0}"/>
                </a:ext>
              </a:extLst>
            </p:cNvPr>
            <p:cNvSpPr>
              <a:spLocks/>
            </p:cNvSpPr>
            <p:nvPr/>
          </p:nvSpPr>
          <p:spPr bwMode="auto">
            <a:xfrm>
              <a:off x="1272" y="1168"/>
              <a:ext cx="53" cy="15"/>
            </a:xfrm>
            <a:custGeom>
              <a:avLst/>
              <a:gdLst>
                <a:gd name="T0" fmla="*/ 0 w 166"/>
                <a:gd name="T1" fmla="*/ 27 h 45"/>
                <a:gd name="T2" fmla="*/ 0 w 166"/>
                <a:gd name="T3" fmla="*/ 29 h 45"/>
                <a:gd name="T4" fmla="*/ 3 w 166"/>
                <a:gd name="T5" fmla="*/ 31 h 45"/>
                <a:gd name="T6" fmla="*/ 8 w 166"/>
                <a:gd name="T7" fmla="*/ 33 h 45"/>
                <a:gd name="T8" fmla="*/ 13 w 166"/>
                <a:gd name="T9" fmla="*/ 35 h 45"/>
                <a:gd name="T10" fmla="*/ 27 w 166"/>
                <a:gd name="T11" fmla="*/ 38 h 45"/>
                <a:gd name="T12" fmla="*/ 44 w 166"/>
                <a:gd name="T13" fmla="*/ 41 h 45"/>
                <a:gd name="T14" fmla="*/ 75 w 166"/>
                <a:gd name="T15" fmla="*/ 44 h 45"/>
                <a:gd name="T16" fmla="*/ 92 w 166"/>
                <a:gd name="T17" fmla="*/ 45 h 45"/>
                <a:gd name="T18" fmla="*/ 166 w 166"/>
                <a:gd name="T19" fmla="*/ 27 h 45"/>
                <a:gd name="T20" fmla="*/ 157 w 166"/>
                <a:gd name="T21" fmla="*/ 25 h 45"/>
                <a:gd name="T22" fmla="*/ 137 w 166"/>
                <a:gd name="T23" fmla="*/ 19 h 45"/>
                <a:gd name="T24" fmla="*/ 110 w 166"/>
                <a:gd name="T25" fmla="*/ 11 h 45"/>
                <a:gd name="T26" fmla="*/ 80 w 166"/>
                <a:gd name="T27" fmla="*/ 4 h 45"/>
                <a:gd name="T28" fmla="*/ 65 w 166"/>
                <a:gd name="T29" fmla="*/ 2 h 45"/>
                <a:gd name="T30" fmla="*/ 50 w 166"/>
                <a:gd name="T31" fmla="*/ 1 h 45"/>
                <a:gd name="T32" fmla="*/ 36 w 166"/>
                <a:gd name="T33" fmla="*/ 0 h 45"/>
                <a:gd name="T34" fmla="*/ 24 w 166"/>
                <a:gd name="T35" fmla="*/ 2 h 45"/>
                <a:gd name="T36" fmla="*/ 19 w 166"/>
                <a:gd name="T37" fmla="*/ 3 h 45"/>
                <a:gd name="T38" fmla="*/ 14 w 166"/>
                <a:gd name="T39" fmla="*/ 5 h 45"/>
                <a:gd name="T40" fmla="*/ 10 w 166"/>
                <a:gd name="T41" fmla="*/ 7 h 45"/>
                <a:gd name="T42" fmla="*/ 7 w 166"/>
                <a:gd name="T43" fmla="*/ 10 h 45"/>
                <a:gd name="T44" fmla="*/ 3 w 166"/>
                <a:gd name="T45" fmla="*/ 13 h 45"/>
                <a:gd name="T46" fmla="*/ 1 w 166"/>
                <a:gd name="T47" fmla="*/ 17 h 45"/>
                <a:gd name="T48" fmla="*/ 0 w 166"/>
                <a:gd name="T49" fmla="*/ 22 h 45"/>
                <a:gd name="T50" fmla="*/ 0 w 166"/>
                <a:gd name="T51"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43" name="Freeform 412">
              <a:extLst>
                <a:ext uri="{FF2B5EF4-FFF2-40B4-BE49-F238E27FC236}">
                  <a16:creationId xmlns="" xmlns:a16="http://schemas.microsoft.com/office/drawing/2014/main" id="{20C870CA-581C-446A-A38A-78E7D1107ADB}"/>
                </a:ext>
              </a:extLst>
            </p:cNvPr>
            <p:cNvSpPr>
              <a:spLocks/>
            </p:cNvSpPr>
            <p:nvPr/>
          </p:nvSpPr>
          <p:spPr bwMode="auto">
            <a:xfrm>
              <a:off x="1488" y="1422"/>
              <a:ext cx="11" cy="8"/>
            </a:xfrm>
            <a:custGeom>
              <a:avLst/>
              <a:gdLst>
                <a:gd name="T0" fmla="*/ 0 w 33"/>
                <a:gd name="T1" fmla="*/ 0 h 25"/>
                <a:gd name="T2" fmla="*/ 0 w 33"/>
                <a:gd name="T3" fmla="*/ 9 h 25"/>
                <a:gd name="T4" fmla="*/ 3 w 33"/>
                <a:gd name="T5" fmla="*/ 15 h 25"/>
                <a:gd name="T6" fmla="*/ 6 w 33"/>
                <a:gd name="T7" fmla="*/ 20 h 25"/>
                <a:gd name="T8" fmla="*/ 11 w 33"/>
                <a:gd name="T9" fmla="*/ 22 h 25"/>
                <a:gd name="T10" fmla="*/ 16 w 33"/>
                <a:gd name="T11" fmla="*/ 24 h 25"/>
                <a:gd name="T12" fmla="*/ 22 w 33"/>
                <a:gd name="T13" fmla="*/ 25 h 25"/>
                <a:gd name="T14" fmla="*/ 27 w 33"/>
                <a:gd name="T15" fmla="*/ 25 h 25"/>
                <a:gd name="T16" fmla="*/ 33 w 33"/>
                <a:gd name="T17" fmla="*/ 25 h 25"/>
                <a:gd name="T18" fmla="*/ 33 w 33"/>
                <a:gd name="T19" fmla="*/ 0 h 25"/>
                <a:gd name="T20" fmla="*/ 24 w 33"/>
                <a:gd name="T21" fmla="*/ 0 h 25"/>
                <a:gd name="T22" fmla="*/ 16 w 33"/>
                <a:gd name="T23" fmla="*/ 0 h 25"/>
                <a:gd name="T24" fmla="*/ 9 w 33"/>
                <a:gd name="T25" fmla="*/ 0 h 25"/>
                <a:gd name="T26" fmla="*/ 0 w 33"/>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44" name="Freeform 413">
              <a:extLst>
                <a:ext uri="{FF2B5EF4-FFF2-40B4-BE49-F238E27FC236}">
                  <a16:creationId xmlns="" xmlns:a16="http://schemas.microsoft.com/office/drawing/2014/main" id="{B2C74E39-4BC2-4AAC-97FB-56225E92544A}"/>
                </a:ext>
              </a:extLst>
            </p:cNvPr>
            <p:cNvSpPr>
              <a:spLocks/>
            </p:cNvSpPr>
            <p:nvPr/>
          </p:nvSpPr>
          <p:spPr bwMode="auto">
            <a:xfrm>
              <a:off x="1605" y="1729"/>
              <a:ext cx="16" cy="20"/>
            </a:xfrm>
            <a:custGeom>
              <a:avLst/>
              <a:gdLst>
                <a:gd name="T0" fmla="*/ 0 w 48"/>
                <a:gd name="T1" fmla="*/ 62 h 62"/>
                <a:gd name="T2" fmla="*/ 12 w 48"/>
                <a:gd name="T3" fmla="*/ 56 h 62"/>
                <a:gd name="T4" fmla="*/ 22 w 48"/>
                <a:gd name="T5" fmla="*/ 50 h 62"/>
                <a:gd name="T6" fmla="*/ 30 w 48"/>
                <a:gd name="T7" fmla="*/ 43 h 62"/>
                <a:gd name="T8" fmla="*/ 37 w 48"/>
                <a:gd name="T9" fmla="*/ 36 h 62"/>
                <a:gd name="T10" fmla="*/ 41 w 48"/>
                <a:gd name="T11" fmla="*/ 28 h 62"/>
                <a:gd name="T12" fmla="*/ 44 w 48"/>
                <a:gd name="T13" fmla="*/ 19 h 62"/>
                <a:gd name="T14" fmla="*/ 47 w 48"/>
                <a:gd name="T15" fmla="*/ 9 h 62"/>
                <a:gd name="T16" fmla="*/ 48 w 48"/>
                <a:gd name="T17" fmla="*/ 0 h 62"/>
                <a:gd name="T18" fmla="*/ 40 w 48"/>
                <a:gd name="T19" fmla="*/ 3 h 62"/>
                <a:gd name="T20" fmla="*/ 32 w 48"/>
                <a:gd name="T21" fmla="*/ 6 h 62"/>
                <a:gd name="T22" fmla="*/ 23 w 48"/>
                <a:gd name="T23" fmla="*/ 10 h 62"/>
                <a:gd name="T24" fmla="*/ 17 w 48"/>
                <a:gd name="T25" fmla="*/ 15 h 62"/>
                <a:gd name="T26" fmla="*/ 10 w 48"/>
                <a:gd name="T27" fmla="*/ 21 h 62"/>
                <a:gd name="T28" fmla="*/ 6 w 48"/>
                <a:gd name="T29" fmla="*/ 27 h 62"/>
                <a:gd name="T30" fmla="*/ 4 w 48"/>
                <a:gd name="T31" fmla="*/ 31 h 62"/>
                <a:gd name="T32" fmla="*/ 3 w 48"/>
                <a:gd name="T33" fmla="*/ 35 h 62"/>
                <a:gd name="T34" fmla="*/ 1 w 48"/>
                <a:gd name="T35" fmla="*/ 39 h 62"/>
                <a:gd name="T36" fmla="*/ 0 w 48"/>
                <a:gd name="T37" fmla="*/ 43 h 62"/>
                <a:gd name="T38" fmla="*/ 0 w 48"/>
                <a:gd name="T39" fmla="*/ 52 h 62"/>
                <a:gd name="T40" fmla="*/ 0 w 48"/>
                <a:gd name="T4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45" name="Freeform 414">
              <a:extLst>
                <a:ext uri="{FF2B5EF4-FFF2-40B4-BE49-F238E27FC236}">
                  <a16:creationId xmlns="" xmlns:a16="http://schemas.microsoft.com/office/drawing/2014/main" id="{D4A5BD67-B37C-43E3-BD42-B2F9A78AFEAE}"/>
                </a:ext>
              </a:extLst>
            </p:cNvPr>
            <p:cNvSpPr>
              <a:spLocks/>
            </p:cNvSpPr>
            <p:nvPr/>
          </p:nvSpPr>
          <p:spPr bwMode="auto">
            <a:xfrm>
              <a:off x="1554" y="1729"/>
              <a:ext cx="36" cy="20"/>
            </a:xfrm>
            <a:custGeom>
              <a:avLst/>
              <a:gdLst>
                <a:gd name="T0" fmla="*/ 47 w 113"/>
                <a:gd name="T1" fmla="*/ 0 h 62"/>
                <a:gd name="T2" fmla="*/ 36 w 113"/>
                <a:gd name="T3" fmla="*/ 7 h 62"/>
                <a:gd name="T4" fmla="*/ 23 w 113"/>
                <a:gd name="T5" fmla="*/ 17 h 62"/>
                <a:gd name="T6" fmla="*/ 11 w 113"/>
                <a:gd name="T7" fmla="*/ 27 h 62"/>
                <a:gd name="T8" fmla="*/ 0 w 113"/>
                <a:gd name="T9" fmla="*/ 37 h 62"/>
                <a:gd name="T10" fmla="*/ 22 w 113"/>
                <a:gd name="T11" fmla="*/ 46 h 62"/>
                <a:gd name="T12" fmla="*/ 41 w 113"/>
                <a:gd name="T13" fmla="*/ 54 h 62"/>
                <a:gd name="T14" fmla="*/ 51 w 113"/>
                <a:gd name="T15" fmla="*/ 57 h 62"/>
                <a:gd name="T16" fmla="*/ 62 w 113"/>
                <a:gd name="T17" fmla="*/ 59 h 62"/>
                <a:gd name="T18" fmla="*/ 73 w 113"/>
                <a:gd name="T19" fmla="*/ 61 h 62"/>
                <a:gd name="T20" fmla="*/ 87 w 113"/>
                <a:gd name="T21" fmla="*/ 62 h 62"/>
                <a:gd name="T22" fmla="*/ 97 w 113"/>
                <a:gd name="T23" fmla="*/ 61 h 62"/>
                <a:gd name="T24" fmla="*/ 106 w 113"/>
                <a:gd name="T25" fmla="*/ 58 h 62"/>
                <a:gd name="T26" fmla="*/ 109 w 113"/>
                <a:gd name="T27" fmla="*/ 56 h 62"/>
                <a:gd name="T28" fmla="*/ 111 w 113"/>
                <a:gd name="T29" fmla="*/ 54 h 62"/>
                <a:gd name="T30" fmla="*/ 113 w 113"/>
                <a:gd name="T31" fmla="*/ 52 h 62"/>
                <a:gd name="T32" fmla="*/ 113 w 113"/>
                <a:gd name="T33" fmla="*/ 49 h 62"/>
                <a:gd name="T34" fmla="*/ 91 w 113"/>
                <a:gd name="T35" fmla="*/ 41 h 62"/>
                <a:gd name="T36" fmla="*/ 70 w 113"/>
                <a:gd name="T37" fmla="*/ 32 h 62"/>
                <a:gd name="T38" fmla="*/ 65 w 113"/>
                <a:gd name="T39" fmla="*/ 29 h 62"/>
                <a:gd name="T40" fmla="*/ 61 w 113"/>
                <a:gd name="T41" fmla="*/ 26 h 62"/>
                <a:gd name="T42" fmla="*/ 57 w 113"/>
                <a:gd name="T43" fmla="*/ 23 h 62"/>
                <a:gd name="T44" fmla="*/ 54 w 113"/>
                <a:gd name="T45" fmla="*/ 20 h 62"/>
                <a:gd name="T46" fmla="*/ 51 w 113"/>
                <a:gd name="T47" fmla="*/ 16 h 62"/>
                <a:gd name="T48" fmla="*/ 48 w 113"/>
                <a:gd name="T49" fmla="*/ 10 h 62"/>
                <a:gd name="T50" fmla="*/ 47 w 113"/>
                <a:gd name="T51" fmla="*/ 5 h 62"/>
                <a:gd name="T52" fmla="*/ 47 w 113"/>
                <a:gd name="T5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46" name="Freeform 415">
              <a:extLst>
                <a:ext uri="{FF2B5EF4-FFF2-40B4-BE49-F238E27FC236}">
                  <a16:creationId xmlns="" xmlns:a16="http://schemas.microsoft.com/office/drawing/2014/main" id="{3890E94B-CD94-4AA5-8C60-12EBA7B9F573}"/>
                </a:ext>
              </a:extLst>
            </p:cNvPr>
            <p:cNvSpPr>
              <a:spLocks/>
            </p:cNvSpPr>
            <p:nvPr/>
          </p:nvSpPr>
          <p:spPr bwMode="auto">
            <a:xfrm>
              <a:off x="1748" y="1188"/>
              <a:ext cx="29" cy="15"/>
            </a:xfrm>
            <a:custGeom>
              <a:avLst/>
              <a:gdLst>
                <a:gd name="T0" fmla="*/ 0 w 93"/>
                <a:gd name="T1" fmla="*/ 0 h 50"/>
                <a:gd name="T2" fmla="*/ 15 w 93"/>
                <a:gd name="T3" fmla="*/ 0 h 50"/>
                <a:gd name="T4" fmla="*/ 30 w 93"/>
                <a:gd name="T5" fmla="*/ 1 h 50"/>
                <a:gd name="T6" fmla="*/ 45 w 93"/>
                <a:gd name="T7" fmla="*/ 2 h 50"/>
                <a:gd name="T8" fmla="*/ 59 w 93"/>
                <a:gd name="T9" fmla="*/ 5 h 50"/>
                <a:gd name="T10" fmla="*/ 64 w 93"/>
                <a:gd name="T11" fmla="*/ 7 h 50"/>
                <a:gd name="T12" fmla="*/ 71 w 93"/>
                <a:gd name="T13" fmla="*/ 9 h 50"/>
                <a:gd name="T14" fmla="*/ 75 w 93"/>
                <a:gd name="T15" fmla="*/ 12 h 50"/>
                <a:gd name="T16" fmla="*/ 81 w 93"/>
                <a:gd name="T17" fmla="*/ 16 h 50"/>
                <a:gd name="T18" fmla="*/ 85 w 93"/>
                <a:gd name="T19" fmla="*/ 20 h 50"/>
                <a:gd name="T20" fmla="*/ 89 w 93"/>
                <a:gd name="T21" fmla="*/ 25 h 50"/>
                <a:gd name="T22" fmla="*/ 91 w 93"/>
                <a:gd name="T23" fmla="*/ 30 h 50"/>
                <a:gd name="T24" fmla="*/ 93 w 93"/>
                <a:gd name="T25" fmla="*/ 37 h 50"/>
                <a:gd name="T26" fmla="*/ 79 w 93"/>
                <a:gd name="T27" fmla="*/ 37 h 50"/>
                <a:gd name="T28" fmla="*/ 68 w 93"/>
                <a:gd name="T29" fmla="*/ 39 h 50"/>
                <a:gd name="T30" fmla="*/ 60 w 93"/>
                <a:gd name="T31" fmla="*/ 41 h 50"/>
                <a:gd name="T32" fmla="*/ 52 w 93"/>
                <a:gd name="T33" fmla="*/ 43 h 50"/>
                <a:gd name="T34" fmla="*/ 42 w 93"/>
                <a:gd name="T35" fmla="*/ 47 h 50"/>
                <a:gd name="T36" fmla="*/ 33 w 93"/>
                <a:gd name="T37" fmla="*/ 50 h 50"/>
                <a:gd name="T38" fmla="*/ 30 w 93"/>
                <a:gd name="T39" fmla="*/ 50 h 50"/>
                <a:gd name="T40" fmla="*/ 28 w 93"/>
                <a:gd name="T41" fmla="*/ 48 h 50"/>
                <a:gd name="T42" fmla="*/ 26 w 93"/>
                <a:gd name="T43" fmla="*/ 47 h 50"/>
                <a:gd name="T44" fmla="*/ 25 w 93"/>
                <a:gd name="T45" fmla="*/ 45 h 50"/>
                <a:gd name="T46" fmla="*/ 23 w 93"/>
                <a:gd name="T47" fmla="*/ 41 h 50"/>
                <a:gd name="T48" fmla="*/ 22 w 93"/>
                <a:gd name="T49" fmla="*/ 36 h 50"/>
                <a:gd name="T50" fmla="*/ 22 w 93"/>
                <a:gd name="T51" fmla="*/ 31 h 50"/>
                <a:gd name="T52" fmla="*/ 23 w 93"/>
                <a:gd name="T53" fmla="*/ 26 h 50"/>
                <a:gd name="T54" fmla="*/ 24 w 93"/>
                <a:gd name="T55" fmla="*/ 22 h 50"/>
                <a:gd name="T56" fmla="*/ 26 w 93"/>
                <a:gd name="T57" fmla="*/ 19 h 50"/>
                <a:gd name="T58" fmla="*/ 0 w 93"/>
                <a:gd name="T59" fmla="*/ 19 h 50"/>
                <a:gd name="T60" fmla="*/ 0 w 93"/>
                <a:gd name="T6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47" name="Freeform 416">
              <a:extLst>
                <a:ext uri="{FF2B5EF4-FFF2-40B4-BE49-F238E27FC236}">
                  <a16:creationId xmlns="" xmlns:a16="http://schemas.microsoft.com/office/drawing/2014/main" id="{17B85FC7-AC45-48DE-9BC7-2079CC653C52}"/>
                </a:ext>
              </a:extLst>
            </p:cNvPr>
            <p:cNvSpPr>
              <a:spLocks/>
            </p:cNvSpPr>
            <p:nvPr/>
          </p:nvSpPr>
          <p:spPr bwMode="auto">
            <a:xfrm>
              <a:off x="1436" y="1246"/>
              <a:ext cx="331" cy="198"/>
            </a:xfrm>
            <a:custGeom>
              <a:avLst/>
              <a:gdLst>
                <a:gd name="T0" fmla="*/ 20 w 1029"/>
                <a:gd name="T1" fmla="*/ 112 h 604"/>
                <a:gd name="T2" fmla="*/ 67 w 1029"/>
                <a:gd name="T3" fmla="*/ 60 h 604"/>
                <a:gd name="T4" fmla="*/ 266 w 1029"/>
                <a:gd name="T5" fmla="*/ 0 h 604"/>
                <a:gd name="T6" fmla="*/ 205 w 1029"/>
                <a:gd name="T7" fmla="*/ 47 h 604"/>
                <a:gd name="T8" fmla="*/ 180 w 1029"/>
                <a:gd name="T9" fmla="*/ 105 h 604"/>
                <a:gd name="T10" fmla="*/ 274 w 1029"/>
                <a:gd name="T11" fmla="*/ 60 h 604"/>
                <a:gd name="T12" fmla="*/ 397 w 1029"/>
                <a:gd name="T13" fmla="*/ 14 h 604"/>
                <a:gd name="T14" fmla="*/ 438 w 1029"/>
                <a:gd name="T15" fmla="*/ 23 h 604"/>
                <a:gd name="T16" fmla="*/ 433 w 1029"/>
                <a:gd name="T17" fmla="*/ 71 h 604"/>
                <a:gd name="T18" fmla="*/ 581 w 1029"/>
                <a:gd name="T19" fmla="*/ 80 h 604"/>
                <a:gd name="T20" fmla="*/ 675 w 1029"/>
                <a:gd name="T21" fmla="*/ 89 h 604"/>
                <a:gd name="T22" fmla="*/ 749 w 1029"/>
                <a:gd name="T23" fmla="*/ 111 h 604"/>
                <a:gd name="T24" fmla="*/ 749 w 1029"/>
                <a:gd name="T25" fmla="*/ 134 h 604"/>
                <a:gd name="T26" fmla="*/ 711 w 1029"/>
                <a:gd name="T27" fmla="*/ 184 h 604"/>
                <a:gd name="T28" fmla="*/ 799 w 1029"/>
                <a:gd name="T29" fmla="*/ 168 h 604"/>
                <a:gd name="T30" fmla="*/ 866 w 1029"/>
                <a:gd name="T31" fmla="*/ 191 h 604"/>
                <a:gd name="T32" fmla="*/ 856 w 1029"/>
                <a:gd name="T33" fmla="*/ 239 h 604"/>
                <a:gd name="T34" fmla="*/ 788 w 1029"/>
                <a:gd name="T35" fmla="*/ 248 h 604"/>
                <a:gd name="T36" fmla="*/ 859 w 1029"/>
                <a:gd name="T37" fmla="*/ 284 h 604"/>
                <a:gd name="T38" fmla="*/ 903 w 1029"/>
                <a:gd name="T39" fmla="*/ 327 h 604"/>
                <a:gd name="T40" fmla="*/ 977 w 1029"/>
                <a:gd name="T41" fmla="*/ 329 h 604"/>
                <a:gd name="T42" fmla="*/ 1029 w 1029"/>
                <a:gd name="T43" fmla="*/ 351 h 604"/>
                <a:gd name="T44" fmla="*/ 939 w 1029"/>
                <a:gd name="T45" fmla="*/ 409 h 604"/>
                <a:gd name="T46" fmla="*/ 899 w 1029"/>
                <a:gd name="T47" fmla="*/ 417 h 604"/>
                <a:gd name="T48" fmla="*/ 874 w 1029"/>
                <a:gd name="T49" fmla="*/ 443 h 604"/>
                <a:gd name="T50" fmla="*/ 830 w 1029"/>
                <a:gd name="T51" fmla="*/ 414 h 604"/>
                <a:gd name="T52" fmla="*/ 851 w 1029"/>
                <a:gd name="T53" fmla="*/ 393 h 604"/>
                <a:gd name="T54" fmla="*/ 792 w 1029"/>
                <a:gd name="T55" fmla="*/ 379 h 604"/>
                <a:gd name="T56" fmla="*/ 759 w 1029"/>
                <a:gd name="T57" fmla="*/ 364 h 604"/>
                <a:gd name="T58" fmla="*/ 744 w 1029"/>
                <a:gd name="T59" fmla="*/ 394 h 604"/>
                <a:gd name="T60" fmla="*/ 747 w 1029"/>
                <a:gd name="T61" fmla="*/ 445 h 604"/>
                <a:gd name="T62" fmla="*/ 795 w 1029"/>
                <a:gd name="T63" fmla="*/ 523 h 604"/>
                <a:gd name="T64" fmla="*/ 771 w 1029"/>
                <a:gd name="T65" fmla="*/ 547 h 604"/>
                <a:gd name="T66" fmla="*/ 708 w 1029"/>
                <a:gd name="T67" fmla="*/ 556 h 604"/>
                <a:gd name="T68" fmla="*/ 618 w 1029"/>
                <a:gd name="T69" fmla="*/ 517 h 604"/>
                <a:gd name="T70" fmla="*/ 668 w 1029"/>
                <a:gd name="T71" fmla="*/ 567 h 604"/>
                <a:gd name="T72" fmla="*/ 665 w 1029"/>
                <a:gd name="T73" fmla="*/ 604 h 604"/>
                <a:gd name="T74" fmla="*/ 518 w 1029"/>
                <a:gd name="T75" fmla="*/ 570 h 604"/>
                <a:gd name="T76" fmla="*/ 471 w 1029"/>
                <a:gd name="T77" fmla="*/ 523 h 604"/>
                <a:gd name="T78" fmla="*/ 410 w 1029"/>
                <a:gd name="T79" fmla="*/ 473 h 604"/>
                <a:gd name="T80" fmla="*/ 367 w 1029"/>
                <a:gd name="T81" fmla="*/ 453 h 604"/>
                <a:gd name="T82" fmla="*/ 392 w 1029"/>
                <a:gd name="T83" fmla="*/ 433 h 604"/>
                <a:gd name="T84" fmla="*/ 459 w 1029"/>
                <a:gd name="T85" fmla="*/ 399 h 604"/>
                <a:gd name="T86" fmla="*/ 500 w 1029"/>
                <a:gd name="T87" fmla="*/ 378 h 604"/>
                <a:gd name="T88" fmla="*/ 577 w 1029"/>
                <a:gd name="T89" fmla="*/ 380 h 604"/>
                <a:gd name="T90" fmla="*/ 614 w 1029"/>
                <a:gd name="T91" fmla="*/ 395 h 604"/>
                <a:gd name="T92" fmla="*/ 687 w 1029"/>
                <a:gd name="T93" fmla="*/ 387 h 604"/>
                <a:gd name="T94" fmla="*/ 581 w 1029"/>
                <a:gd name="T95" fmla="*/ 355 h 604"/>
                <a:gd name="T96" fmla="*/ 542 w 1029"/>
                <a:gd name="T97" fmla="*/ 361 h 604"/>
                <a:gd name="T98" fmla="*/ 539 w 1029"/>
                <a:gd name="T99" fmla="*/ 350 h 604"/>
                <a:gd name="T100" fmla="*/ 576 w 1029"/>
                <a:gd name="T101" fmla="*/ 306 h 604"/>
                <a:gd name="T102" fmla="*/ 576 w 1029"/>
                <a:gd name="T103" fmla="*/ 274 h 604"/>
                <a:gd name="T104" fmla="*/ 524 w 1029"/>
                <a:gd name="T105" fmla="*/ 254 h 604"/>
                <a:gd name="T106" fmla="*/ 473 w 1029"/>
                <a:gd name="T107" fmla="*/ 198 h 604"/>
                <a:gd name="T108" fmla="*/ 434 w 1029"/>
                <a:gd name="T109" fmla="*/ 168 h 604"/>
                <a:gd name="T110" fmla="*/ 408 w 1029"/>
                <a:gd name="T111" fmla="*/ 163 h 604"/>
                <a:gd name="T112" fmla="*/ 378 w 1029"/>
                <a:gd name="T113" fmla="*/ 203 h 604"/>
                <a:gd name="T114" fmla="*/ 207 w 1029"/>
                <a:gd name="T115" fmla="*/ 174 h 604"/>
                <a:gd name="T116" fmla="*/ 114 w 1029"/>
                <a:gd name="T117" fmla="*/ 189 h 604"/>
                <a:gd name="T118" fmla="*/ 79 w 1029"/>
                <a:gd name="T119" fmla="*/ 187 h 604"/>
                <a:gd name="T120" fmla="*/ 16 w 1029"/>
                <a:gd name="T121" fmla="*/ 180 h 604"/>
                <a:gd name="T122" fmla="*/ 9 w 1029"/>
                <a:gd name="T123" fmla="*/ 158 h 604"/>
                <a:gd name="T124" fmla="*/ 75 w 1029"/>
                <a:gd name="T125" fmla="*/ 149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48" name="Freeform 417">
              <a:extLst>
                <a:ext uri="{FF2B5EF4-FFF2-40B4-BE49-F238E27FC236}">
                  <a16:creationId xmlns="" xmlns:a16="http://schemas.microsoft.com/office/drawing/2014/main" id="{EE18A4DC-3167-476F-99B6-40D080F73345}"/>
                </a:ext>
              </a:extLst>
            </p:cNvPr>
            <p:cNvSpPr>
              <a:spLocks/>
            </p:cNvSpPr>
            <p:nvPr/>
          </p:nvSpPr>
          <p:spPr bwMode="auto">
            <a:xfrm>
              <a:off x="1528" y="1110"/>
              <a:ext cx="409" cy="105"/>
            </a:xfrm>
            <a:custGeom>
              <a:avLst/>
              <a:gdLst>
                <a:gd name="T0" fmla="*/ 797 w 1268"/>
                <a:gd name="T1" fmla="*/ 38 h 321"/>
                <a:gd name="T2" fmla="*/ 813 w 1268"/>
                <a:gd name="T3" fmla="*/ 16 h 321"/>
                <a:gd name="T4" fmla="*/ 846 w 1268"/>
                <a:gd name="T5" fmla="*/ 10 h 321"/>
                <a:gd name="T6" fmla="*/ 865 w 1268"/>
                <a:gd name="T7" fmla="*/ 25 h 321"/>
                <a:gd name="T8" fmla="*/ 938 w 1268"/>
                <a:gd name="T9" fmla="*/ 14 h 321"/>
                <a:gd name="T10" fmla="*/ 1020 w 1268"/>
                <a:gd name="T11" fmla="*/ 1 h 321"/>
                <a:gd name="T12" fmla="*/ 1084 w 1268"/>
                <a:gd name="T13" fmla="*/ 17 h 321"/>
                <a:gd name="T14" fmla="*/ 1133 w 1268"/>
                <a:gd name="T15" fmla="*/ 20 h 321"/>
                <a:gd name="T16" fmla="*/ 1268 w 1268"/>
                <a:gd name="T17" fmla="*/ 32 h 321"/>
                <a:gd name="T18" fmla="*/ 1242 w 1268"/>
                <a:gd name="T19" fmla="*/ 50 h 321"/>
                <a:gd name="T20" fmla="*/ 1163 w 1268"/>
                <a:gd name="T21" fmla="*/ 64 h 321"/>
                <a:gd name="T22" fmla="*/ 1053 w 1268"/>
                <a:gd name="T23" fmla="*/ 77 h 321"/>
                <a:gd name="T24" fmla="*/ 1029 w 1268"/>
                <a:gd name="T25" fmla="*/ 96 h 321"/>
                <a:gd name="T26" fmla="*/ 999 w 1268"/>
                <a:gd name="T27" fmla="*/ 104 h 321"/>
                <a:gd name="T28" fmla="*/ 942 w 1268"/>
                <a:gd name="T29" fmla="*/ 102 h 321"/>
                <a:gd name="T30" fmla="*/ 930 w 1268"/>
                <a:gd name="T31" fmla="*/ 118 h 321"/>
                <a:gd name="T32" fmla="*/ 747 w 1268"/>
                <a:gd name="T33" fmla="*/ 133 h 321"/>
                <a:gd name="T34" fmla="*/ 666 w 1268"/>
                <a:gd name="T35" fmla="*/ 156 h 321"/>
                <a:gd name="T36" fmla="*/ 635 w 1268"/>
                <a:gd name="T37" fmla="*/ 181 h 321"/>
                <a:gd name="T38" fmla="*/ 591 w 1268"/>
                <a:gd name="T39" fmla="*/ 167 h 321"/>
                <a:gd name="T40" fmla="*/ 570 w 1268"/>
                <a:gd name="T41" fmla="*/ 181 h 321"/>
                <a:gd name="T42" fmla="*/ 590 w 1268"/>
                <a:gd name="T43" fmla="*/ 207 h 321"/>
                <a:gd name="T44" fmla="*/ 545 w 1268"/>
                <a:gd name="T45" fmla="*/ 237 h 321"/>
                <a:gd name="T46" fmla="*/ 483 w 1268"/>
                <a:gd name="T47" fmla="*/ 236 h 321"/>
                <a:gd name="T48" fmla="*/ 404 w 1268"/>
                <a:gd name="T49" fmla="*/ 242 h 321"/>
                <a:gd name="T50" fmla="*/ 405 w 1268"/>
                <a:gd name="T51" fmla="*/ 257 h 321"/>
                <a:gd name="T52" fmla="*/ 392 w 1268"/>
                <a:gd name="T53" fmla="*/ 293 h 321"/>
                <a:gd name="T54" fmla="*/ 333 w 1268"/>
                <a:gd name="T55" fmla="*/ 320 h 321"/>
                <a:gd name="T56" fmla="*/ 290 w 1268"/>
                <a:gd name="T57" fmla="*/ 296 h 321"/>
                <a:gd name="T58" fmla="*/ 253 w 1268"/>
                <a:gd name="T59" fmla="*/ 285 h 321"/>
                <a:gd name="T60" fmla="*/ 96 w 1268"/>
                <a:gd name="T61" fmla="*/ 276 h 321"/>
                <a:gd name="T62" fmla="*/ 0 w 1268"/>
                <a:gd name="T63" fmla="*/ 285 h 321"/>
                <a:gd name="T64" fmla="*/ 10 w 1268"/>
                <a:gd name="T65" fmla="*/ 266 h 321"/>
                <a:gd name="T66" fmla="*/ 56 w 1268"/>
                <a:gd name="T67" fmla="*/ 246 h 321"/>
                <a:gd name="T68" fmla="*/ 143 w 1268"/>
                <a:gd name="T69" fmla="*/ 235 h 321"/>
                <a:gd name="T70" fmla="*/ 170 w 1268"/>
                <a:gd name="T71" fmla="*/ 225 h 321"/>
                <a:gd name="T72" fmla="*/ 190 w 1268"/>
                <a:gd name="T73" fmla="*/ 217 h 321"/>
                <a:gd name="T74" fmla="*/ 219 w 1268"/>
                <a:gd name="T75" fmla="*/ 232 h 321"/>
                <a:gd name="T76" fmla="*/ 247 w 1268"/>
                <a:gd name="T77" fmla="*/ 247 h 321"/>
                <a:gd name="T78" fmla="*/ 208 w 1268"/>
                <a:gd name="T79" fmla="*/ 207 h 321"/>
                <a:gd name="T80" fmla="*/ 193 w 1268"/>
                <a:gd name="T81" fmla="*/ 200 h 321"/>
                <a:gd name="T82" fmla="*/ 197 w 1268"/>
                <a:gd name="T83" fmla="*/ 181 h 321"/>
                <a:gd name="T84" fmla="*/ 246 w 1268"/>
                <a:gd name="T85" fmla="*/ 174 h 321"/>
                <a:gd name="T86" fmla="*/ 365 w 1268"/>
                <a:gd name="T87" fmla="*/ 186 h 321"/>
                <a:gd name="T88" fmla="*/ 418 w 1268"/>
                <a:gd name="T89" fmla="*/ 174 h 321"/>
                <a:gd name="T90" fmla="*/ 322 w 1268"/>
                <a:gd name="T91" fmla="*/ 169 h 321"/>
                <a:gd name="T92" fmla="*/ 299 w 1268"/>
                <a:gd name="T93" fmla="*/ 149 h 321"/>
                <a:gd name="T94" fmla="*/ 378 w 1268"/>
                <a:gd name="T95" fmla="*/ 137 h 321"/>
                <a:gd name="T96" fmla="*/ 438 w 1268"/>
                <a:gd name="T97" fmla="*/ 155 h 321"/>
                <a:gd name="T98" fmla="*/ 478 w 1268"/>
                <a:gd name="T99" fmla="*/ 124 h 321"/>
                <a:gd name="T100" fmla="*/ 664 w 1268"/>
                <a:gd name="T101" fmla="*/ 87 h 321"/>
                <a:gd name="T102" fmla="*/ 589 w 1268"/>
                <a:gd name="T103" fmla="*/ 110 h 321"/>
                <a:gd name="T104" fmla="*/ 449 w 1268"/>
                <a:gd name="T105" fmla="*/ 111 h 321"/>
                <a:gd name="T106" fmla="*/ 312 w 1268"/>
                <a:gd name="T107" fmla="*/ 116 h 321"/>
                <a:gd name="T108" fmla="*/ 253 w 1268"/>
                <a:gd name="T109" fmla="*/ 101 h 321"/>
                <a:gd name="T110" fmla="*/ 219 w 1268"/>
                <a:gd name="T111" fmla="*/ 80 h 321"/>
                <a:gd name="T112" fmla="*/ 253 w 1268"/>
                <a:gd name="T113" fmla="*/ 71 h 321"/>
                <a:gd name="T114" fmla="*/ 446 w 1268"/>
                <a:gd name="T115" fmla="*/ 47 h 321"/>
                <a:gd name="T116" fmla="*/ 618 w 1268"/>
                <a:gd name="T117" fmla="*/ 32 h 321"/>
                <a:gd name="T118" fmla="*/ 674 w 1268"/>
                <a:gd name="T119" fmla="*/ 20 h 321"/>
                <a:gd name="T120" fmla="*/ 757 w 1268"/>
                <a:gd name="T121" fmla="*/ 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49" name="Freeform 418">
              <a:extLst>
                <a:ext uri="{FF2B5EF4-FFF2-40B4-BE49-F238E27FC236}">
                  <a16:creationId xmlns="" xmlns:a16="http://schemas.microsoft.com/office/drawing/2014/main" id="{0F9695D8-3A35-4006-8AE4-ED9C7741F4AE}"/>
                </a:ext>
              </a:extLst>
            </p:cNvPr>
            <p:cNvSpPr>
              <a:spLocks/>
            </p:cNvSpPr>
            <p:nvPr/>
          </p:nvSpPr>
          <p:spPr bwMode="auto">
            <a:xfrm>
              <a:off x="553" y="1660"/>
              <a:ext cx="51" cy="38"/>
            </a:xfrm>
            <a:custGeom>
              <a:avLst/>
              <a:gdLst>
                <a:gd name="T0" fmla="*/ 0 w 160"/>
                <a:gd name="T1" fmla="*/ 0 h 117"/>
                <a:gd name="T2" fmla="*/ 1 w 160"/>
                <a:gd name="T3" fmla="*/ 10 h 117"/>
                <a:gd name="T4" fmla="*/ 4 w 160"/>
                <a:gd name="T5" fmla="*/ 19 h 117"/>
                <a:gd name="T6" fmla="*/ 9 w 160"/>
                <a:gd name="T7" fmla="*/ 29 h 117"/>
                <a:gd name="T8" fmla="*/ 15 w 160"/>
                <a:gd name="T9" fmla="*/ 39 h 117"/>
                <a:gd name="T10" fmla="*/ 22 w 160"/>
                <a:gd name="T11" fmla="*/ 48 h 117"/>
                <a:gd name="T12" fmla="*/ 31 w 160"/>
                <a:gd name="T13" fmla="*/ 59 h 117"/>
                <a:gd name="T14" fmla="*/ 41 w 160"/>
                <a:gd name="T15" fmla="*/ 68 h 117"/>
                <a:gd name="T16" fmla="*/ 51 w 160"/>
                <a:gd name="T17" fmla="*/ 77 h 117"/>
                <a:gd name="T18" fmla="*/ 62 w 160"/>
                <a:gd name="T19" fmla="*/ 85 h 117"/>
                <a:gd name="T20" fmla="*/ 73 w 160"/>
                <a:gd name="T21" fmla="*/ 93 h 117"/>
                <a:gd name="T22" fmla="*/ 84 w 160"/>
                <a:gd name="T23" fmla="*/ 99 h 117"/>
                <a:gd name="T24" fmla="*/ 95 w 160"/>
                <a:gd name="T25" fmla="*/ 105 h 117"/>
                <a:gd name="T26" fmla="*/ 106 w 160"/>
                <a:gd name="T27" fmla="*/ 111 h 117"/>
                <a:gd name="T28" fmla="*/ 116 w 160"/>
                <a:gd name="T29" fmla="*/ 114 h 117"/>
                <a:gd name="T30" fmla="*/ 124 w 160"/>
                <a:gd name="T31" fmla="*/ 117 h 117"/>
                <a:gd name="T32" fmla="*/ 133 w 160"/>
                <a:gd name="T33" fmla="*/ 117 h 117"/>
                <a:gd name="T34" fmla="*/ 139 w 160"/>
                <a:gd name="T35" fmla="*/ 116 h 117"/>
                <a:gd name="T36" fmla="*/ 146 w 160"/>
                <a:gd name="T37" fmla="*/ 113 h 117"/>
                <a:gd name="T38" fmla="*/ 153 w 160"/>
                <a:gd name="T39" fmla="*/ 110 h 117"/>
                <a:gd name="T40" fmla="*/ 160 w 160"/>
                <a:gd name="T41" fmla="*/ 104 h 117"/>
                <a:gd name="T42" fmla="*/ 150 w 160"/>
                <a:gd name="T43" fmla="*/ 91 h 117"/>
                <a:gd name="T44" fmla="*/ 141 w 160"/>
                <a:gd name="T45" fmla="*/ 79 h 117"/>
                <a:gd name="T46" fmla="*/ 138 w 160"/>
                <a:gd name="T47" fmla="*/ 73 h 117"/>
                <a:gd name="T48" fmla="*/ 135 w 160"/>
                <a:gd name="T49" fmla="*/ 66 h 117"/>
                <a:gd name="T50" fmla="*/ 133 w 160"/>
                <a:gd name="T51" fmla="*/ 58 h 117"/>
                <a:gd name="T52" fmla="*/ 133 w 160"/>
                <a:gd name="T53" fmla="*/ 49 h 117"/>
                <a:gd name="T54" fmla="*/ 127 w 160"/>
                <a:gd name="T55" fmla="*/ 48 h 117"/>
                <a:gd name="T56" fmla="*/ 118 w 160"/>
                <a:gd name="T57" fmla="*/ 45 h 117"/>
                <a:gd name="T58" fmla="*/ 108 w 160"/>
                <a:gd name="T59" fmla="*/ 40 h 117"/>
                <a:gd name="T60" fmla="*/ 97 w 160"/>
                <a:gd name="T61" fmla="*/ 34 h 117"/>
                <a:gd name="T62" fmla="*/ 87 w 160"/>
                <a:gd name="T63" fmla="*/ 28 h 117"/>
                <a:gd name="T64" fmla="*/ 77 w 160"/>
                <a:gd name="T65" fmla="*/ 21 h 117"/>
                <a:gd name="T66" fmla="*/ 74 w 160"/>
                <a:gd name="T67" fmla="*/ 17 h 117"/>
                <a:gd name="T68" fmla="*/ 71 w 160"/>
                <a:gd name="T69" fmla="*/ 13 h 117"/>
                <a:gd name="T70" fmla="*/ 68 w 160"/>
                <a:gd name="T71" fmla="*/ 10 h 117"/>
                <a:gd name="T72" fmla="*/ 66 w 160"/>
                <a:gd name="T73" fmla="*/ 6 h 117"/>
                <a:gd name="T74" fmla="*/ 60 w 160"/>
                <a:gd name="T75" fmla="*/ 6 h 117"/>
                <a:gd name="T76" fmla="*/ 52 w 160"/>
                <a:gd name="T77" fmla="*/ 6 h 117"/>
                <a:gd name="T78" fmla="*/ 43 w 160"/>
                <a:gd name="T79" fmla="*/ 4 h 117"/>
                <a:gd name="T80" fmla="*/ 33 w 160"/>
                <a:gd name="T81" fmla="*/ 0 h 117"/>
                <a:gd name="T82" fmla="*/ 0 w 160"/>
                <a:gd name="T8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50" name="Freeform 419">
              <a:extLst>
                <a:ext uri="{FF2B5EF4-FFF2-40B4-BE49-F238E27FC236}">
                  <a16:creationId xmlns="" xmlns:a16="http://schemas.microsoft.com/office/drawing/2014/main" id="{DEC6F12B-F2CF-43F6-AB3E-927B8FFA9A65}"/>
                </a:ext>
              </a:extLst>
            </p:cNvPr>
            <p:cNvSpPr>
              <a:spLocks/>
            </p:cNvSpPr>
            <p:nvPr/>
          </p:nvSpPr>
          <p:spPr bwMode="auto">
            <a:xfrm>
              <a:off x="527" y="1592"/>
              <a:ext cx="26" cy="46"/>
            </a:xfrm>
            <a:custGeom>
              <a:avLst/>
              <a:gdLst>
                <a:gd name="T0" fmla="*/ 40 w 80"/>
                <a:gd name="T1" fmla="*/ 123 h 141"/>
                <a:gd name="T2" fmla="*/ 80 w 80"/>
                <a:gd name="T3" fmla="*/ 36 h 141"/>
                <a:gd name="T4" fmla="*/ 80 w 80"/>
                <a:gd name="T5" fmla="*/ 18 h 141"/>
                <a:gd name="T6" fmla="*/ 68 w 80"/>
                <a:gd name="T7" fmla="*/ 17 h 141"/>
                <a:gd name="T8" fmla="*/ 59 w 80"/>
                <a:gd name="T9" fmla="*/ 16 h 141"/>
                <a:gd name="T10" fmla="*/ 53 w 80"/>
                <a:gd name="T11" fmla="*/ 14 h 141"/>
                <a:gd name="T12" fmla="*/ 47 w 80"/>
                <a:gd name="T13" fmla="*/ 11 h 141"/>
                <a:gd name="T14" fmla="*/ 44 w 80"/>
                <a:gd name="T15" fmla="*/ 8 h 141"/>
                <a:gd name="T16" fmla="*/ 42 w 80"/>
                <a:gd name="T17" fmla="*/ 5 h 141"/>
                <a:gd name="T18" fmla="*/ 41 w 80"/>
                <a:gd name="T19" fmla="*/ 2 h 141"/>
                <a:gd name="T20" fmla="*/ 40 w 80"/>
                <a:gd name="T21" fmla="*/ 0 h 141"/>
                <a:gd name="T22" fmla="*/ 0 w 80"/>
                <a:gd name="T23" fmla="*/ 0 h 141"/>
                <a:gd name="T24" fmla="*/ 0 w 80"/>
                <a:gd name="T25" fmla="*/ 23 h 141"/>
                <a:gd name="T26" fmla="*/ 0 w 80"/>
                <a:gd name="T27" fmla="*/ 40 h 141"/>
                <a:gd name="T28" fmla="*/ 0 w 80"/>
                <a:gd name="T29" fmla="*/ 52 h 141"/>
                <a:gd name="T30" fmla="*/ 0 w 80"/>
                <a:gd name="T31" fmla="*/ 61 h 141"/>
                <a:gd name="T32" fmla="*/ 1 w 80"/>
                <a:gd name="T33" fmla="*/ 69 h 141"/>
                <a:gd name="T34" fmla="*/ 3 w 80"/>
                <a:gd name="T35" fmla="*/ 78 h 141"/>
                <a:gd name="T36" fmla="*/ 7 w 80"/>
                <a:gd name="T37" fmla="*/ 88 h 141"/>
                <a:gd name="T38" fmla="*/ 11 w 80"/>
                <a:gd name="T39" fmla="*/ 99 h 141"/>
                <a:gd name="T40" fmla="*/ 20 w 80"/>
                <a:gd name="T41" fmla="*/ 121 h 141"/>
                <a:gd name="T42" fmla="*/ 27 w 80"/>
                <a:gd name="T43" fmla="*/ 141 h 141"/>
                <a:gd name="T44" fmla="*/ 31 w 80"/>
                <a:gd name="T45" fmla="*/ 135 h 141"/>
                <a:gd name="T46" fmla="*/ 33 w 80"/>
                <a:gd name="T47" fmla="*/ 129 h 141"/>
                <a:gd name="T48" fmla="*/ 34 w 80"/>
                <a:gd name="T49" fmla="*/ 127 h 141"/>
                <a:gd name="T50" fmla="*/ 36 w 80"/>
                <a:gd name="T51" fmla="*/ 125 h 141"/>
                <a:gd name="T52" fmla="*/ 38 w 80"/>
                <a:gd name="T53" fmla="*/ 123 h 141"/>
                <a:gd name="T54" fmla="*/ 40 w 80"/>
                <a:gd name="T55"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51" name="Freeform 420">
              <a:extLst>
                <a:ext uri="{FF2B5EF4-FFF2-40B4-BE49-F238E27FC236}">
                  <a16:creationId xmlns="" xmlns:a16="http://schemas.microsoft.com/office/drawing/2014/main" id="{BB8E207A-7A50-4BB3-B6EC-DC6A9C69816F}"/>
                </a:ext>
              </a:extLst>
            </p:cNvPr>
            <p:cNvSpPr>
              <a:spLocks/>
            </p:cNvSpPr>
            <p:nvPr/>
          </p:nvSpPr>
          <p:spPr bwMode="auto">
            <a:xfrm>
              <a:off x="1379" y="1383"/>
              <a:ext cx="83" cy="41"/>
            </a:xfrm>
            <a:custGeom>
              <a:avLst/>
              <a:gdLst>
                <a:gd name="T0" fmla="*/ 0 w 259"/>
                <a:gd name="T1" fmla="*/ 93 h 124"/>
                <a:gd name="T2" fmla="*/ 0 w 259"/>
                <a:gd name="T3" fmla="*/ 96 h 124"/>
                <a:gd name="T4" fmla="*/ 2 w 259"/>
                <a:gd name="T5" fmla="*/ 100 h 124"/>
                <a:gd name="T6" fmla="*/ 4 w 259"/>
                <a:gd name="T7" fmla="*/ 103 h 124"/>
                <a:gd name="T8" fmla="*/ 6 w 259"/>
                <a:gd name="T9" fmla="*/ 106 h 124"/>
                <a:gd name="T10" fmla="*/ 14 w 259"/>
                <a:gd name="T11" fmla="*/ 111 h 124"/>
                <a:gd name="T12" fmla="*/ 23 w 259"/>
                <a:gd name="T13" fmla="*/ 115 h 124"/>
                <a:gd name="T14" fmla="*/ 31 w 259"/>
                <a:gd name="T15" fmla="*/ 120 h 124"/>
                <a:gd name="T16" fmla="*/ 41 w 259"/>
                <a:gd name="T17" fmla="*/ 122 h 124"/>
                <a:gd name="T18" fmla="*/ 51 w 259"/>
                <a:gd name="T19" fmla="*/ 124 h 124"/>
                <a:gd name="T20" fmla="*/ 60 w 259"/>
                <a:gd name="T21" fmla="*/ 124 h 124"/>
                <a:gd name="T22" fmla="*/ 68 w 259"/>
                <a:gd name="T23" fmla="*/ 124 h 124"/>
                <a:gd name="T24" fmla="*/ 75 w 259"/>
                <a:gd name="T25" fmla="*/ 123 h 124"/>
                <a:gd name="T26" fmla="*/ 81 w 259"/>
                <a:gd name="T27" fmla="*/ 122 h 124"/>
                <a:gd name="T28" fmla="*/ 87 w 259"/>
                <a:gd name="T29" fmla="*/ 120 h 124"/>
                <a:gd name="T30" fmla="*/ 97 w 259"/>
                <a:gd name="T31" fmla="*/ 114 h 124"/>
                <a:gd name="T32" fmla="*/ 106 w 259"/>
                <a:gd name="T33" fmla="*/ 108 h 124"/>
                <a:gd name="T34" fmla="*/ 115 w 259"/>
                <a:gd name="T35" fmla="*/ 103 h 124"/>
                <a:gd name="T36" fmla="*/ 125 w 259"/>
                <a:gd name="T37" fmla="*/ 98 h 124"/>
                <a:gd name="T38" fmla="*/ 130 w 259"/>
                <a:gd name="T39" fmla="*/ 96 h 124"/>
                <a:gd name="T40" fmla="*/ 137 w 259"/>
                <a:gd name="T41" fmla="*/ 94 h 124"/>
                <a:gd name="T42" fmla="*/ 145 w 259"/>
                <a:gd name="T43" fmla="*/ 93 h 124"/>
                <a:gd name="T44" fmla="*/ 152 w 259"/>
                <a:gd name="T45" fmla="*/ 93 h 124"/>
                <a:gd name="T46" fmla="*/ 162 w 259"/>
                <a:gd name="T47" fmla="*/ 94 h 124"/>
                <a:gd name="T48" fmla="*/ 171 w 259"/>
                <a:gd name="T49" fmla="*/ 96 h 124"/>
                <a:gd name="T50" fmla="*/ 180 w 259"/>
                <a:gd name="T51" fmla="*/ 99 h 124"/>
                <a:gd name="T52" fmla="*/ 188 w 259"/>
                <a:gd name="T53" fmla="*/ 103 h 124"/>
                <a:gd name="T54" fmla="*/ 204 w 259"/>
                <a:gd name="T55" fmla="*/ 111 h 124"/>
                <a:gd name="T56" fmla="*/ 219 w 259"/>
                <a:gd name="T57" fmla="*/ 117 h 124"/>
                <a:gd name="T58" fmla="*/ 259 w 259"/>
                <a:gd name="T59" fmla="*/ 117 h 124"/>
                <a:gd name="T60" fmla="*/ 259 w 259"/>
                <a:gd name="T61" fmla="*/ 99 h 124"/>
                <a:gd name="T62" fmla="*/ 252 w 259"/>
                <a:gd name="T63" fmla="*/ 98 h 124"/>
                <a:gd name="T64" fmla="*/ 244 w 259"/>
                <a:gd name="T65" fmla="*/ 96 h 124"/>
                <a:gd name="T66" fmla="*/ 236 w 259"/>
                <a:gd name="T67" fmla="*/ 94 h 124"/>
                <a:gd name="T68" fmla="*/ 226 w 259"/>
                <a:gd name="T69" fmla="*/ 93 h 124"/>
                <a:gd name="T70" fmla="*/ 230 w 259"/>
                <a:gd name="T71" fmla="*/ 85 h 124"/>
                <a:gd name="T72" fmla="*/ 236 w 259"/>
                <a:gd name="T73" fmla="*/ 79 h 124"/>
                <a:gd name="T74" fmla="*/ 240 w 259"/>
                <a:gd name="T75" fmla="*/ 74 h 124"/>
                <a:gd name="T76" fmla="*/ 246 w 259"/>
                <a:gd name="T77" fmla="*/ 69 h 124"/>
                <a:gd name="T78" fmla="*/ 238 w 259"/>
                <a:gd name="T79" fmla="*/ 61 h 124"/>
                <a:gd name="T80" fmla="*/ 230 w 259"/>
                <a:gd name="T81" fmla="*/ 56 h 124"/>
                <a:gd name="T82" fmla="*/ 222 w 259"/>
                <a:gd name="T83" fmla="*/ 50 h 124"/>
                <a:gd name="T84" fmla="*/ 214 w 259"/>
                <a:gd name="T85" fmla="*/ 46 h 124"/>
                <a:gd name="T86" fmla="*/ 197 w 259"/>
                <a:gd name="T87" fmla="*/ 37 h 124"/>
                <a:gd name="T88" fmla="*/ 182 w 259"/>
                <a:gd name="T89" fmla="*/ 30 h 124"/>
                <a:gd name="T90" fmla="*/ 166 w 259"/>
                <a:gd name="T91" fmla="*/ 23 h 124"/>
                <a:gd name="T92" fmla="*/ 153 w 259"/>
                <a:gd name="T93" fmla="*/ 17 h 124"/>
                <a:gd name="T94" fmla="*/ 147 w 259"/>
                <a:gd name="T95" fmla="*/ 13 h 124"/>
                <a:gd name="T96" fmla="*/ 141 w 259"/>
                <a:gd name="T97" fmla="*/ 10 h 124"/>
                <a:gd name="T98" fmla="*/ 137 w 259"/>
                <a:gd name="T99" fmla="*/ 5 h 124"/>
                <a:gd name="T100" fmla="*/ 132 w 259"/>
                <a:gd name="T101" fmla="*/ 0 h 124"/>
                <a:gd name="T102" fmla="*/ 124 w 259"/>
                <a:gd name="T103" fmla="*/ 3 h 124"/>
                <a:gd name="T104" fmla="*/ 114 w 259"/>
                <a:gd name="T105" fmla="*/ 7 h 124"/>
                <a:gd name="T106" fmla="*/ 105 w 259"/>
                <a:gd name="T107" fmla="*/ 12 h 124"/>
                <a:gd name="T108" fmla="*/ 95 w 259"/>
                <a:gd name="T109" fmla="*/ 17 h 124"/>
                <a:gd name="T110" fmla="*/ 75 w 259"/>
                <a:gd name="T111" fmla="*/ 29 h 124"/>
                <a:gd name="T112" fmla="*/ 57 w 259"/>
                <a:gd name="T113" fmla="*/ 42 h 124"/>
                <a:gd name="T114" fmla="*/ 38 w 259"/>
                <a:gd name="T115" fmla="*/ 56 h 124"/>
                <a:gd name="T116" fmla="*/ 23 w 259"/>
                <a:gd name="T117" fmla="*/ 70 h 124"/>
                <a:gd name="T118" fmla="*/ 9 w 259"/>
                <a:gd name="T119" fmla="*/ 83 h 124"/>
                <a:gd name="T120" fmla="*/ 0 w 259"/>
                <a:gd name="T121"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52" name="Freeform 421">
              <a:extLst>
                <a:ext uri="{FF2B5EF4-FFF2-40B4-BE49-F238E27FC236}">
                  <a16:creationId xmlns="" xmlns:a16="http://schemas.microsoft.com/office/drawing/2014/main" id="{20EA18A0-A332-40C4-B1B1-1EB438E87189}"/>
                </a:ext>
              </a:extLst>
            </p:cNvPr>
            <p:cNvSpPr>
              <a:spLocks/>
            </p:cNvSpPr>
            <p:nvPr/>
          </p:nvSpPr>
          <p:spPr bwMode="auto">
            <a:xfrm>
              <a:off x="1509" y="1389"/>
              <a:ext cx="38" cy="19"/>
            </a:xfrm>
            <a:custGeom>
              <a:avLst/>
              <a:gdLst>
                <a:gd name="T0" fmla="*/ 0 w 119"/>
                <a:gd name="T1" fmla="*/ 32 h 57"/>
                <a:gd name="T2" fmla="*/ 7 w 119"/>
                <a:gd name="T3" fmla="*/ 35 h 57"/>
                <a:gd name="T4" fmla="*/ 14 w 119"/>
                <a:gd name="T5" fmla="*/ 38 h 57"/>
                <a:gd name="T6" fmla="*/ 20 w 119"/>
                <a:gd name="T7" fmla="*/ 42 h 57"/>
                <a:gd name="T8" fmla="*/ 26 w 119"/>
                <a:gd name="T9" fmla="*/ 47 h 57"/>
                <a:gd name="T10" fmla="*/ 32 w 119"/>
                <a:gd name="T11" fmla="*/ 51 h 57"/>
                <a:gd name="T12" fmla="*/ 36 w 119"/>
                <a:gd name="T13" fmla="*/ 54 h 57"/>
                <a:gd name="T14" fmla="*/ 41 w 119"/>
                <a:gd name="T15" fmla="*/ 56 h 57"/>
                <a:gd name="T16" fmla="*/ 47 w 119"/>
                <a:gd name="T17" fmla="*/ 57 h 57"/>
                <a:gd name="T18" fmla="*/ 55 w 119"/>
                <a:gd name="T19" fmla="*/ 57 h 57"/>
                <a:gd name="T20" fmla="*/ 62 w 119"/>
                <a:gd name="T21" fmla="*/ 56 h 57"/>
                <a:gd name="T22" fmla="*/ 70 w 119"/>
                <a:gd name="T23" fmla="*/ 55 h 57"/>
                <a:gd name="T24" fmla="*/ 77 w 119"/>
                <a:gd name="T25" fmla="*/ 53 h 57"/>
                <a:gd name="T26" fmla="*/ 83 w 119"/>
                <a:gd name="T27" fmla="*/ 50 h 57"/>
                <a:gd name="T28" fmla="*/ 89 w 119"/>
                <a:gd name="T29" fmla="*/ 48 h 57"/>
                <a:gd name="T30" fmla="*/ 93 w 119"/>
                <a:gd name="T31" fmla="*/ 44 h 57"/>
                <a:gd name="T32" fmla="*/ 97 w 119"/>
                <a:gd name="T33" fmla="*/ 40 h 57"/>
                <a:gd name="T34" fmla="*/ 106 w 119"/>
                <a:gd name="T35" fmla="*/ 32 h 57"/>
                <a:gd name="T36" fmla="*/ 112 w 119"/>
                <a:gd name="T37" fmla="*/ 23 h 57"/>
                <a:gd name="T38" fmla="*/ 116 w 119"/>
                <a:gd name="T39" fmla="*/ 13 h 57"/>
                <a:gd name="T40" fmla="*/ 119 w 119"/>
                <a:gd name="T41" fmla="*/ 1 h 57"/>
                <a:gd name="T42" fmla="*/ 101 w 119"/>
                <a:gd name="T43" fmla="*/ 0 h 57"/>
                <a:gd name="T44" fmla="*/ 82 w 119"/>
                <a:gd name="T45" fmla="*/ 0 h 57"/>
                <a:gd name="T46" fmla="*/ 63 w 119"/>
                <a:gd name="T47" fmla="*/ 2 h 57"/>
                <a:gd name="T48" fmla="*/ 45 w 119"/>
                <a:gd name="T49" fmla="*/ 5 h 57"/>
                <a:gd name="T50" fmla="*/ 36 w 119"/>
                <a:gd name="T51" fmla="*/ 7 h 57"/>
                <a:gd name="T52" fmla="*/ 28 w 119"/>
                <a:gd name="T53" fmla="*/ 10 h 57"/>
                <a:gd name="T54" fmla="*/ 22 w 119"/>
                <a:gd name="T55" fmla="*/ 13 h 57"/>
                <a:gd name="T56" fmla="*/ 15 w 119"/>
                <a:gd name="T57" fmla="*/ 16 h 57"/>
                <a:gd name="T58" fmla="*/ 10 w 119"/>
                <a:gd name="T59" fmla="*/ 19 h 57"/>
                <a:gd name="T60" fmla="*/ 5 w 119"/>
                <a:gd name="T61" fmla="*/ 23 h 57"/>
                <a:gd name="T62" fmla="*/ 2 w 119"/>
                <a:gd name="T63" fmla="*/ 27 h 57"/>
                <a:gd name="T64" fmla="*/ 0 w 119"/>
                <a:gd name="T65" fmla="*/ 3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53" name="Freeform 422">
              <a:extLst>
                <a:ext uri="{FF2B5EF4-FFF2-40B4-BE49-F238E27FC236}">
                  <a16:creationId xmlns="" xmlns:a16="http://schemas.microsoft.com/office/drawing/2014/main" id="{AD5BD0B2-6526-4FE2-9E56-F33B4EF9A4FD}"/>
                </a:ext>
              </a:extLst>
            </p:cNvPr>
            <p:cNvSpPr>
              <a:spLocks/>
            </p:cNvSpPr>
            <p:nvPr/>
          </p:nvSpPr>
          <p:spPr bwMode="auto">
            <a:xfrm>
              <a:off x="1554" y="1335"/>
              <a:ext cx="34" cy="17"/>
            </a:xfrm>
            <a:custGeom>
              <a:avLst/>
              <a:gdLst>
                <a:gd name="T0" fmla="*/ 0 w 107"/>
                <a:gd name="T1" fmla="*/ 50 h 52"/>
                <a:gd name="T2" fmla="*/ 6 w 107"/>
                <a:gd name="T3" fmla="*/ 51 h 52"/>
                <a:gd name="T4" fmla="*/ 9 w 107"/>
                <a:gd name="T5" fmla="*/ 52 h 52"/>
                <a:gd name="T6" fmla="*/ 13 w 107"/>
                <a:gd name="T7" fmla="*/ 52 h 52"/>
                <a:gd name="T8" fmla="*/ 17 w 107"/>
                <a:gd name="T9" fmla="*/ 52 h 52"/>
                <a:gd name="T10" fmla="*/ 24 w 107"/>
                <a:gd name="T11" fmla="*/ 50 h 52"/>
                <a:gd name="T12" fmla="*/ 34 w 107"/>
                <a:gd name="T13" fmla="*/ 50 h 52"/>
                <a:gd name="T14" fmla="*/ 43 w 107"/>
                <a:gd name="T15" fmla="*/ 49 h 52"/>
                <a:gd name="T16" fmla="*/ 53 w 107"/>
                <a:gd name="T17" fmla="*/ 48 h 52"/>
                <a:gd name="T18" fmla="*/ 62 w 107"/>
                <a:gd name="T19" fmla="*/ 47 h 52"/>
                <a:gd name="T20" fmla="*/ 70 w 107"/>
                <a:gd name="T21" fmla="*/ 43 h 52"/>
                <a:gd name="T22" fmla="*/ 79 w 107"/>
                <a:gd name="T23" fmla="*/ 40 h 52"/>
                <a:gd name="T24" fmla="*/ 88 w 107"/>
                <a:gd name="T25" fmla="*/ 36 h 52"/>
                <a:gd name="T26" fmla="*/ 97 w 107"/>
                <a:gd name="T27" fmla="*/ 31 h 52"/>
                <a:gd name="T28" fmla="*/ 107 w 107"/>
                <a:gd name="T29" fmla="*/ 24 h 52"/>
                <a:gd name="T30" fmla="*/ 107 w 107"/>
                <a:gd name="T31" fmla="*/ 0 h 52"/>
                <a:gd name="T32" fmla="*/ 98 w 107"/>
                <a:gd name="T33" fmla="*/ 1 h 52"/>
                <a:gd name="T34" fmla="*/ 86 w 107"/>
                <a:gd name="T35" fmla="*/ 3 h 52"/>
                <a:gd name="T36" fmla="*/ 72 w 107"/>
                <a:gd name="T37" fmla="*/ 7 h 52"/>
                <a:gd name="T38" fmla="*/ 56 w 107"/>
                <a:gd name="T39" fmla="*/ 13 h 52"/>
                <a:gd name="T40" fmla="*/ 41 w 107"/>
                <a:gd name="T41" fmla="*/ 20 h 52"/>
                <a:gd name="T42" fmla="*/ 25 w 107"/>
                <a:gd name="T43" fmla="*/ 28 h 52"/>
                <a:gd name="T44" fmla="*/ 19 w 107"/>
                <a:gd name="T45" fmla="*/ 33 h 52"/>
                <a:gd name="T46" fmla="*/ 12 w 107"/>
                <a:gd name="T47" fmla="*/ 38 h 52"/>
                <a:gd name="T48" fmla="*/ 6 w 107"/>
                <a:gd name="T49" fmla="*/ 43 h 52"/>
                <a:gd name="T50" fmla="*/ 0 w 107"/>
                <a:gd name="T51"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54" name="Freeform 423">
              <a:extLst>
                <a:ext uri="{FF2B5EF4-FFF2-40B4-BE49-F238E27FC236}">
                  <a16:creationId xmlns="" xmlns:a16="http://schemas.microsoft.com/office/drawing/2014/main" id="{390A19E6-4765-4BEF-B455-18E63A9BE765}"/>
                </a:ext>
              </a:extLst>
            </p:cNvPr>
            <p:cNvSpPr>
              <a:spLocks/>
            </p:cNvSpPr>
            <p:nvPr/>
          </p:nvSpPr>
          <p:spPr bwMode="auto">
            <a:xfrm>
              <a:off x="1381" y="1244"/>
              <a:ext cx="79" cy="32"/>
            </a:xfrm>
            <a:custGeom>
              <a:avLst/>
              <a:gdLst>
                <a:gd name="T0" fmla="*/ 27 w 246"/>
                <a:gd name="T1" fmla="*/ 99 h 99"/>
                <a:gd name="T2" fmla="*/ 22 w 246"/>
                <a:gd name="T3" fmla="*/ 97 h 99"/>
                <a:gd name="T4" fmla="*/ 17 w 246"/>
                <a:gd name="T5" fmla="*/ 96 h 99"/>
                <a:gd name="T6" fmla="*/ 12 w 246"/>
                <a:gd name="T7" fmla="*/ 93 h 99"/>
                <a:gd name="T8" fmla="*/ 9 w 246"/>
                <a:gd name="T9" fmla="*/ 90 h 99"/>
                <a:gd name="T10" fmla="*/ 6 w 246"/>
                <a:gd name="T11" fmla="*/ 86 h 99"/>
                <a:gd name="T12" fmla="*/ 2 w 246"/>
                <a:gd name="T13" fmla="*/ 82 h 99"/>
                <a:gd name="T14" fmla="*/ 1 w 246"/>
                <a:gd name="T15" fmla="*/ 78 h 99"/>
                <a:gd name="T16" fmla="*/ 0 w 246"/>
                <a:gd name="T17" fmla="*/ 73 h 99"/>
                <a:gd name="T18" fmla="*/ 0 w 246"/>
                <a:gd name="T19" fmla="*/ 69 h 99"/>
                <a:gd name="T20" fmla="*/ 1 w 246"/>
                <a:gd name="T21" fmla="*/ 65 h 99"/>
                <a:gd name="T22" fmla="*/ 3 w 246"/>
                <a:gd name="T23" fmla="*/ 60 h 99"/>
                <a:gd name="T24" fmla="*/ 5 w 246"/>
                <a:gd name="T25" fmla="*/ 56 h 99"/>
                <a:gd name="T26" fmla="*/ 10 w 246"/>
                <a:gd name="T27" fmla="*/ 49 h 99"/>
                <a:gd name="T28" fmla="*/ 18 w 246"/>
                <a:gd name="T29" fmla="*/ 41 h 99"/>
                <a:gd name="T30" fmla="*/ 25 w 246"/>
                <a:gd name="T31" fmla="*/ 34 h 99"/>
                <a:gd name="T32" fmla="*/ 35 w 246"/>
                <a:gd name="T33" fmla="*/ 28 h 99"/>
                <a:gd name="T34" fmla="*/ 46 w 246"/>
                <a:gd name="T35" fmla="*/ 23 h 99"/>
                <a:gd name="T36" fmla="*/ 57 w 246"/>
                <a:gd name="T37" fmla="*/ 18 h 99"/>
                <a:gd name="T38" fmla="*/ 69 w 246"/>
                <a:gd name="T39" fmla="*/ 14 h 99"/>
                <a:gd name="T40" fmla="*/ 81 w 246"/>
                <a:gd name="T41" fmla="*/ 10 h 99"/>
                <a:gd name="T42" fmla="*/ 92 w 246"/>
                <a:gd name="T43" fmla="*/ 7 h 99"/>
                <a:gd name="T44" fmla="*/ 104 w 246"/>
                <a:gd name="T45" fmla="*/ 4 h 99"/>
                <a:gd name="T46" fmla="*/ 124 w 246"/>
                <a:gd name="T47" fmla="*/ 1 h 99"/>
                <a:gd name="T48" fmla="*/ 140 w 246"/>
                <a:gd name="T49" fmla="*/ 0 h 99"/>
                <a:gd name="T50" fmla="*/ 168 w 246"/>
                <a:gd name="T51" fmla="*/ 0 h 99"/>
                <a:gd name="T52" fmla="*/ 193 w 246"/>
                <a:gd name="T53" fmla="*/ 1 h 99"/>
                <a:gd name="T54" fmla="*/ 219 w 246"/>
                <a:gd name="T55" fmla="*/ 2 h 99"/>
                <a:gd name="T56" fmla="*/ 246 w 246"/>
                <a:gd name="T57" fmla="*/ 6 h 99"/>
                <a:gd name="T58" fmla="*/ 244 w 246"/>
                <a:gd name="T59" fmla="*/ 11 h 99"/>
                <a:gd name="T60" fmla="*/ 241 w 246"/>
                <a:gd name="T61" fmla="*/ 15 h 99"/>
                <a:gd name="T62" fmla="*/ 236 w 246"/>
                <a:gd name="T63" fmla="*/ 20 h 99"/>
                <a:gd name="T64" fmla="*/ 231 w 246"/>
                <a:gd name="T65" fmla="*/ 26 h 99"/>
                <a:gd name="T66" fmla="*/ 215 w 246"/>
                <a:gd name="T67" fmla="*/ 36 h 99"/>
                <a:gd name="T68" fmla="*/ 199 w 246"/>
                <a:gd name="T69" fmla="*/ 46 h 99"/>
                <a:gd name="T70" fmla="*/ 180 w 246"/>
                <a:gd name="T71" fmla="*/ 55 h 99"/>
                <a:gd name="T72" fmla="*/ 162 w 246"/>
                <a:gd name="T73" fmla="*/ 61 h 99"/>
                <a:gd name="T74" fmla="*/ 152 w 246"/>
                <a:gd name="T75" fmla="*/ 64 h 99"/>
                <a:gd name="T76" fmla="*/ 143 w 246"/>
                <a:gd name="T77" fmla="*/ 66 h 99"/>
                <a:gd name="T78" fmla="*/ 134 w 246"/>
                <a:gd name="T79" fmla="*/ 67 h 99"/>
                <a:gd name="T80" fmla="*/ 126 w 246"/>
                <a:gd name="T81" fmla="*/ 67 h 99"/>
                <a:gd name="T82" fmla="*/ 120 w 246"/>
                <a:gd name="T83" fmla="*/ 67 h 99"/>
                <a:gd name="T84" fmla="*/ 110 w 246"/>
                <a:gd name="T85" fmla="*/ 67 h 99"/>
                <a:gd name="T86" fmla="*/ 100 w 246"/>
                <a:gd name="T87" fmla="*/ 67 h 99"/>
                <a:gd name="T88" fmla="*/ 93 w 246"/>
                <a:gd name="T89" fmla="*/ 67 h 99"/>
                <a:gd name="T90" fmla="*/ 88 w 246"/>
                <a:gd name="T91" fmla="*/ 69 h 99"/>
                <a:gd name="T92" fmla="*/ 80 w 246"/>
                <a:gd name="T93" fmla="*/ 72 h 99"/>
                <a:gd name="T94" fmla="*/ 72 w 246"/>
                <a:gd name="T95" fmla="*/ 77 h 99"/>
                <a:gd name="T96" fmla="*/ 63 w 246"/>
                <a:gd name="T97" fmla="*/ 83 h 99"/>
                <a:gd name="T98" fmla="*/ 53 w 246"/>
                <a:gd name="T99" fmla="*/ 88 h 99"/>
                <a:gd name="T100" fmla="*/ 44 w 246"/>
                <a:gd name="T101" fmla="*/ 93 h 99"/>
                <a:gd name="T102" fmla="*/ 35 w 246"/>
                <a:gd name="T103" fmla="*/ 96 h 99"/>
                <a:gd name="T104" fmla="*/ 27 w 246"/>
                <a:gd name="T10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55" name="Freeform 424">
              <a:extLst>
                <a:ext uri="{FF2B5EF4-FFF2-40B4-BE49-F238E27FC236}">
                  <a16:creationId xmlns="" xmlns:a16="http://schemas.microsoft.com/office/drawing/2014/main" id="{3AF9D4C0-D13D-4AE5-A0A3-CE83703F8B53}"/>
                </a:ext>
              </a:extLst>
            </p:cNvPr>
            <p:cNvSpPr>
              <a:spLocks/>
            </p:cNvSpPr>
            <p:nvPr/>
          </p:nvSpPr>
          <p:spPr bwMode="auto">
            <a:xfrm>
              <a:off x="1294" y="1248"/>
              <a:ext cx="76" cy="40"/>
            </a:xfrm>
            <a:custGeom>
              <a:avLst/>
              <a:gdLst>
                <a:gd name="T0" fmla="*/ 33 w 233"/>
                <a:gd name="T1" fmla="*/ 88 h 123"/>
                <a:gd name="T2" fmla="*/ 10 w 233"/>
                <a:gd name="T3" fmla="*/ 78 h 123"/>
                <a:gd name="T4" fmla="*/ 0 w 233"/>
                <a:gd name="T5" fmla="*/ 55 h 123"/>
                <a:gd name="T6" fmla="*/ 20 w 233"/>
                <a:gd name="T7" fmla="*/ 37 h 123"/>
                <a:gd name="T8" fmla="*/ 40 w 233"/>
                <a:gd name="T9" fmla="*/ 37 h 123"/>
                <a:gd name="T10" fmla="*/ 61 w 233"/>
                <a:gd name="T11" fmla="*/ 37 h 123"/>
                <a:gd name="T12" fmla="*/ 72 w 233"/>
                <a:gd name="T13" fmla="*/ 36 h 123"/>
                <a:gd name="T14" fmla="*/ 83 w 233"/>
                <a:gd name="T15" fmla="*/ 33 h 123"/>
                <a:gd name="T16" fmla="*/ 104 w 233"/>
                <a:gd name="T17" fmla="*/ 23 h 123"/>
                <a:gd name="T18" fmla="*/ 123 w 233"/>
                <a:gd name="T19" fmla="*/ 11 h 123"/>
                <a:gd name="T20" fmla="*/ 146 w 233"/>
                <a:gd name="T21" fmla="*/ 0 h 123"/>
                <a:gd name="T22" fmla="*/ 161 w 233"/>
                <a:gd name="T23" fmla="*/ 8 h 123"/>
                <a:gd name="T24" fmla="*/ 181 w 233"/>
                <a:gd name="T25" fmla="*/ 12 h 123"/>
                <a:gd name="T26" fmla="*/ 190 w 233"/>
                <a:gd name="T27" fmla="*/ 10 h 123"/>
                <a:gd name="T28" fmla="*/ 201 w 233"/>
                <a:gd name="T29" fmla="*/ 6 h 123"/>
                <a:gd name="T30" fmla="*/ 213 w 233"/>
                <a:gd name="T31" fmla="*/ 0 h 123"/>
                <a:gd name="T32" fmla="*/ 232 w 233"/>
                <a:gd name="T33" fmla="*/ 6 h 123"/>
                <a:gd name="T34" fmla="*/ 228 w 233"/>
                <a:gd name="T35" fmla="*/ 18 h 123"/>
                <a:gd name="T36" fmla="*/ 219 w 233"/>
                <a:gd name="T37" fmla="*/ 25 h 123"/>
                <a:gd name="T38" fmla="*/ 207 w 233"/>
                <a:gd name="T39" fmla="*/ 30 h 123"/>
                <a:gd name="T40" fmla="*/ 201 w 233"/>
                <a:gd name="T41" fmla="*/ 43 h 123"/>
                <a:gd name="T42" fmla="*/ 206 w 233"/>
                <a:gd name="T43" fmla="*/ 62 h 123"/>
                <a:gd name="T44" fmla="*/ 185 w 233"/>
                <a:gd name="T45" fmla="*/ 85 h 123"/>
                <a:gd name="T46" fmla="*/ 157 w 233"/>
                <a:gd name="T47" fmla="*/ 96 h 123"/>
                <a:gd name="T48" fmla="*/ 139 w 233"/>
                <a:gd name="T49" fmla="*/ 98 h 123"/>
                <a:gd name="T50" fmla="*/ 116 w 233"/>
                <a:gd name="T51" fmla="*/ 100 h 123"/>
                <a:gd name="T52" fmla="*/ 96 w 233"/>
                <a:gd name="T53" fmla="*/ 106 h 123"/>
                <a:gd name="T54" fmla="*/ 82 w 233"/>
                <a:gd name="T55" fmla="*/ 115 h 123"/>
                <a:gd name="T56" fmla="*/ 67 w 233"/>
                <a:gd name="T57" fmla="*/ 122 h 123"/>
                <a:gd name="T58" fmla="*/ 58 w 233"/>
                <a:gd name="T59" fmla="*/ 122 h 123"/>
                <a:gd name="T60" fmla="*/ 53 w 233"/>
                <a:gd name="T61" fmla="*/ 115 h 123"/>
                <a:gd name="T62" fmla="*/ 48 w 233"/>
                <a:gd name="T63"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56" name="Freeform 425">
              <a:extLst>
                <a:ext uri="{FF2B5EF4-FFF2-40B4-BE49-F238E27FC236}">
                  <a16:creationId xmlns="" xmlns:a16="http://schemas.microsoft.com/office/drawing/2014/main" id="{9523D612-CE54-4173-A6D8-52CD30E3B8DA}"/>
                </a:ext>
              </a:extLst>
            </p:cNvPr>
            <p:cNvSpPr>
              <a:spLocks/>
            </p:cNvSpPr>
            <p:nvPr/>
          </p:nvSpPr>
          <p:spPr bwMode="auto">
            <a:xfrm>
              <a:off x="983" y="1236"/>
              <a:ext cx="157" cy="56"/>
            </a:xfrm>
            <a:custGeom>
              <a:avLst/>
              <a:gdLst>
                <a:gd name="T0" fmla="*/ 0 w 484"/>
                <a:gd name="T1" fmla="*/ 147 h 172"/>
                <a:gd name="T2" fmla="*/ 3 w 484"/>
                <a:gd name="T3" fmla="*/ 156 h 172"/>
                <a:gd name="T4" fmla="*/ 9 w 484"/>
                <a:gd name="T5" fmla="*/ 162 h 172"/>
                <a:gd name="T6" fmla="*/ 17 w 484"/>
                <a:gd name="T7" fmla="*/ 167 h 172"/>
                <a:gd name="T8" fmla="*/ 31 w 484"/>
                <a:gd name="T9" fmla="*/ 170 h 172"/>
                <a:gd name="T10" fmla="*/ 51 w 484"/>
                <a:gd name="T11" fmla="*/ 172 h 172"/>
                <a:gd name="T12" fmla="*/ 73 w 484"/>
                <a:gd name="T13" fmla="*/ 172 h 172"/>
                <a:gd name="T14" fmla="*/ 99 w 484"/>
                <a:gd name="T15" fmla="*/ 167 h 172"/>
                <a:gd name="T16" fmla="*/ 139 w 484"/>
                <a:gd name="T17" fmla="*/ 156 h 172"/>
                <a:gd name="T18" fmla="*/ 189 w 484"/>
                <a:gd name="T19" fmla="*/ 135 h 172"/>
                <a:gd name="T20" fmla="*/ 240 w 484"/>
                <a:gd name="T21" fmla="*/ 113 h 172"/>
                <a:gd name="T22" fmla="*/ 287 w 484"/>
                <a:gd name="T23" fmla="*/ 100 h 172"/>
                <a:gd name="T24" fmla="*/ 350 w 484"/>
                <a:gd name="T25" fmla="*/ 87 h 172"/>
                <a:gd name="T26" fmla="*/ 401 w 484"/>
                <a:gd name="T27" fmla="*/ 75 h 172"/>
                <a:gd name="T28" fmla="*/ 434 w 484"/>
                <a:gd name="T29" fmla="*/ 64 h 172"/>
                <a:gd name="T30" fmla="*/ 461 w 484"/>
                <a:gd name="T31" fmla="*/ 52 h 172"/>
                <a:gd name="T32" fmla="*/ 475 w 484"/>
                <a:gd name="T33" fmla="*/ 42 h 172"/>
                <a:gd name="T34" fmla="*/ 482 w 484"/>
                <a:gd name="T35" fmla="*/ 35 h 172"/>
                <a:gd name="T36" fmla="*/ 449 w 484"/>
                <a:gd name="T37" fmla="*/ 26 h 172"/>
                <a:gd name="T38" fmla="*/ 387 w 484"/>
                <a:gd name="T39" fmla="*/ 16 h 172"/>
                <a:gd name="T40" fmla="*/ 331 w 484"/>
                <a:gd name="T41" fmla="*/ 6 h 172"/>
                <a:gd name="T42" fmla="*/ 272 w 484"/>
                <a:gd name="T43" fmla="*/ 0 h 172"/>
                <a:gd name="T44" fmla="*/ 225 w 484"/>
                <a:gd name="T45" fmla="*/ 0 h 172"/>
                <a:gd name="T46" fmla="*/ 203 w 484"/>
                <a:gd name="T47" fmla="*/ 4 h 172"/>
                <a:gd name="T48" fmla="*/ 186 w 484"/>
                <a:gd name="T49" fmla="*/ 8 h 172"/>
                <a:gd name="T50" fmla="*/ 176 w 484"/>
                <a:gd name="T51" fmla="*/ 6 h 172"/>
                <a:gd name="T52" fmla="*/ 169 w 484"/>
                <a:gd name="T53" fmla="*/ 3 h 172"/>
                <a:gd name="T54" fmla="*/ 165 w 484"/>
                <a:gd name="T55" fmla="*/ 8 h 172"/>
                <a:gd name="T56" fmla="*/ 161 w 484"/>
                <a:gd name="T57" fmla="*/ 24 h 172"/>
                <a:gd name="T58" fmla="*/ 154 w 484"/>
                <a:gd name="T59" fmla="*/ 36 h 172"/>
                <a:gd name="T60" fmla="*/ 144 w 484"/>
                <a:gd name="T61" fmla="*/ 46 h 172"/>
                <a:gd name="T62" fmla="*/ 127 w 484"/>
                <a:gd name="T63" fmla="*/ 58 h 172"/>
                <a:gd name="T64" fmla="*/ 97 w 484"/>
                <a:gd name="T65" fmla="*/ 69 h 172"/>
                <a:gd name="T66" fmla="*/ 66 w 484"/>
                <a:gd name="T67" fmla="*/ 78 h 172"/>
                <a:gd name="T68" fmla="*/ 38 w 484"/>
                <a:gd name="T69" fmla="*/ 88 h 172"/>
                <a:gd name="T70" fmla="*/ 19 w 484"/>
                <a:gd name="T71" fmla="*/ 98 h 172"/>
                <a:gd name="T72" fmla="*/ 10 w 484"/>
                <a:gd name="T73" fmla="*/ 107 h 172"/>
                <a:gd name="T74" fmla="*/ 3 w 484"/>
                <a:gd name="T75" fmla="*/ 119 h 172"/>
                <a:gd name="T76" fmla="*/ 0 w 484"/>
                <a:gd name="T77" fmla="*/ 1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57" name="Freeform 426">
              <a:extLst>
                <a:ext uri="{FF2B5EF4-FFF2-40B4-BE49-F238E27FC236}">
                  <a16:creationId xmlns="" xmlns:a16="http://schemas.microsoft.com/office/drawing/2014/main" id="{109F34BC-4CA5-4921-B58B-E6D4869CF59F}"/>
                </a:ext>
              </a:extLst>
            </p:cNvPr>
            <p:cNvSpPr>
              <a:spLocks/>
            </p:cNvSpPr>
            <p:nvPr/>
          </p:nvSpPr>
          <p:spPr bwMode="auto">
            <a:xfrm>
              <a:off x="1043" y="1255"/>
              <a:ext cx="221" cy="79"/>
            </a:xfrm>
            <a:custGeom>
              <a:avLst/>
              <a:gdLst>
                <a:gd name="T0" fmla="*/ 317 w 684"/>
                <a:gd name="T1" fmla="*/ 5 h 240"/>
                <a:gd name="T2" fmla="*/ 304 w 684"/>
                <a:gd name="T3" fmla="*/ 27 h 240"/>
                <a:gd name="T4" fmla="*/ 297 w 684"/>
                <a:gd name="T5" fmla="*/ 41 h 240"/>
                <a:gd name="T6" fmla="*/ 299 w 684"/>
                <a:gd name="T7" fmla="*/ 43 h 240"/>
                <a:gd name="T8" fmla="*/ 337 w 684"/>
                <a:gd name="T9" fmla="*/ 39 h 240"/>
                <a:gd name="T10" fmla="*/ 372 w 684"/>
                <a:gd name="T11" fmla="*/ 19 h 240"/>
                <a:gd name="T12" fmla="*/ 379 w 684"/>
                <a:gd name="T13" fmla="*/ 38 h 240"/>
                <a:gd name="T14" fmla="*/ 377 w 684"/>
                <a:gd name="T15" fmla="*/ 55 h 240"/>
                <a:gd name="T16" fmla="*/ 405 w 684"/>
                <a:gd name="T17" fmla="*/ 69 h 240"/>
                <a:gd name="T18" fmla="*/ 511 w 684"/>
                <a:gd name="T19" fmla="*/ 51 h 240"/>
                <a:gd name="T20" fmla="*/ 514 w 684"/>
                <a:gd name="T21" fmla="*/ 70 h 240"/>
                <a:gd name="T22" fmla="*/ 541 w 684"/>
                <a:gd name="T23" fmla="*/ 63 h 240"/>
                <a:gd name="T24" fmla="*/ 557 w 684"/>
                <a:gd name="T25" fmla="*/ 45 h 240"/>
                <a:gd name="T26" fmla="*/ 558 w 684"/>
                <a:gd name="T27" fmla="*/ 19 h 240"/>
                <a:gd name="T28" fmla="*/ 563 w 684"/>
                <a:gd name="T29" fmla="*/ 8 h 240"/>
                <a:gd name="T30" fmla="*/ 579 w 684"/>
                <a:gd name="T31" fmla="*/ 0 h 240"/>
                <a:gd name="T32" fmla="*/ 624 w 684"/>
                <a:gd name="T33" fmla="*/ 3 h 240"/>
                <a:gd name="T34" fmla="*/ 645 w 684"/>
                <a:gd name="T35" fmla="*/ 0 h 240"/>
                <a:gd name="T36" fmla="*/ 657 w 684"/>
                <a:gd name="T37" fmla="*/ 39 h 240"/>
                <a:gd name="T38" fmla="*/ 653 w 684"/>
                <a:gd name="T39" fmla="*/ 70 h 240"/>
                <a:gd name="T40" fmla="*/ 637 w 684"/>
                <a:gd name="T41" fmla="*/ 101 h 240"/>
                <a:gd name="T42" fmla="*/ 618 w 684"/>
                <a:gd name="T43" fmla="*/ 124 h 240"/>
                <a:gd name="T44" fmla="*/ 648 w 684"/>
                <a:gd name="T45" fmla="*/ 137 h 240"/>
                <a:gd name="T46" fmla="*/ 672 w 684"/>
                <a:gd name="T47" fmla="*/ 145 h 240"/>
                <a:gd name="T48" fmla="*/ 684 w 684"/>
                <a:gd name="T49" fmla="*/ 180 h 240"/>
                <a:gd name="T50" fmla="*/ 639 w 684"/>
                <a:gd name="T51" fmla="*/ 185 h 240"/>
                <a:gd name="T52" fmla="*/ 608 w 684"/>
                <a:gd name="T53" fmla="*/ 181 h 240"/>
                <a:gd name="T54" fmla="*/ 574 w 684"/>
                <a:gd name="T55" fmla="*/ 180 h 240"/>
                <a:gd name="T56" fmla="*/ 564 w 684"/>
                <a:gd name="T57" fmla="*/ 184 h 240"/>
                <a:gd name="T58" fmla="*/ 542 w 684"/>
                <a:gd name="T59" fmla="*/ 200 h 240"/>
                <a:gd name="T60" fmla="*/ 524 w 684"/>
                <a:gd name="T61" fmla="*/ 209 h 240"/>
                <a:gd name="T62" fmla="*/ 493 w 684"/>
                <a:gd name="T63" fmla="*/ 209 h 240"/>
                <a:gd name="T64" fmla="*/ 452 w 684"/>
                <a:gd name="T65" fmla="*/ 204 h 240"/>
                <a:gd name="T66" fmla="*/ 422 w 684"/>
                <a:gd name="T67" fmla="*/ 198 h 240"/>
                <a:gd name="T68" fmla="*/ 337 w 684"/>
                <a:gd name="T69" fmla="*/ 211 h 240"/>
                <a:gd name="T70" fmla="*/ 231 w 684"/>
                <a:gd name="T71" fmla="*/ 230 h 240"/>
                <a:gd name="T72" fmla="*/ 169 w 684"/>
                <a:gd name="T73" fmla="*/ 238 h 240"/>
                <a:gd name="T74" fmla="*/ 124 w 684"/>
                <a:gd name="T75" fmla="*/ 238 h 240"/>
                <a:gd name="T76" fmla="*/ 100 w 684"/>
                <a:gd name="T77" fmla="*/ 228 h 240"/>
                <a:gd name="T78" fmla="*/ 67 w 684"/>
                <a:gd name="T79" fmla="*/ 208 h 240"/>
                <a:gd name="T80" fmla="*/ 29 w 684"/>
                <a:gd name="T81" fmla="*/ 196 h 240"/>
                <a:gd name="T82" fmla="*/ 0 w 684"/>
                <a:gd name="T83" fmla="*/ 173 h 240"/>
                <a:gd name="T84" fmla="*/ 64 w 684"/>
                <a:gd name="T85" fmla="*/ 159 h 240"/>
                <a:gd name="T86" fmla="*/ 100 w 684"/>
                <a:gd name="T87" fmla="*/ 154 h 240"/>
                <a:gd name="T88" fmla="*/ 156 w 684"/>
                <a:gd name="T89" fmla="*/ 160 h 240"/>
                <a:gd name="T90" fmla="*/ 201 w 684"/>
                <a:gd name="T91" fmla="*/ 165 h 240"/>
                <a:gd name="T92" fmla="*/ 224 w 684"/>
                <a:gd name="T93" fmla="*/ 162 h 240"/>
                <a:gd name="T94" fmla="*/ 26 w 684"/>
                <a:gd name="T95" fmla="*/ 136 h 240"/>
                <a:gd name="T96" fmla="*/ 52 w 684"/>
                <a:gd name="T97" fmla="*/ 128 h 240"/>
                <a:gd name="T98" fmla="*/ 109 w 684"/>
                <a:gd name="T99" fmla="*/ 117 h 240"/>
                <a:gd name="T100" fmla="*/ 165 w 684"/>
                <a:gd name="T101" fmla="*/ 108 h 240"/>
                <a:gd name="T102" fmla="*/ 187 w 684"/>
                <a:gd name="T103" fmla="*/ 99 h 240"/>
                <a:gd name="T104" fmla="*/ 166 w 684"/>
                <a:gd name="T105" fmla="*/ 93 h 240"/>
                <a:gd name="T106" fmla="*/ 125 w 684"/>
                <a:gd name="T107" fmla="*/ 98 h 240"/>
                <a:gd name="T108" fmla="*/ 71 w 684"/>
                <a:gd name="T109" fmla="*/ 110 h 240"/>
                <a:gd name="T110" fmla="*/ 52 w 684"/>
                <a:gd name="T111" fmla="*/ 106 h 240"/>
                <a:gd name="T112" fmla="*/ 55 w 684"/>
                <a:gd name="T113" fmla="*/ 90 h 240"/>
                <a:gd name="T114" fmla="*/ 54 w 684"/>
                <a:gd name="T115" fmla="*/ 81 h 240"/>
                <a:gd name="T116" fmla="*/ 59 w 684"/>
                <a:gd name="T117" fmla="*/ 7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58" name="Freeform 427">
              <a:extLst>
                <a:ext uri="{FF2B5EF4-FFF2-40B4-BE49-F238E27FC236}">
                  <a16:creationId xmlns="" xmlns:a16="http://schemas.microsoft.com/office/drawing/2014/main" id="{A2E0D9D5-D76F-462F-99C9-CD54CB917391}"/>
                </a:ext>
              </a:extLst>
            </p:cNvPr>
            <p:cNvSpPr>
              <a:spLocks/>
            </p:cNvSpPr>
            <p:nvPr/>
          </p:nvSpPr>
          <p:spPr bwMode="auto">
            <a:xfrm>
              <a:off x="1645" y="1643"/>
              <a:ext cx="108" cy="93"/>
            </a:xfrm>
            <a:custGeom>
              <a:avLst/>
              <a:gdLst>
                <a:gd name="T0" fmla="*/ 180 w 332"/>
                <a:gd name="T1" fmla="*/ 38 h 287"/>
                <a:gd name="T2" fmla="*/ 202 w 332"/>
                <a:gd name="T3" fmla="*/ 24 h 287"/>
                <a:gd name="T4" fmla="*/ 226 w 332"/>
                <a:gd name="T5" fmla="*/ 7 h 287"/>
                <a:gd name="T6" fmla="*/ 240 w 332"/>
                <a:gd name="T7" fmla="*/ 1 h 287"/>
                <a:gd name="T8" fmla="*/ 246 w 332"/>
                <a:gd name="T9" fmla="*/ 1 h 287"/>
                <a:gd name="T10" fmla="*/ 245 w 332"/>
                <a:gd name="T11" fmla="*/ 12 h 287"/>
                <a:gd name="T12" fmla="*/ 234 w 332"/>
                <a:gd name="T13" fmla="*/ 33 h 287"/>
                <a:gd name="T14" fmla="*/ 217 w 332"/>
                <a:gd name="T15" fmla="*/ 55 h 287"/>
                <a:gd name="T16" fmla="*/ 202 w 332"/>
                <a:gd name="T17" fmla="*/ 67 h 287"/>
                <a:gd name="T18" fmla="*/ 191 w 332"/>
                <a:gd name="T19" fmla="*/ 71 h 287"/>
                <a:gd name="T20" fmla="*/ 191 w 332"/>
                <a:gd name="T21" fmla="*/ 73 h 287"/>
                <a:gd name="T22" fmla="*/ 201 w 332"/>
                <a:gd name="T23" fmla="*/ 74 h 287"/>
                <a:gd name="T24" fmla="*/ 216 w 332"/>
                <a:gd name="T25" fmla="*/ 72 h 287"/>
                <a:gd name="T26" fmla="*/ 224 w 332"/>
                <a:gd name="T27" fmla="*/ 77 h 287"/>
                <a:gd name="T28" fmla="*/ 217 w 332"/>
                <a:gd name="T29" fmla="*/ 88 h 287"/>
                <a:gd name="T30" fmla="*/ 214 w 332"/>
                <a:gd name="T31" fmla="*/ 97 h 287"/>
                <a:gd name="T32" fmla="*/ 217 w 332"/>
                <a:gd name="T33" fmla="*/ 105 h 287"/>
                <a:gd name="T34" fmla="*/ 249 w 332"/>
                <a:gd name="T35" fmla="*/ 113 h 287"/>
                <a:gd name="T36" fmla="*/ 308 w 332"/>
                <a:gd name="T37" fmla="*/ 124 h 287"/>
                <a:gd name="T38" fmla="*/ 322 w 332"/>
                <a:gd name="T39" fmla="*/ 131 h 287"/>
                <a:gd name="T40" fmla="*/ 315 w 332"/>
                <a:gd name="T41" fmla="*/ 140 h 287"/>
                <a:gd name="T42" fmla="*/ 303 w 332"/>
                <a:gd name="T43" fmla="*/ 149 h 287"/>
                <a:gd name="T44" fmla="*/ 299 w 332"/>
                <a:gd name="T45" fmla="*/ 154 h 287"/>
                <a:gd name="T46" fmla="*/ 302 w 332"/>
                <a:gd name="T47" fmla="*/ 160 h 287"/>
                <a:gd name="T48" fmla="*/ 308 w 332"/>
                <a:gd name="T49" fmla="*/ 168 h 287"/>
                <a:gd name="T50" fmla="*/ 319 w 332"/>
                <a:gd name="T51" fmla="*/ 176 h 287"/>
                <a:gd name="T52" fmla="*/ 329 w 332"/>
                <a:gd name="T53" fmla="*/ 184 h 287"/>
                <a:gd name="T54" fmla="*/ 290 w 332"/>
                <a:gd name="T55" fmla="*/ 211 h 287"/>
                <a:gd name="T56" fmla="*/ 241 w 332"/>
                <a:gd name="T57" fmla="*/ 241 h 287"/>
                <a:gd name="T58" fmla="*/ 207 w 332"/>
                <a:gd name="T59" fmla="*/ 268 h 287"/>
                <a:gd name="T60" fmla="*/ 173 w 332"/>
                <a:gd name="T61" fmla="*/ 244 h 287"/>
                <a:gd name="T62" fmla="*/ 182 w 332"/>
                <a:gd name="T63" fmla="*/ 243 h 287"/>
                <a:gd name="T64" fmla="*/ 189 w 332"/>
                <a:gd name="T65" fmla="*/ 240 h 287"/>
                <a:gd name="T66" fmla="*/ 200 w 332"/>
                <a:gd name="T67" fmla="*/ 232 h 287"/>
                <a:gd name="T68" fmla="*/ 149 w 332"/>
                <a:gd name="T69" fmla="*/ 232 h 287"/>
                <a:gd name="T70" fmla="*/ 101 w 332"/>
                <a:gd name="T71" fmla="*/ 232 h 287"/>
                <a:gd name="T72" fmla="*/ 58 w 332"/>
                <a:gd name="T73" fmla="*/ 232 h 287"/>
                <a:gd name="T74" fmla="*/ 27 w 332"/>
                <a:gd name="T75" fmla="*/ 232 h 287"/>
                <a:gd name="T76" fmla="*/ 11 w 332"/>
                <a:gd name="T77" fmla="*/ 227 h 287"/>
                <a:gd name="T78" fmla="*/ 3 w 332"/>
                <a:gd name="T79" fmla="*/ 222 h 287"/>
                <a:gd name="T80" fmla="*/ 0 w 332"/>
                <a:gd name="T81" fmla="*/ 213 h 287"/>
                <a:gd name="T82" fmla="*/ 4 w 332"/>
                <a:gd name="T83" fmla="*/ 205 h 287"/>
                <a:gd name="T84" fmla="*/ 13 w 332"/>
                <a:gd name="T85" fmla="*/ 197 h 287"/>
                <a:gd name="T86" fmla="*/ 41 w 332"/>
                <a:gd name="T87" fmla="*/ 179 h 287"/>
                <a:gd name="T88" fmla="*/ 73 w 332"/>
                <a:gd name="T89" fmla="*/ 162 h 287"/>
                <a:gd name="T90" fmla="*/ 85 w 332"/>
                <a:gd name="T91" fmla="*/ 152 h 287"/>
                <a:gd name="T92" fmla="*/ 93 w 332"/>
                <a:gd name="T93" fmla="*/ 145 h 287"/>
                <a:gd name="T94" fmla="*/ 106 w 332"/>
                <a:gd name="T95" fmla="*/ 130 h 287"/>
                <a:gd name="T96" fmla="*/ 116 w 332"/>
                <a:gd name="T97" fmla="*/ 114 h 287"/>
                <a:gd name="T98" fmla="*/ 130 w 332"/>
                <a:gd name="T99" fmla="*/ 79 h 287"/>
                <a:gd name="T100" fmla="*/ 138 w 332"/>
                <a:gd name="T101" fmla="*/ 64 h 287"/>
                <a:gd name="T102" fmla="*/ 147 w 332"/>
                <a:gd name="T103" fmla="*/ 52 h 287"/>
                <a:gd name="T104" fmla="*/ 158 w 332"/>
                <a:gd name="T105" fmla="*/ 43 h 287"/>
                <a:gd name="T106" fmla="*/ 173 w 332"/>
                <a:gd name="T107" fmla="*/ 4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59" name="Freeform 428">
              <a:extLst>
                <a:ext uri="{FF2B5EF4-FFF2-40B4-BE49-F238E27FC236}">
                  <a16:creationId xmlns="" xmlns:a16="http://schemas.microsoft.com/office/drawing/2014/main" id="{C99F4B0A-4779-407B-84F1-77E5297201F9}"/>
                </a:ext>
              </a:extLst>
            </p:cNvPr>
            <p:cNvSpPr>
              <a:spLocks/>
            </p:cNvSpPr>
            <p:nvPr/>
          </p:nvSpPr>
          <p:spPr bwMode="auto">
            <a:xfrm>
              <a:off x="1102" y="1190"/>
              <a:ext cx="111" cy="27"/>
            </a:xfrm>
            <a:custGeom>
              <a:avLst/>
              <a:gdLst>
                <a:gd name="T0" fmla="*/ 106 w 345"/>
                <a:gd name="T1" fmla="*/ 86 h 86"/>
                <a:gd name="T2" fmla="*/ 119 w 345"/>
                <a:gd name="T3" fmla="*/ 81 h 86"/>
                <a:gd name="T4" fmla="*/ 133 w 345"/>
                <a:gd name="T5" fmla="*/ 76 h 86"/>
                <a:gd name="T6" fmla="*/ 148 w 345"/>
                <a:gd name="T7" fmla="*/ 72 h 86"/>
                <a:gd name="T8" fmla="*/ 164 w 345"/>
                <a:gd name="T9" fmla="*/ 69 h 86"/>
                <a:gd name="T10" fmla="*/ 197 w 345"/>
                <a:gd name="T11" fmla="*/ 63 h 86"/>
                <a:gd name="T12" fmla="*/ 231 w 345"/>
                <a:gd name="T13" fmla="*/ 57 h 86"/>
                <a:gd name="T14" fmla="*/ 247 w 345"/>
                <a:gd name="T15" fmla="*/ 53 h 86"/>
                <a:gd name="T16" fmla="*/ 264 w 345"/>
                <a:gd name="T17" fmla="*/ 50 h 86"/>
                <a:gd name="T18" fmla="*/ 279 w 345"/>
                <a:gd name="T19" fmla="*/ 46 h 86"/>
                <a:gd name="T20" fmla="*/ 294 w 345"/>
                <a:gd name="T21" fmla="*/ 40 h 86"/>
                <a:gd name="T22" fmla="*/ 309 w 345"/>
                <a:gd name="T23" fmla="*/ 35 h 86"/>
                <a:gd name="T24" fmla="*/ 322 w 345"/>
                <a:gd name="T25" fmla="*/ 28 h 86"/>
                <a:gd name="T26" fmla="*/ 334 w 345"/>
                <a:gd name="T27" fmla="*/ 21 h 86"/>
                <a:gd name="T28" fmla="*/ 345 w 345"/>
                <a:gd name="T29" fmla="*/ 13 h 86"/>
                <a:gd name="T30" fmla="*/ 335 w 345"/>
                <a:gd name="T31" fmla="*/ 12 h 86"/>
                <a:gd name="T32" fmla="*/ 326 w 345"/>
                <a:gd name="T33" fmla="*/ 11 h 86"/>
                <a:gd name="T34" fmla="*/ 317 w 345"/>
                <a:gd name="T35" fmla="*/ 9 h 86"/>
                <a:gd name="T36" fmla="*/ 309 w 345"/>
                <a:gd name="T37" fmla="*/ 6 h 86"/>
                <a:gd name="T38" fmla="*/ 300 w 345"/>
                <a:gd name="T39" fmla="*/ 4 h 86"/>
                <a:gd name="T40" fmla="*/ 291 w 345"/>
                <a:gd name="T41" fmla="*/ 2 h 86"/>
                <a:gd name="T42" fmla="*/ 281 w 345"/>
                <a:gd name="T43" fmla="*/ 1 h 86"/>
                <a:gd name="T44" fmla="*/ 272 w 345"/>
                <a:gd name="T45" fmla="*/ 0 h 86"/>
                <a:gd name="T46" fmla="*/ 259 w 345"/>
                <a:gd name="T47" fmla="*/ 1 h 86"/>
                <a:gd name="T48" fmla="*/ 245 w 345"/>
                <a:gd name="T49" fmla="*/ 3 h 86"/>
                <a:gd name="T50" fmla="*/ 227 w 345"/>
                <a:gd name="T51" fmla="*/ 5 h 86"/>
                <a:gd name="T52" fmla="*/ 209 w 345"/>
                <a:gd name="T53" fmla="*/ 9 h 86"/>
                <a:gd name="T54" fmla="*/ 168 w 345"/>
                <a:gd name="T55" fmla="*/ 18 h 86"/>
                <a:gd name="T56" fmla="*/ 126 w 345"/>
                <a:gd name="T57" fmla="*/ 29 h 86"/>
                <a:gd name="T58" fmla="*/ 104 w 345"/>
                <a:gd name="T59" fmla="*/ 36 h 86"/>
                <a:gd name="T60" fmla="*/ 85 w 345"/>
                <a:gd name="T61" fmla="*/ 42 h 86"/>
                <a:gd name="T62" fmla="*/ 66 w 345"/>
                <a:gd name="T63" fmla="*/ 50 h 86"/>
                <a:gd name="T64" fmla="*/ 47 w 345"/>
                <a:gd name="T65" fmla="*/ 58 h 86"/>
                <a:gd name="T66" fmla="*/ 32 w 345"/>
                <a:gd name="T67" fmla="*/ 65 h 86"/>
                <a:gd name="T68" fmla="*/ 19 w 345"/>
                <a:gd name="T69" fmla="*/ 72 h 86"/>
                <a:gd name="T70" fmla="*/ 8 w 345"/>
                <a:gd name="T71" fmla="*/ 79 h 86"/>
                <a:gd name="T72" fmla="*/ 0 w 345"/>
                <a:gd name="T73" fmla="*/ 86 h 86"/>
                <a:gd name="T74" fmla="*/ 106 w 345"/>
                <a:gd name="T7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60" name="Freeform 429">
              <a:extLst>
                <a:ext uri="{FF2B5EF4-FFF2-40B4-BE49-F238E27FC236}">
                  <a16:creationId xmlns="" xmlns:a16="http://schemas.microsoft.com/office/drawing/2014/main" id="{1901D8BC-28E8-42E8-8F29-5C326688BD4B}"/>
                </a:ext>
              </a:extLst>
            </p:cNvPr>
            <p:cNvSpPr>
              <a:spLocks/>
            </p:cNvSpPr>
            <p:nvPr/>
          </p:nvSpPr>
          <p:spPr bwMode="auto">
            <a:xfrm>
              <a:off x="1158" y="1199"/>
              <a:ext cx="149" cy="43"/>
            </a:xfrm>
            <a:custGeom>
              <a:avLst/>
              <a:gdLst>
                <a:gd name="T0" fmla="*/ 19 w 464"/>
                <a:gd name="T1" fmla="*/ 86 h 130"/>
                <a:gd name="T2" fmla="*/ 77 w 464"/>
                <a:gd name="T3" fmla="*/ 81 h 130"/>
                <a:gd name="T4" fmla="*/ 103 w 464"/>
                <a:gd name="T5" fmla="*/ 81 h 130"/>
                <a:gd name="T6" fmla="*/ 92 w 464"/>
                <a:gd name="T7" fmla="*/ 89 h 130"/>
                <a:gd name="T8" fmla="*/ 81 w 464"/>
                <a:gd name="T9" fmla="*/ 100 h 130"/>
                <a:gd name="T10" fmla="*/ 73 w 464"/>
                <a:gd name="T11" fmla="*/ 112 h 130"/>
                <a:gd name="T12" fmla="*/ 73 w 464"/>
                <a:gd name="T13" fmla="*/ 119 h 130"/>
                <a:gd name="T14" fmla="*/ 79 w 464"/>
                <a:gd name="T15" fmla="*/ 124 h 130"/>
                <a:gd name="T16" fmla="*/ 92 w 464"/>
                <a:gd name="T17" fmla="*/ 129 h 130"/>
                <a:gd name="T18" fmla="*/ 109 w 464"/>
                <a:gd name="T19" fmla="*/ 129 h 130"/>
                <a:gd name="T20" fmla="*/ 128 w 464"/>
                <a:gd name="T21" fmla="*/ 127 h 130"/>
                <a:gd name="T22" fmla="*/ 157 w 464"/>
                <a:gd name="T23" fmla="*/ 119 h 130"/>
                <a:gd name="T24" fmla="*/ 196 w 464"/>
                <a:gd name="T25" fmla="*/ 108 h 130"/>
                <a:gd name="T26" fmla="*/ 226 w 464"/>
                <a:gd name="T27" fmla="*/ 101 h 130"/>
                <a:gd name="T28" fmla="*/ 248 w 464"/>
                <a:gd name="T29" fmla="*/ 99 h 130"/>
                <a:gd name="T30" fmla="*/ 266 w 464"/>
                <a:gd name="T31" fmla="*/ 99 h 130"/>
                <a:gd name="T32" fmla="*/ 304 w 464"/>
                <a:gd name="T33" fmla="*/ 99 h 130"/>
                <a:gd name="T34" fmla="*/ 333 w 464"/>
                <a:gd name="T35" fmla="*/ 98 h 130"/>
                <a:gd name="T36" fmla="*/ 376 w 464"/>
                <a:gd name="T37" fmla="*/ 93 h 130"/>
                <a:gd name="T38" fmla="*/ 415 w 464"/>
                <a:gd name="T39" fmla="*/ 83 h 130"/>
                <a:gd name="T40" fmla="*/ 449 w 464"/>
                <a:gd name="T41" fmla="*/ 66 h 130"/>
                <a:gd name="T42" fmla="*/ 455 w 464"/>
                <a:gd name="T43" fmla="*/ 51 h 130"/>
                <a:gd name="T44" fmla="*/ 439 w 464"/>
                <a:gd name="T45" fmla="*/ 48 h 130"/>
                <a:gd name="T46" fmla="*/ 413 w 464"/>
                <a:gd name="T47" fmla="*/ 48 h 130"/>
                <a:gd name="T48" fmla="*/ 396 w 464"/>
                <a:gd name="T49" fmla="*/ 46 h 130"/>
                <a:gd name="T50" fmla="*/ 406 w 464"/>
                <a:gd name="T51" fmla="*/ 36 h 130"/>
                <a:gd name="T52" fmla="*/ 413 w 464"/>
                <a:gd name="T53" fmla="*/ 22 h 130"/>
                <a:gd name="T54" fmla="*/ 418 w 464"/>
                <a:gd name="T55" fmla="*/ 7 h 130"/>
                <a:gd name="T56" fmla="*/ 378 w 464"/>
                <a:gd name="T57" fmla="*/ 0 h 130"/>
                <a:gd name="T58" fmla="*/ 360 w 464"/>
                <a:gd name="T59" fmla="*/ 19 h 130"/>
                <a:gd name="T60" fmla="*/ 343 w 464"/>
                <a:gd name="T61" fmla="*/ 41 h 130"/>
                <a:gd name="T62" fmla="*/ 323 w 464"/>
                <a:gd name="T63" fmla="*/ 59 h 130"/>
                <a:gd name="T64" fmla="*/ 312 w 464"/>
                <a:gd name="T65" fmla="*/ 65 h 130"/>
                <a:gd name="T66" fmla="*/ 298 w 464"/>
                <a:gd name="T67" fmla="*/ 68 h 130"/>
                <a:gd name="T68" fmla="*/ 278 w 464"/>
                <a:gd name="T69" fmla="*/ 66 h 130"/>
                <a:gd name="T70" fmla="*/ 262 w 464"/>
                <a:gd name="T71" fmla="*/ 63 h 130"/>
                <a:gd name="T72" fmla="*/ 239 w 464"/>
                <a:gd name="T73" fmla="*/ 54 h 130"/>
                <a:gd name="T74" fmla="*/ 205 w 464"/>
                <a:gd name="T75" fmla="*/ 31 h 130"/>
                <a:gd name="T76" fmla="*/ 180 w 464"/>
                <a:gd name="T77" fmla="*/ 29 h 130"/>
                <a:gd name="T78" fmla="*/ 150 w 464"/>
                <a:gd name="T79" fmla="*/ 31 h 130"/>
                <a:gd name="T80" fmla="*/ 117 w 464"/>
                <a:gd name="T81" fmla="*/ 37 h 130"/>
                <a:gd name="T82" fmla="*/ 85 w 464"/>
                <a:gd name="T83" fmla="*/ 45 h 130"/>
                <a:gd name="T84" fmla="*/ 54 w 464"/>
                <a:gd name="T85" fmla="*/ 54 h 130"/>
                <a:gd name="T86" fmla="*/ 29 w 464"/>
                <a:gd name="T87" fmla="*/ 65 h 130"/>
                <a:gd name="T88" fmla="*/ 9 w 464"/>
                <a:gd name="T89" fmla="*/ 77 h 130"/>
                <a:gd name="T90" fmla="*/ 0 w 464"/>
                <a:gd name="T91" fmla="*/ 8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61" name="Freeform 430">
              <a:extLst>
                <a:ext uri="{FF2B5EF4-FFF2-40B4-BE49-F238E27FC236}">
                  <a16:creationId xmlns="" xmlns:a16="http://schemas.microsoft.com/office/drawing/2014/main" id="{E28BBF26-7570-46A9-876C-01BF6995E44B}"/>
                </a:ext>
              </a:extLst>
            </p:cNvPr>
            <p:cNvSpPr>
              <a:spLocks/>
            </p:cNvSpPr>
            <p:nvPr/>
          </p:nvSpPr>
          <p:spPr bwMode="auto">
            <a:xfrm>
              <a:off x="1472" y="1205"/>
              <a:ext cx="153" cy="31"/>
            </a:xfrm>
            <a:custGeom>
              <a:avLst/>
              <a:gdLst>
                <a:gd name="T0" fmla="*/ 63 w 472"/>
                <a:gd name="T1" fmla="*/ 0 h 92"/>
                <a:gd name="T2" fmla="*/ 44 w 472"/>
                <a:gd name="T3" fmla="*/ 0 h 92"/>
                <a:gd name="T4" fmla="*/ 24 w 472"/>
                <a:gd name="T5" fmla="*/ 0 h 92"/>
                <a:gd name="T6" fmla="*/ 12 w 472"/>
                <a:gd name="T7" fmla="*/ 3 h 92"/>
                <a:gd name="T8" fmla="*/ 7 w 472"/>
                <a:gd name="T9" fmla="*/ 8 h 92"/>
                <a:gd name="T10" fmla="*/ 7 w 472"/>
                <a:gd name="T11" fmla="*/ 16 h 92"/>
                <a:gd name="T12" fmla="*/ 10 w 472"/>
                <a:gd name="T13" fmla="*/ 23 h 92"/>
                <a:gd name="T14" fmla="*/ 15 w 472"/>
                <a:gd name="T15" fmla="*/ 32 h 92"/>
                <a:gd name="T16" fmla="*/ 14 w 472"/>
                <a:gd name="T17" fmla="*/ 41 h 92"/>
                <a:gd name="T18" fmla="*/ 4 w 472"/>
                <a:gd name="T19" fmla="*/ 50 h 92"/>
                <a:gd name="T20" fmla="*/ 1 w 472"/>
                <a:gd name="T21" fmla="*/ 57 h 92"/>
                <a:gd name="T22" fmla="*/ 2 w 472"/>
                <a:gd name="T23" fmla="*/ 64 h 92"/>
                <a:gd name="T24" fmla="*/ 14 w 472"/>
                <a:gd name="T25" fmla="*/ 69 h 92"/>
                <a:gd name="T26" fmla="*/ 48 w 472"/>
                <a:gd name="T27" fmla="*/ 76 h 92"/>
                <a:gd name="T28" fmla="*/ 109 w 472"/>
                <a:gd name="T29" fmla="*/ 85 h 92"/>
                <a:gd name="T30" fmla="*/ 167 w 472"/>
                <a:gd name="T31" fmla="*/ 91 h 92"/>
                <a:gd name="T32" fmla="*/ 365 w 472"/>
                <a:gd name="T33" fmla="*/ 92 h 92"/>
                <a:gd name="T34" fmla="*/ 374 w 472"/>
                <a:gd name="T35" fmla="*/ 81 h 92"/>
                <a:gd name="T36" fmla="*/ 385 w 472"/>
                <a:gd name="T37" fmla="*/ 75 h 92"/>
                <a:gd name="T38" fmla="*/ 397 w 472"/>
                <a:gd name="T39" fmla="*/ 73 h 92"/>
                <a:gd name="T40" fmla="*/ 411 w 472"/>
                <a:gd name="T41" fmla="*/ 73 h 92"/>
                <a:gd name="T42" fmla="*/ 441 w 472"/>
                <a:gd name="T43" fmla="*/ 76 h 92"/>
                <a:gd name="T44" fmla="*/ 456 w 472"/>
                <a:gd name="T45" fmla="*/ 76 h 92"/>
                <a:gd name="T46" fmla="*/ 472 w 472"/>
                <a:gd name="T47" fmla="*/ 73 h 92"/>
                <a:gd name="T48" fmla="*/ 465 w 472"/>
                <a:gd name="T49" fmla="*/ 33 h 92"/>
                <a:gd name="T50" fmla="*/ 453 w 472"/>
                <a:gd name="T51" fmla="*/ 26 h 92"/>
                <a:gd name="T52" fmla="*/ 443 w 472"/>
                <a:gd name="T53" fmla="*/ 18 h 92"/>
                <a:gd name="T54" fmla="*/ 432 w 472"/>
                <a:gd name="T55" fmla="*/ 13 h 92"/>
                <a:gd name="T56" fmla="*/ 416 w 472"/>
                <a:gd name="T57" fmla="*/ 12 h 92"/>
                <a:gd name="T58" fmla="*/ 396 w 472"/>
                <a:gd name="T59" fmla="*/ 15 h 92"/>
                <a:gd name="T60" fmla="*/ 367 w 472"/>
                <a:gd name="T61" fmla="*/ 22 h 92"/>
                <a:gd name="T62" fmla="*/ 328 w 472"/>
                <a:gd name="T63" fmla="*/ 33 h 92"/>
                <a:gd name="T64" fmla="*/ 298 w 472"/>
                <a:gd name="T65" fmla="*/ 39 h 92"/>
                <a:gd name="T66" fmla="*/ 276 w 472"/>
                <a:gd name="T67" fmla="*/ 42 h 92"/>
                <a:gd name="T68" fmla="*/ 236 w 472"/>
                <a:gd name="T69" fmla="*/ 42 h 92"/>
                <a:gd name="T70" fmla="*/ 191 w 472"/>
                <a:gd name="T71" fmla="*/ 42 h 92"/>
                <a:gd name="T72" fmla="*/ 156 w 472"/>
                <a:gd name="T73" fmla="*/ 42 h 92"/>
                <a:gd name="T74" fmla="*/ 120 w 472"/>
                <a:gd name="T75" fmla="*/ 42 h 92"/>
                <a:gd name="T76" fmla="*/ 91 w 472"/>
                <a:gd name="T77" fmla="*/ 41 h 92"/>
                <a:gd name="T78" fmla="*/ 78 w 472"/>
                <a:gd name="T79" fmla="*/ 36 h 92"/>
                <a:gd name="T80" fmla="*/ 70 w 472"/>
                <a:gd name="T81" fmla="*/ 27 h 92"/>
                <a:gd name="T82" fmla="*/ 67 w 472"/>
                <a:gd name="T83" fmla="*/ 17 h 92"/>
                <a:gd name="T84" fmla="*/ 69 w 472"/>
                <a:gd name="T85" fmla="*/ 8 h 92"/>
                <a:gd name="T86" fmla="*/ 74 w 472"/>
                <a:gd name="T87" fmla="*/ 2 h 92"/>
                <a:gd name="T88" fmla="*/ 74 w 472"/>
                <a:gd name="T8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62" name="Freeform 431">
              <a:extLst>
                <a:ext uri="{FF2B5EF4-FFF2-40B4-BE49-F238E27FC236}">
                  <a16:creationId xmlns="" xmlns:a16="http://schemas.microsoft.com/office/drawing/2014/main" id="{29C69F03-3B7E-4967-9D69-0EEC0D51AC6C}"/>
                </a:ext>
              </a:extLst>
            </p:cNvPr>
            <p:cNvSpPr>
              <a:spLocks/>
            </p:cNvSpPr>
            <p:nvPr/>
          </p:nvSpPr>
          <p:spPr bwMode="auto">
            <a:xfrm>
              <a:off x="1513" y="1136"/>
              <a:ext cx="106" cy="45"/>
            </a:xfrm>
            <a:custGeom>
              <a:avLst/>
              <a:gdLst>
                <a:gd name="T0" fmla="*/ 145 w 326"/>
                <a:gd name="T1" fmla="*/ 107 h 135"/>
                <a:gd name="T2" fmla="*/ 203 w 326"/>
                <a:gd name="T3" fmla="*/ 97 h 135"/>
                <a:gd name="T4" fmla="*/ 262 w 326"/>
                <a:gd name="T5" fmla="*/ 84 h 135"/>
                <a:gd name="T6" fmla="*/ 300 w 326"/>
                <a:gd name="T7" fmla="*/ 74 h 135"/>
                <a:gd name="T8" fmla="*/ 318 w 326"/>
                <a:gd name="T9" fmla="*/ 66 h 135"/>
                <a:gd name="T10" fmla="*/ 322 w 326"/>
                <a:gd name="T11" fmla="*/ 56 h 135"/>
                <a:gd name="T12" fmla="*/ 312 w 326"/>
                <a:gd name="T13" fmla="*/ 48 h 135"/>
                <a:gd name="T14" fmla="*/ 300 w 326"/>
                <a:gd name="T15" fmla="*/ 41 h 135"/>
                <a:gd name="T16" fmla="*/ 286 w 326"/>
                <a:gd name="T17" fmla="*/ 37 h 135"/>
                <a:gd name="T18" fmla="*/ 263 w 326"/>
                <a:gd name="T19" fmla="*/ 32 h 135"/>
                <a:gd name="T20" fmla="*/ 230 w 326"/>
                <a:gd name="T21" fmla="*/ 30 h 135"/>
                <a:gd name="T22" fmla="*/ 209 w 326"/>
                <a:gd name="T23" fmla="*/ 30 h 135"/>
                <a:gd name="T24" fmla="*/ 202 w 326"/>
                <a:gd name="T25" fmla="*/ 24 h 135"/>
                <a:gd name="T26" fmla="*/ 196 w 326"/>
                <a:gd name="T27" fmla="*/ 17 h 135"/>
                <a:gd name="T28" fmla="*/ 191 w 326"/>
                <a:gd name="T29" fmla="*/ 9 h 135"/>
                <a:gd name="T30" fmla="*/ 180 w 326"/>
                <a:gd name="T31" fmla="*/ 5 h 135"/>
                <a:gd name="T32" fmla="*/ 162 w 326"/>
                <a:gd name="T33" fmla="*/ 1 h 135"/>
                <a:gd name="T34" fmla="*/ 135 w 326"/>
                <a:gd name="T35" fmla="*/ 1 h 135"/>
                <a:gd name="T36" fmla="*/ 87 w 326"/>
                <a:gd name="T37" fmla="*/ 8 h 135"/>
                <a:gd name="T38" fmla="*/ 49 w 326"/>
                <a:gd name="T39" fmla="*/ 17 h 135"/>
                <a:gd name="T40" fmla="*/ 27 w 326"/>
                <a:gd name="T41" fmla="*/ 26 h 135"/>
                <a:gd name="T42" fmla="*/ 11 w 326"/>
                <a:gd name="T43" fmla="*/ 37 h 135"/>
                <a:gd name="T44" fmla="*/ 3 w 326"/>
                <a:gd name="T45" fmla="*/ 46 h 135"/>
                <a:gd name="T46" fmla="*/ 1 w 326"/>
                <a:gd name="T47" fmla="*/ 52 h 135"/>
                <a:gd name="T48" fmla="*/ 34 w 326"/>
                <a:gd name="T49" fmla="*/ 74 h 135"/>
                <a:gd name="T50" fmla="*/ 56 w 326"/>
                <a:gd name="T51" fmla="*/ 81 h 135"/>
                <a:gd name="T52" fmla="*/ 41 w 326"/>
                <a:gd name="T53" fmla="*/ 90 h 135"/>
                <a:gd name="T54" fmla="*/ 38 w 326"/>
                <a:gd name="T55" fmla="*/ 99 h 135"/>
                <a:gd name="T56" fmla="*/ 44 w 326"/>
                <a:gd name="T57" fmla="*/ 114 h 135"/>
                <a:gd name="T58" fmla="*/ 48 w 326"/>
                <a:gd name="T59" fmla="*/ 128 h 135"/>
                <a:gd name="T60" fmla="*/ 55 w 326"/>
                <a:gd name="T61" fmla="*/ 134 h 135"/>
                <a:gd name="T62" fmla="*/ 69 w 326"/>
                <a:gd name="T63" fmla="*/ 135 h 135"/>
                <a:gd name="T64" fmla="*/ 86 w 326"/>
                <a:gd name="T65" fmla="*/ 131 h 135"/>
                <a:gd name="T66" fmla="*/ 101 w 326"/>
                <a:gd name="T67" fmla="*/ 127 h 135"/>
                <a:gd name="T68" fmla="*/ 117 w 326"/>
                <a:gd name="T69" fmla="*/ 124 h 135"/>
                <a:gd name="T70" fmla="*/ 120 w 326"/>
                <a:gd name="T71" fmla="*/ 11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63" name="Freeform 432">
              <a:extLst>
                <a:ext uri="{FF2B5EF4-FFF2-40B4-BE49-F238E27FC236}">
                  <a16:creationId xmlns="" xmlns:a16="http://schemas.microsoft.com/office/drawing/2014/main" id="{F30E9AA3-8BC0-4181-8D13-9D3FA0FCAD61}"/>
                </a:ext>
              </a:extLst>
            </p:cNvPr>
            <p:cNvSpPr>
              <a:spLocks/>
            </p:cNvSpPr>
            <p:nvPr/>
          </p:nvSpPr>
          <p:spPr bwMode="auto">
            <a:xfrm>
              <a:off x="1584" y="1245"/>
              <a:ext cx="51" cy="18"/>
            </a:xfrm>
            <a:custGeom>
              <a:avLst/>
              <a:gdLst>
                <a:gd name="T0" fmla="*/ 46 w 159"/>
                <a:gd name="T1" fmla="*/ 53 h 56"/>
                <a:gd name="T2" fmla="*/ 40 w 159"/>
                <a:gd name="T3" fmla="*/ 52 h 56"/>
                <a:gd name="T4" fmla="*/ 34 w 159"/>
                <a:gd name="T5" fmla="*/ 49 h 56"/>
                <a:gd name="T6" fmla="*/ 26 w 159"/>
                <a:gd name="T7" fmla="*/ 45 h 56"/>
                <a:gd name="T8" fmla="*/ 18 w 159"/>
                <a:gd name="T9" fmla="*/ 38 h 56"/>
                <a:gd name="T10" fmla="*/ 10 w 159"/>
                <a:gd name="T11" fmla="*/ 31 h 56"/>
                <a:gd name="T12" fmla="*/ 5 w 159"/>
                <a:gd name="T13" fmla="*/ 24 h 56"/>
                <a:gd name="T14" fmla="*/ 3 w 159"/>
                <a:gd name="T15" fmla="*/ 21 h 56"/>
                <a:gd name="T16" fmla="*/ 1 w 159"/>
                <a:gd name="T17" fmla="*/ 17 h 56"/>
                <a:gd name="T18" fmla="*/ 0 w 159"/>
                <a:gd name="T19" fmla="*/ 13 h 56"/>
                <a:gd name="T20" fmla="*/ 0 w 159"/>
                <a:gd name="T21" fmla="*/ 10 h 56"/>
                <a:gd name="T22" fmla="*/ 21 w 159"/>
                <a:gd name="T23" fmla="*/ 10 h 56"/>
                <a:gd name="T24" fmla="*/ 39 w 159"/>
                <a:gd name="T25" fmla="*/ 10 h 56"/>
                <a:gd name="T26" fmla="*/ 52 w 159"/>
                <a:gd name="T27" fmla="*/ 10 h 56"/>
                <a:gd name="T28" fmla="*/ 59 w 159"/>
                <a:gd name="T29" fmla="*/ 10 h 56"/>
                <a:gd name="T30" fmla="*/ 83 w 159"/>
                <a:gd name="T31" fmla="*/ 6 h 56"/>
                <a:gd name="T32" fmla="*/ 117 w 159"/>
                <a:gd name="T33" fmla="*/ 0 h 56"/>
                <a:gd name="T34" fmla="*/ 125 w 159"/>
                <a:gd name="T35" fmla="*/ 0 h 56"/>
                <a:gd name="T36" fmla="*/ 132 w 159"/>
                <a:gd name="T37" fmla="*/ 0 h 56"/>
                <a:gd name="T38" fmla="*/ 140 w 159"/>
                <a:gd name="T39" fmla="*/ 0 h 56"/>
                <a:gd name="T40" fmla="*/ 147 w 159"/>
                <a:gd name="T41" fmla="*/ 2 h 56"/>
                <a:gd name="T42" fmla="*/ 151 w 159"/>
                <a:gd name="T43" fmla="*/ 5 h 56"/>
                <a:gd name="T44" fmla="*/ 155 w 159"/>
                <a:gd name="T45" fmla="*/ 9 h 56"/>
                <a:gd name="T46" fmla="*/ 158 w 159"/>
                <a:gd name="T47" fmla="*/ 15 h 56"/>
                <a:gd name="T48" fmla="*/ 159 w 159"/>
                <a:gd name="T49" fmla="*/ 22 h 56"/>
                <a:gd name="T50" fmla="*/ 158 w 159"/>
                <a:gd name="T51" fmla="*/ 30 h 56"/>
                <a:gd name="T52" fmla="*/ 155 w 159"/>
                <a:gd name="T53" fmla="*/ 37 h 56"/>
                <a:gd name="T54" fmla="*/ 151 w 159"/>
                <a:gd name="T55" fmla="*/ 44 h 56"/>
                <a:gd name="T56" fmla="*/ 146 w 159"/>
                <a:gd name="T57" fmla="*/ 48 h 56"/>
                <a:gd name="T58" fmla="*/ 139 w 159"/>
                <a:gd name="T59" fmla="*/ 52 h 56"/>
                <a:gd name="T60" fmla="*/ 132 w 159"/>
                <a:gd name="T61" fmla="*/ 54 h 56"/>
                <a:gd name="T62" fmla="*/ 124 w 159"/>
                <a:gd name="T63" fmla="*/ 55 h 56"/>
                <a:gd name="T64" fmla="*/ 115 w 159"/>
                <a:gd name="T65" fmla="*/ 56 h 56"/>
                <a:gd name="T66" fmla="*/ 77 w 159"/>
                <a:gd name="T67" fmla="*/ 55 h 56"/>
                <a:gd name="T68" fmla="*/ 46 w 159"/>
                <a:gd name="T69"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64" name="Freeform 433">
              <a:extLst>
                <a:ext uri="{FF2B5EF4-FFF2-40B4-BE49-F238E27FC236}">
                  <a16:creationId xmlns="" xmlns:a16="http://schemas.microsoft.com/office/drawing/2014/main" id="{86ED0995-1427-41D6-B556-4E93372A9FD1}"/>
                </a:ext>
              </a:extLst>
            </p:cNvPr>
            <p:cNvSpPr>
              <a:spLocks/>
            </p:cNvSpPr>
            <p:nvPr/>
          </p:nvSpPr>
          <p:spPr bwMode="auto">
            <a:xfrm>
              <a:off x="534" y="1280"/>
              <a:ext cx="1205" cy="539"/>
            </a:xfrm>
            <a:custGeom>
              <a:avLst/>
              <a:gdLst>
                <a:gd name="T0" fmla="*/ 2931 w 3734"/>
                <a:gd name="T1" fmla="*/ 1362 h 1644"/>
                <a:gd name="T2" fmla="*/ 2556 w 3734"/>
                <a:gd name="T3" fmla="*/ 1522 h 1644"/>
                <a:gd name="T4" fmla="*/ 2312 w 3734"/>
                <a:gd name="T5" fmla="*/ 1592 h 1644"/>
                <a:gd name="T6" fmla="*/ 2294 w 3734"/>
                <a:gd name="T7" fmla="*/ 1634 h 1644"/>
                <a:gd name="T8" fmla="*/ 2177 w 3734"/>
                <a:gd name="T9" fmla="*/ 1607 h 1644"/>
                <a:gd name="T10" fmla="*/ 2279 w 3734"/>
                <a:gd name="T11" fmla="*/ 1512 h 1644"/>
                <a:gd name="T12" fmla="*/ 2166 w 3734"/>
                <a:gd name="T13" fmla="*/ 1416 h 1644"/>
                <a:gd name="T14" fmla="*/ 2094 w 3734"/>
                <a:gd name="T15" fmla="*/ 1295 h 1644"/>
                <a:gd name="T16" fmla="*/ 1947 w 3734"/>
                <a:gd name="T17" fmla="*/ 1317 h 1644"/>
                <a:gd name="T18" fmla="*/ 1771 w 3734"/>
                <a:gd name="T19" fmla="*/ 1281 h 1644"/>
                <a:gd name="T20" fmla="*/ 261 w 3734"/>
                <a:gd name="T21" fmla="*/ 1235 h 1644"/>
                <a:gd name="T22" fmla="*/ 127 w 3734"/>
                <a:gd name="T23" fmla="*/ 1125 h 1644"/>
                <a:gd name="T24" fmla="*/ 151 w 3734"/>
                <a:gd name="T25" fmla="*/ 1040 h 1644"/>
                <a:gd name="T26" fmla="*/ 147 w 3734"/>
                <a:gd name="T27" fmla="*/ 927 h 1644"/>
                <a:gd name="T28" fmla="*/ 259 w 3734"/>
                <a:gd name="T29" fmla="*/ 859 h 1644"/>
                <a:gd name="T30" fmla="*/ 250 w 3734"/>
                <a:gd name="T31" fmla="*/ 747 h 1644"/>
                <a:gd name="T32" fmla="*/ 128 w 3734"/>
                <a:gd name="T33" fmla="*/ 665 h 1644"/>
                <a:gd name="T34" fmla="*/ 602 w 3734"/>
                <a:gd name="T35" fmla="*/ 114 h 1644"/>
                <a:gd name="T36" fmla="*/ 1146 w 3734"/>
                <a:gd name="T37" fmla="*/ 105 h 1644"/>
                <a:gd name="T38" fmla="*/ 1296 w 3734"/>
                <a:gd name="T39" fmla="*/ 117 h 1644"/>
                <a:gd name="T40" fmla="*/ 1641 w 3734"/>
                <a:gd name="T41" fmla="*/ 166 h 1644"/>
                <a:gd name="T42" fmla="*/ 1771 w 3734"/>
                <a:gd name="T43" fmla="*/ 206 h 1644"/>
                <a:gd name="T44" fmla="*/ 2076 w 3734"/>
                <a:gd name="T45" fmla="*/ 193 h 1644"/>
                <a:gd name="T46" fmla="*/ 2286 w 3734"/>
                <a:gd name="T47" fmla="*/ 216 h 1644"/>
                <a:gd name="T48" fmla="*/ 2365 w 3734"/>
                <a:gd name="T49" fmla="*/ 216 h 1644"/>
                <a:gd name="T50" fmla="*/ 2518 w 3734"/>
                <a:gd name="T51" fmla="*/ 123 h 1644"/>
                <a:gd name="T52" fmla="*/ 2587 w 3734"/>
                <a:gd name="T53" fmla="*/ 2 h 1644"/>
                <a:gd name="T54" fmla="*/ 2644 w 3734"/>
                <a:gd name="T55" fmla="*/ 105 h 1644"/>
                <a:gd name="T56" fmla="*/ 2664 w 3734"/>
                <a:gd name="T57" fmla="*/ 166 h 1644"/>
                <a:gd name="T58" fmla="*/ 2716 w 3734"/>
                <a:gd name="T59" fmla="*/ 196 h 1644"/>
                <a:gd name="T60" fmla="*/ 2891 w 3734"/>
                <a:gd name="T61" fmla="*/ 121 h 1644"/>
                <a:gd name="T62" fmla="*/ 3036 w 3734"/>
                <a:gd name="T63" fmla="*/ 135 h 1644"/>
                <a:gd name="T64" fmla="*/ 2883 w 3734"/>
                <a:gd name="T65" fmla="*/ 271 h 1644"/>
                <a:gd name="T66" fmla="*/ 2790 w 3734"/>
                <a:gd name="T67" fmla="*/ 289 h 1644"/>
                <a:gd name="T68" fmla="*/ 2569 w 3734"/>
                <a:gd name="T69" fmla="*/ 304 h 1644"/>
                <a:gd name="T70" fmla="*/ 2501 w 3734"/>
                <a:gd name="T71" fmla="*/ 402 h 1644"/>
                <a:gd name="T72" fmla="*/ 2333 w 3734"/>
                <a:gd name="T73" fmla="*/ 471 h 1644"/>
                <a:gd name="T74" fmla="*/ 2087 w 3734"/>
                <a:gd name="T75" fmla="*/ 625 h 1644"/>
                <a:gd name="T76" fmla="*/ 2106 w 3734"/>
                <a:gd name="T77" fmla="*/ 793 h 1644"/>
                <a:gd name="T78" fmla="*/ 2360 w 3734"/>
                <a:gd name="T79" fmla="*/ 907 h 1644"/>
                <a:gd name="T80" fmla="*/ 2443 w 3734"/>
                <a:gd name="T81" fmla="*/ 1059 h 1644"/>
                <a:gd name="T82" fmla="*/ 2614 w 3734"/>
                <a:gd name="T83" fmla="*/ 987 h 1644"/>
                <a:gd name="T84" fmla="*/ 2848 w 3734"/>
                <a:gd name="T85" fmla="*/ 785 h 1644"/>
                <a:gd name="T86" fmla="*/ 2896 w 3734"/>
                <a:gd name="T87" fmla="*/ 597 h 1644"/>
                <a:gd name="T88" fmla="*/ 3156 w 3734"/>
                <a:gd name="T89" fmla="*/ 500 h 1644"/>
                <a:gd name="T90" fmla="*/ 3276 w 3734"/>
                <a:gd name="T91" fmla="*/ 592 h 1644"/>
                <a:gd name="T92" fmla="*/ 3226 w 3734"/>
                <a:gd name="T93" fmla="*/ 736 h 1644"/>
                <a:gd name="T94" fmla="*/ 3492 w 3734"/>
                <a:gd name="T95" fmla="*/ 613 h 1644"/>
                <a:gd name="T96" fmla="*/ 3545 w 3734"/>
                <a:gd name="T97" fmla="*/ 774 h 1644"/>
                <a:gd name="T98" fmla="*/ 3662 w 3734"/>
                <a:gd name="T99" fmla="*/ 924 h 1644"/>
                <a:gd name="T100" fmla="*/ 3616 w 3734"/>
                <a:gd name="T101" fmla="*/ 961 h 1644"/>
                <a:gd name="T102" fmla="*/ 3694 w 3734"/>
                <a:gd name="T103" fmla="*/ 1028 h 1644"/>
                <a:gd name="T104" fmla="*/ 3556 w 3734"/>
                <a:gd name="T105" fmla="*/ 1108 h 1644"/>
                <a:gd name="T106" fmla="*/ 3151 w 3734"/>
                <a:gd name="T107" fmla="*/ 1168 h 1644"/>
                <a:gd name="T108" fmla="*/ 2853 w 3734"/>
                <a:gd name="T109" fmla="*/ 1335 h 1644"/>
                <a:gd name="T110" fmla="*/ 2905 w 3734"/>
                <a:gd name="T111" fmla="*/ 1337 h 1644"/>
                <a:gd name="T112" fmla="*/ 3216 w 3734"/>
                <a:gd name="T113" fmla="*/ 1256 h 1644"/>
                <a:gd name="T114" fmla="*/ 3066 w 3734"/>
                <a:gd name="T115" fmla="*/ 1298 h 1644"/>
                <a:gd name="T116" fmla="*/ 3138 w 3734"/>
                <a:gd name="T117" fmla="*/ 1391 h 1644"/>
                <a:gd name="T118" fmla="*/ 3248 w 3734"/>
                <a:gd name="T119" fmla="*/ 1473 h 1644"/>
                <a:gd name="T120" fmla="*/ 3018 w 3734"/>
                <a:gd name="T121" fmla="*/ 1564 h 1644"/>
                <a:gd name="T122" fmla="*/ 3189 w 3734"/>
                <a:gd name="T123" fmla="*/ 1466 h 1644"/>
                <a:gd name="T124" fmla="*/ 3016 w 3734"/>
                <a:gd name="T125" fmla="*/ 148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grpSp>
      <p:sp>
        <p:nvSpPr>
          <p:cNvPr id="404" name="Freeform 434">
            <a:extLst>
              <a:ext uri="{FF2B5EF4-FFF2-40B4-BE49-F238E27FC236}">
                <a16:creationId xmlns="" xmlns:a16="http://schemas.microsoft.com/office/drawing/2014/main" id="{A34F14A4-1E60-47D6-AF0E-62074BC0ABA7}"/>
              </a:ext>
            </a:extLst>
          </p:cNvPr>
          <p:cNvSpPr>
            <a:spLocks/>
          </p:cNvSpPr>
          <p:nvPr>
            <p:custDataLst>
              <p:tags r:id="rId274"/>
            </p:custDataLst>
          </p:nvPr>
        </p:nvSpPr>
        <p:spPr bwMode="auto">
          <a:xfrm>
            <a:off x="4966433" y="4339870"/>
            <a:ext cx="154708" cy="164097"/>
          </a:xfrm>
          <a:custGeom>
            <a:avLst/>
            <a:gdLst>
              <a:gd name="T0" fmla="*/ 265 w 292"/>
              <a:gd name="T1" fmla="*/ 10 h 308"/>
              <a:gd name="T2" fmla="*/ 276 w 292"/>
              <a:gd name="T3" fmla="*/ 37 h 308"/>
              <a:gd name="T4" fmla="*/ 286 w 292"/>
              <a:gd name="T5" fmla="*/ 91 h 308"/>
              <a:gd name="T6" fmla="*/ 292 w 292"/>
              <a:gd name="T7" fmla="*/ 144 h 308"/>
              <a:gd name="T8" fmla="*/ 291 w 292"/>
              <a:gd name="T9" fmla="*/ 161 h 308"/>
              <a:gd name="T10" fmla="*/ 286 w 292"/>
              <a:gd name="T11" fmla="*/ 179 h 308"/>
              <a:gd name="T12" fmla="*/ 269 w 292"/>
              <a:gd name="T13" fmla="*/ 206 h 308"/>
              <a:gd name="T14" fmla="*/ 231 w 292"/>
              <a:gd name="T15" fmla="*/ 185 h 308"/>
              <a:gd name="T16" fmla="*/ 165 w 292"/>
              <a:gd name="T17" fmla="*/ 258 h 308"/>
              <a:gd name="T18" fmla="*/ 132 w 292"/>
              <a:gd name="T19" fmla="*/ 278 h 308"/>
              <a:gd name="T20" fmla="*/ 59 w 292"/>
              <a:gd name="T21" fmla="*/ 296 h 308"/>
              <a:gd name="T22" fmla="*/ 32 w 292"/>
              <a:gd name="T23" fmla="*/ 308 h 308"/>
              <a:gd name="T24" fmla="*/ 6 w 292"/>
              <a:gd name="T25" fmla="*/ 308 h 308"/>
              <a:gd name="T26" fmla="*/ 9 w 292"/>
              <a:gd name="T27" fmla="*/ 297 h 308"/>
              <a:gd name="T28" fmla="*/ 11 w 292"/>
              <a:gd name="T29" fmla="*/ 286 h 308"/>
              <a:gd name="T30" fmla="*/ 7 w 292"/>
              <a:gd name="T31" fmla="*/ 265 h 308"/>
              <a:gd name="T32" fmla="*/ 2 w 292"/>
              <a:gd name="T33" fmla="*/ 246 h 308"/>
              <a:gd name="T34" fmla="*/ 0 w 292"/>
              <a:gd name="T35" fmla="*/ 228 h 308"/>
              <a:gd name="T36" fmla="*/ 3 w 292"/>
              <a:gd name="T37" fmla="*/ 205 h 308"/>
              <a:gd name="T38" fmla="*/ 12 w 292"/>
              <a:gd name="T39" fmla="*/ 188 h 308"/>
              <a:gd name="T40" fmla="*/ 26 w 292"/>
              <a:gd name="T41" fmla="*/ 174 h 308"/>
              <a:gd name="T42" fmla="*/ 42 w 292"/>
              <a:gd name="T43" fmla="*/ 161 h 308"/>
              <a:gd name="T44" fmla="*/ 77 w 292"/>
              <a:gd name="T45" fmla="*/ 135 h 308"/>
              <a:gd name="T46" fmla="*/ 93 w 292"/>
              <a:gd name="T47" fmla="*/ 119 h 308"/>
              <a:gd name="T48" fmla="*/ 105 w 292"/>
              <a:gd name="T49" fmla="*/ 98 h 308"/>
              <a:gd name="T50" fmla="*/ 98 w 292"/>
              <a:gd name="T51" fmla="*/ 96 h 308"/>
              <a:gd name="T52" fmla="*/ 92 w 292"/>
              <a:gd name="T53" fmla="*/ 91 h 308"/>
              <a:gd name="T54" fmla="*/ 82 w 292"/>
              <a:gd name="T55" fmla="*/ 73 h 308"/>
              <a:gd name="T56" fmla="*/ 74 w 292"/>
              <a:gd name="T57" fmla="*/ 50 h 308"/>
              <a:gd name="T58" fmla="*/ 72 w 292"/>
              <a:gd name="T59" fmla="*/ 24 h 308"/>
              <a:gd name="T60" fmla="*/ 90 w 292"/>
              <a:gd name="T61" fmla="*/ 19 h 308"/>
              <a:gd name="T62" fmla="*/ 105 w 292"/>
              <a:gd name="T63" fmla="*/ 20 h 308"/>
              <a:gd name="T64" fmla="*/ 132 w 292"/>
              <a:gd name="T65" fmla="*/ 24 h 308"/>
              <a:gd name="T66" fmla="*/ 169 w 292"/>
              <a:gd name="T67" fmla="*/ 21 h 308"/>
              <a:gd name="T68" fmla="*/ 210 w 292"/>
              <a:gd name="T69" fmla="*/ 12 h 308"/>
              <a:gd name="T70" fmla="*/ 259 w 292"/>
              <a:gd name="T71"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05" name="Freeform 435">
            <a:extLst>
              <a:ext uri="{FF2B5EF4-FFF2-40B4-BE49-F238E27FC236}">
                <a16:creationId xmlns="" xmlns:a16="http://schemas.microsoft.com/office/drawing/2014/main" id="{2F66FCF6-2E75-4CD0-AB00-3233A9AB91EB}"/>
              </a:ext>
            </a:extLst>
          </p:cNvPr>
          <p:cNvSpPr>
            <a:spLocks/>
          </p:cNvSpPr>
          <p:nvPr>
            <p:custDataLst>
              <p:tags r:id="rId275"/>
            </p:custDataLst>
          </p:nvPr>
        </p:nvSpPr>
        <p:spPr bwMode="auto">
          <a:xfrm>
            <a:off x="5096001" y="4495762"/>
            <a:ext cx="7735" cy="59076"/>
          </a:xfrm>
          <a:custGeom>
            <a:avLst/>
            <a:gdLst>
              <a:gd name="T0" fmla="*/ 11 w 14"/>
              <a:gd name="T1" fmla="*/ 0 h 7"/>
              <a:gd name="T2" fmla="*/ 13 w 14"/>
              <a:gd name="T3" fmla="*/ 3 h 7"/>
              <a:gd name="T4" fmla="*/ 14 w 14"/>
              <a:gd name="T5" fmla="*/ 7 h 7"/>
              <a:gd name="T6" fmla="*/ 0 w 14"/>
              <a:gd name="T7" fmla="*/ 7 h 7"/>
              <a:gd name="T8" fmla="*/ 11 w 14"/>
              <a:gd name="T9" fmla="*/ 0 h 7"/>
            </a:gdLst>
            <a:ahLst/>
            <a:cxnLst>
              <a:cxn ang="0">
                <a:pos x="T0" y="T1"/>
              </a:cxn>
              <a:cxn ang="0">
                <a:pos x="T2" y="T3"/>
              </a:cxn>
              <a:cxn ang="0">
                <a:pos x="T4" y="T5"/>
              </a:cxn>
              <a:cxn ang="0">
                <a:pos x="T6" y="T7"/>
              </a:cxn>
              <a:cxn ang="0">
                <a:pos x="T8" y="T9"/>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06" name="Freeform 436">
            <a:extLst>
              <a:ext uri="{FF2B5EF4-FFF2-40B4-BE49-F238E27FC236}">
                <a16:creationId xmlns="" xmlns:a16="http://schemas.microsoft.com/office/drawing/2014/main" id="{72F517D9-843B-45D5-9B52-DF680F6D20FB}"/>
              </a:ext>
            </a:extLst>
          </p:cNvPr>
          <p:cNvSpPr>
            <a:spLocks/>
          </p:cNvSpPr>
          <p:nvPr>
            <p:custDataLst>
              <p:tags r:id="rId276"/>
            </p:custDataLst>
          </p:nvPr>
        </p:nvSpPr>
        <p:spPr bwMode="auto">
          <a:xfrm>
            <a:off x="4475235" y="3706454"/>
            <a:ext cx="303614" cy="516906"/>
          </a:xfrm>
          <a:custGeom>
            <a:avLst/>
            <a:gdLst>
              <a:gd name="T0" fmla="*/ 81 w 581"/>
              <a:gd name="T1" fmla="*/ 115 h 955"/>
              <a:gd name="T2" fmla="*/ 104 w 581"/>
              <a:gd name="T3" fmla="*/ 152 h 955"/>
              <a:gd name="T4" fmla="*/ 111 w 581"/>
              <a:gd name="T5" fmla="*/ 180 h 955"/>
              <a:gd name="T6" fmla="*/ 95 w 581"/>
              <a:gd name="T7" fmla="*/ 234 h 955"/>
              <a:gd name="T8" fmla="*/ 96 w 581"/>
              <a:gd name="T9" fmla="*/ 325 h 955"/>
              <a:gd name="T10" fmla="*/ 93 w 581"/>
              <a:gd name="T11" fmla="*/ 363 h 955"/>
              <a:gd name="T12" fmla="*/ 82 w 581"/>
              <a:gd name="T13" fmla="*/ 396 h 955"/>
              <a:gd name="T14" fmla="*/ 59 w 581"/>
              <a:gd name="T15" fmla="*/ 429 h 955"/>
              <a:gd name="T16" fmla="*/ 31 w 581"/>
              <a:gd name="T17" fmla="*/ 461 h 955"/>
              <a:gd name="T18" fmla="*/ 17 w 581"/>
              <a:gd name="T19" fmla="*/ 481 h 955"/>
              <a:gd name="T20" fmla="*/ 2 w 581"/>
              <a:gd name="T21" fmla="*/ 542 h 955"/>
              <a:gd name="T22" fmla="*/ 69 w 581"/>
              <a:gd name="T23" fmla="*/ 616 h 955"/>
              <a:gd name="T24" fmla="*/ 69 w 581"/>
              <a:gd name="T25" fmla="*/ 634 h 955"/>
              <a:gd name="T26" fmla="*/ 74 w 581"/>
              <a:gd name="T27" fmla="*/ 665 h 955"/>
              <a:gd name="T28" fmla="*/ 74 w 581"/>
              <a:gd name="T29" fmla="*/ 696 h 955"/>
              <a:gd name="T30" fmla="*/ 78 w 581"/>
              <a:gd name="T31" fmla="*/ 733 h 955"/>
              <a:gd name="T32" fmla="*/ 94 w 581"/>
              <a:gd name="T33" fmla="*/ 778 h 955"/>
              <a:gd name="T34" fmla="*/ 105 w 581"/>
              <a:gd name="T35" fmla="*/ 792 h 955"/>
              <a:gd name="T36" fmla="*/ 68 w 581"/>
              <a:gd name="T37" fmla="*/ 794 h 955"/>
              <a:gd name="T38" fmla="*/ 42 w 581"/>
              <a:gd name="T39" fmla="*/ 802 h 955"/>
              <a:gd name="T40" fmla="*/ 36 w 581"/>
              <a:gd name="T41" fmla="*/ 812 h 955"/>
              <a:gd name="T42" fmla="*/ 42 w 581"/>
              <a:gd name="T43" fmla="*/ 842 h 955"/>
              <a:gd name="T44" fmla="*/ 69 w 581"/>
              <a:gd name="T45" fmla="*/ 876 h 955"/>
              <a:gd name="T46" fmla="*/ 87 w 581"/>
              <a:gd name="T47" fmla="*/ 899 h 955"/>
              <a:gd name="T48" fmla="*/ 100 w 581"/>
              <a:gd name="T49" fmla="*/ 927 h 955"/>
              <a:gd name="T50" fmla="*/ 156 w 581"/>
              <a:gd name="T51" fmla="*/ 955 h 955"/>
              <a:gd name="T52" fmla="*/ 189 w 581"/>
              <a:gd name="T53" fmla="*/ 942 h 955"/>
              <a:gd name="T54" fmla="*/ 248 w 581"/>
              <a:gd name="T55" fmla="*/ 929 h 955"/>
              <a:gd name="T56" fmla="*/ 279 w 581"/>
              <a:gd name="T57" fmla="*/ 921 h 955"/>
              <a:gd name="T58" fmla="*/ 297 w 581"/>
              <a:gd name="T59" fmla="*/ 904 h 955"/>
              <a:gd name="T60" fmla="*/ 302 w 581"/>
              <a:gd name="T61" fmla="*/ 892 h 955"/>
              <a:gd name="T62" fmla="*/ 302 w 581"/>
              <a:gd name="T63" fmla="*/ 868 h 955"/>
              <a:gd name="T64" fmla="*/ 338 w 581"/>
              <a:gd name="T65" fmla="*/ 871 h 955"/>
              <a:gd name="T66" fmla="*/ 367 w 581"/>
              <a:gd name="T67" fmla="*/ 866 h 955"/>
              <a:gd name="T68" fmla="*/ 389 w 581"/>
              <a:gd name="T69" fmla="*/ 856 h 955"/>
              <a:gd name="T70" fmla="*/ 405 w 581"/>
              <a:gd name="T71" fmla="*/ 842 h 955"/>
              <a:gd name="T72" fmla="*/ 432 w 581"/>
              <a:gd name="T73" fmla="*/ 807 h 955"/>
              <a:gd name="T74" fmla="*/ 460 w 581"/>
              <a:gd name="T75" fmla="*/ 773 h 955"/>
              <a:gd name="T76" fmla="*/ 477 w 581"/>
              <a:gd name="T77" fmla="*/ 760 h 955"/>
              <a:gd name="T78" fmla="*/ 502 w 581"/>
              <a:gd name="T79" fmla="*/ 752 h 955"/>
              <a:gd name="T80" fmla="*/ 521 w 581"/>
              <a:gd name="T81" fmla="*/ 745 h 955"/>
              <a:gd name="T82" fmla="*/ 499 w 581"/>
              <a:gd name="T83" fmla="*/ 697 h 955"/>
              <a:gd name="T84" fmla="*/ 484 w 581"/>
              <a:gd name="T85" fmla="*/ 653 h 955"/>
              <a:gd name="T86" fmla="*/ 472 w 581"/>
              <a:gd name="T87" fmla="*/ 623 h 955"/>
              <a:gd name="T88" fmla="*/ 481 w 581"/>
              <a:gd name="T89" fmla="*/ 610 h 955"/>
              <a:gd name="T90" fmla="*/ 487 w 581"/>
              <a:gd name="T91" fmla="*/ 579 h 955"/>
              <a:gd name="T92" fmla="*/ 494 w 581"/>
              <a:gd name="T93" fmla="*/ 541 h 955"/>
              <a:gd name="T94" fmla="*/ 505 w 581"/>
              <a:gd name="T95" fmla="*/ 519 h 955"/>
              <a:gd name="T96" fmla="*/ 532 w 581"/>
              <a:gd name="T97" fmla="*/ 486 h 955"/>
              <a:gd name="T98" fmla="*/ 570 w 581"/>
              <a:gd name="T99" fmla="*/ 461 h 955"/>
              <a:gd name="T100" fmla="*/ 129 w 581"/>
              <a:gd name="T101" fmla="*/ 0 h 955"/>
              <a:gd name="T102" fmla="*/ 98 w 581"/>
              <a:gd name="T103" fmla="*/ 5 h 955"/>
              <a:gd name="T104" fmla="*/ 69 w 581"/>
              <a:gd name="T105" fmla="*/ 24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07" name="Freeform 437">
            <a:extLst>
              <a:ext uri="{FF2B5EF4-FFF2-40B4-BE49-F238E27FC236}">
                <a16:creationId xmlns="" xmlns:a16="http://schemas.microsoft.com/office/drawing/2014/main" id="{93160A2F-66A9-4CB3-9C2C-E2ED15B0807C}"/>
              </a:ext>
            </a:extLst>
          </p:cNvPr>
          <p:cNvSpPr>
            <a:spLocks/>
          </p:cNvSpPr>
          <p:nvPr>
            <p:custDataLst>
              <p:tags r:id="rId277"/>
            </p:custDataLst>
          </p:nvPr>
        </p:nvSpPr>
        <p:spPr bwMode="auto">
          <a:xfrm>
            <a:off x="4080729" y="3068114"/>
            <a:ext cx="19338" cy="59076"/>
          </a:xfrm>
          <a:custGeom>
            <a:avLst/>
            <a:gdLst>
              <a:gd name="T0" fmla="*/ 26 w 45"/>
              <a:gd name="T1" fmla="*/ 0 h 36"/>
              <a:gd name="T2" fmla="*/ 0 w 45"/>
              <a:gd name="T3" fmla="*/ 18 h 36"/>
              <a:gd name="T4" fmla="*/ 23 w 45"/>
              <a:gd name="T5" fmla="*/ 36 h 36"/>
              <a:gd name="T6" fmla="*/ 45 w 45"/>
              <a:gd name="T7" fmla="*/ 15 h 36"/>
              <a:gd name="T8" fmla="*/ 26 w 45"/>
              <a:gd name="T9" fmla="*/ 0 h 36"/>
            </a:gdLst>
            <a:ahLst/>
            <a:cxnLst>
              <a:cxn ang="0">
                <a:pos x="T0" y="T1"/>
              </a:cxn>
              <a:cxn ang="0">
                <a:pos x="T2" y="T3"/>
              </a:cxn>
              <a:cxn ang="0">
                <a:pos x="T4" y="T5"/>
              </a:cxn>
              <a:cxn ang="0">
                <a:pos x="T6" y="T7"/>
              </a:cxn>
              <a:cxn ang="0">
                <a:pos x="T8" y="T9"/>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grpSp>
        <p:nvGrpSpPr>
          <p:cNvPr id="408" name="Group 438">
            <a:extLst>
              <a:ext uri="{FF2B5EF4-FFF2-40B4-BE49-F238E27FC236}">
                <a16:creationId xmlns="" xmlns:a16="http://schemas.microsoft.com/office/drawing/2014/main" id="{8B25F1DD-E040-491E-91E1-CD93FED581D1}"/>
              </a:ext>
            </a:extLst>
          </p:cNvPr>
          <p:cNvGrpSpPr>
            <a:grpSpLocks/>
          </p:cNvGrpSpPr>
          <p:nvPr>
            <p:custDataLst>
              <p:tags r:id="rId278"/>
            </p:custDataLst>
          </p:nvPr>
        </p:nvGrpSpPr>
        <p:grpSpPr bwMode="auto">
          <a:xfrm>
            <a:off x="2009573" y="5198099"/>
            <a:ext cx="467993" cy="1066634"/>
            <a:chOff x="1589" y="3126"/>
            <a:chExt cx="290" cy="657"/>
          </a:xfrm>
        </p:grpSpPr>
        <p:sp>
          <p:nvSpPr>
            <p:cNvPr id="520" name="Freeform 439">
              <a:extLst>
                <a:ext uri="{FF2B5EF4-FFF2-40B4-BE49-F238E27FC236}">
                  <a16:creationId xmlns="" xmlns:a16="http://schemas.microsoft.com/office/drawing/2014/main" id="{39E6AB8B-2906-4DC4-8B8B-CB0D9EA92612}"/>
                </a:ext>
              </a:extLst>
            </p:cNvPr>
            <p:cNvSpPr>
              <a:spLocks/>
            </p:cNvSpPr>
            <p:nvPr/>
          </p:nvSpPr>
          <p:spPr bwMode="auto">
            <a:xfrm>
              <a:off x="1748" y="3531"/>
              <a:ext cx="15" cy="17"/>
            </a:xfrm>
            <a:custGeom>
              <a:avLst/>
              <a:gdLst>
                <a:gd name="T0" fmla="*/ 46 w 46"/>
                <a:gd name="T1" fmla="*/ 12 h 51"/>
                <a:gd name="T2" fmla="*/ 19 w 46"/>
                <a:gd name="T3" fmla="*/ 0 h 51"/>
                <a:gd name="T4" fmla="*/ 13 w 46"/>
                <a:gd name="T5" fmla="*/ 5 h 51"/>
                <a:gd name="T6" fmla="*/ 7 w 46"/>
                <a:gd name="T7" fmla="*/ 9 h 51"/>
                <a:gd name="T8" fmla="*/ 4 w 46"/>
                <a:gd name="T9" fmla="*/ 12 h 51"/>
                <a:gd name="T10" fmla="*/ 2 w 46"/>
                <a:gd name="T11" fmla="*/ 14 h 51"/>
                <a:gd name="T12" fmla="*/ 0 w 46"/>
                <a:gd name="T13" fmla="*/ 16 h 51"/>
                <a:gd name="T14" fmla="*/ 0 w 46"/>
                <a:gd name="T15" fmla="*/ 19 h 51"/>
                <a:gd name="T16" fmla="*/ 0 w 46"/>
                <a:gd name="T17" fmla="*/ 24 h 51"/>
                <a:gd name="T18" fmla="*/ 2 w 46"/>
                <a:gd name="T19" fmla="*/ 29 h 51"/>
                <a:gd name="T20" fmla="*/ 4 w 46"/>
                <a:gd name="T21" fmla="*/ 36 h 51"/>
                <a:gd name="T22" fmla="*/ 7 w 46"/>
                <a:gd name="T23" fmla="*/ 41 h 51"/>
                <a:gd name="T24" fmla="*/ 10 w 46"/>
                <a:gd name="T25" fmla="*/ 46 h 51"/>
                <a:gd name="T26" fmla="*/ 13 w 46"/>
                <a:gd name="T27" fmla="*/ 49 h 51"/>
                <a:gd name="T28" fmla="*/ 15 w 46"/>
                <a:gd name="T29" fmla="*/ 50 h 51"/>
                <a:gd name="T30" fmla="*/ 16 w 46"/>
                <a:gd name="T31" fmla="*/ 51 h 51"/>
                <a:gd name="T32" fmla="*/ 18 w 46"/>
                <a:gd name="T33" fmla="*/ 51 h 51"/>
                <a:gd name="T34" fmla="*/ 19 w 46"/>
                <a:gd name="T35" fmla="*/ 50 h 51"/>
                <a:gd name="T36" fmla="*/ 35 w 46"/>
                <a:gd name="T37" fmla="*/ 50 h 51"/>
                <a:gd name="T38" fmla="*/ 46 w 46"/>
                <a:gd name="T39" fmla="*/ 50 h 51"/>
                <a:gd name="T40" fmla="*/ 46 w 46"/>
                <a:gd name="T41" fmla="*/ 37 h 51"/>
                <a:gd name="T42" fmla="*/ 46 w 46"/>
                <a:gd name="T43" fmla="*/ 26 h 51"/>
                <a:gd name="T44" fmla="*/ 46 w 46"/>
                <a:gd name="T45" fmla="*/ 18 h 51"/>
                <a:gd name="T46" fmla="*/ 46 w 46"/>
                <a:gd name="T47"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21" name="Freeform 440">
              <a:extLst>
                <a:ext uri="{FF2B5EF4-FFF2-40B4-BE49-F238E27FC236}">
                  <a16:creationId xmlns="" xmlns:a16="http://schemas.microsoft.com/office/drawing/2014/main" id="{E0E823B9-5B6C-481F-B40F-B6335B4E2751}"/>
                </a:ext>
              </a:extLst>
            </p:cNvPr>
            <p:cNvSpPr>
              <a:spLocks/>
            </p:cNvSpPr>
            <p:nvPr/>
          </p:nvSpPr>
          <p:spPr bwMode="auto">
            <a:xfrm>
              <a:off x="1759" y="3730"/>
              <a:ext cx="63" cy="53"/>
            </a:xfrm>
            <a:custGeom>
              <a:avLst/>
              <a:gdLst>
                <a:gd name="T0" fmla="*/ 0 w 192"/>
                <a:gd name="T1" fmla="*/ 0 h 158"/>
                <a:gd name="T2" fmla="*/ 0 w 192"/>
                <a:gd name="T3" fmla="*/ 14 h 158"/>
                <a:gd name="T4" fmla="*/ 2 w 192"/>
                <a:gd name="T5" fmla="*/ 26 h 158"/>
                <a:gd name="T6" fmla="*/ 4 w 192"/>
                <a:gd name="T7" fmla="*/ 38 h 158"/>
                <a:gd name="T8" fmla="*/ 7 w 192"/>
                <a:gd name="T9" fmla="*/ 50 h 158"/>
                <a:gd name="T10" fmla="*/ 11 w 192"/>
                <a:gd name="T11" fmla="*/ 61 h 158"/>
                <a:gd name="T12" fmla="*/ 15 w 192"/>
                <a:gd name="T13" fmla="*/ 71 h 158"/>
                <a:gd name="T14" fmla="*/ 21 w 192"/>
                <a:gd name="T15" fmla="*/ 81 h 158"/>
                <a:gd name="T16" fmla="*/ 25 w 192"/>
                <a:gd name="T17" fmla="*/ 90 h 158"/>
                <a:gd name="T18" fmla="*/ 47 w 192"/>
                <a:gd name="T19" fmla="*/ 122 h 158"/>
                <a:gd name="T20" fmla="*/ 66 w 192"/>
                <a:gd name="T21" fmla="*/ 148 h 158"/>
                <a:gd name="T22" fmla="*/ 72 w 192"/>
                <a:gd name="T23" fmla="*/ 151 h 158"/>
                <a:gd name="T24" fmla="*/ 79 w 192"/>
                <a:gd name="T25" fmla="*/ 153 h 158"/>
                <a:gd name="T26" fmla="*/ 85 w 192"/>
                <a:gd name="T27" fmla="*/ 155 h 158"/>
                <a:gd name="T28" fmla="*/ 92 w 192"/>
                <a:gd name="T29" fmla="*/ 156 h 158"/>
                <a:gd name="T30" fmla="*/ 105 w 192"/>
                <a:gd name="T31" fmla="*/ 158 h 158"/>
                <a:gd name="T32" fmla="*/ 119 w 192"/>
                <a:gd name="T33" fmla="*/ 158 h 158"/>
                <a:gd name="T34" fmla="*/ 152 w 192"/>
                <a:gd name="T35" fmla="*/ 155 h 158"/>
                <a:gd name="T36" fmla="*/ 192 w 192"/>
                <a:gd name="T37" fmla="*/ 154 h 158"/>
                <a:gd name="T38" fmla="*/ 184 w 192"/>
                <a:gd name="T39" fmla="*/ 153 h 158"/>
                <a:gd name="T40" fmla="*/ 176 w 192"/>
                <a:gd name="T41" fmla="*/ 152 h 158"/>
                <a:gd name="T42" fmla="*/ 168 w 192"/>
                <a:gd name="T43" fmla="*/ 151 h 158"/>
                <a:gd name="T44" fmla="*/ 160 w 192"/>
                <a:gd name="T45" fmla="*/ 149 h 158"/>
                <a:gd name="T46" fmla="*/ 145 w 192"/>
                <a:gd name="T47" fmla="*/ 144 h 158"/>
                <a:gd name="T48" fmla="*/ 129 w 192"/>
                <a:gd name="T49" fmla="*/ 138 h 158"/>
                <a:gd name="T50" fmla="*/ 115 w 192"/>
                <a:gd name="T51" fmla="*/ 130 h 158"/>
                <a:gd name="T52" fmla="*/ 101 w 192"/>
                <a:gd name="T53" fmla="*/ 120 h 158"/>
                <a:gd name="T54" fmla="*/ 87 w 192"/>
                <a:gd name="T55" fmla="*/ 110 h 158"/>
                <a:gd name="T56" fmla="*/ 75 w 192"/>
                <a:gd name="T57" fmla="*/ 98 h 158"/>
                <a:gd name="T58" fmla="*/ 63 w 192"/>
                <a:gd name="T59" fmla="*/ 87 h 158"/>
                <a:gd name="T60" fmla="*/ 52 w 192"/>
                <a:gd name="T61" fmla="*/ 75 h 158"/>
                <a:gd name="T62" fmla="*/ 42 w 192"/>
                <a:gd name="T63" fmla="*/ 63 h 158"/>
                <a:gd name="T64" fmla="*/ 35 w 192"/>
                <a:gd name="T65" fmla="*/ 50 h 158"/>
                <a:gd name="T66" fmla="*/ 27 w 192"/>
                <a:gd name="T67" fmla="*/ 38 h 158"/>
                <a:gd name="T68" fmla="*/ 21 w 192"/>
                <a:gd name="T69" fmla="*/ 26 h 158"/>
                <a:gd name="T70" fmla="*/ 16 w 192"/>
                <a:gd name="T71" fmla="*/ 16 h 158"/>
                <a:gd name="T72" fmla="*/ 13 w 192"/>
                <a:gd name="T73" fmla="*/ 6 h 158"/>
                <a:gd name="T74" fmla="*/ 0 w 192"/>
                <a:gd name="T7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22" name="Freeform 441">
              <a:extLst>
                <a:ext uri="{FF2B5EF4-FFF2-40B4-BE49-F238E27FC236}">
                  <a16:creationId xmlns="" xmlns:a16="http://schemas.microsoft.com/office/drawing/2014/main" id="{D4007E97-4660-4783-8B0F-EFA66BD9D2F5}"/>
                </a:ext>
              </a:extLst>
            </p:cNvPr>
            <p:cNvSpPr>
              <a:spLocks/>
            </p:cNvSpPr>
            <p:nvPr/>
          </p:nvSpPr>
          <p:spPr bwMode="auto">
            <a:xfrm>
              <a:off x="1589" y="3126"/>
              <a:ext cx="290" cy="606"/>
            </a:xfrm>
            <a:custGeom>
              <a:avLst/>
              <a:gdLst>
                <a:gd name="T0" fmla="*/ 772 w 884"/>
                <a:gd name="T1" fmla="*/ 415 h 1818"/>
                <a:gd name="T2" fmla="*/ 873 w 884"/>
                <a:gd name="T3" fmla="*/ 342 h 1818"/>
                <a:gd name="T4" fmla="*/ 884 w 884"/>
                <a:gd name="T5" fmla="*/ 232 h 1818"/>
                <a:gd name="T6" fmla="*/ 840 w 884"/>
                <a:gd name="T7" fmla="*/ 192 h 1818"/>
                <a:gd name="T8" fmla="*/ 841 w 884"/>
                <a:gd name="T9" fmla="*/ 262 h 1818"/>
                <a:gd name="T10" fmla="*/ 774 w 884"/>
                <a:gd name="T11" fmla="*/ 328 h 1818"/>
                <a:gd name="T12" fmla="*/ 667 w 884"/>
                <a:gd name="T13" fmla="*/ 331 h 1818"/>
                <a:gd name="T14" fmla="*/ 625 w 884"/>
                <a:gd name="T15" fmla="*/ 290 h 1818"/>
                <a:gd name="T16" fmla="*/ 658 w 884"/>
                <a:gd name="T17" fmla="*/ 215 h 1818"/>
                <a:gd name="T18" fmla="*/ 544 w 884"/>
                <a:gd name="T19" fmla="*/ 148 h 1818"/>
                <a:gd name="T20" fmla="*/ 425 w 884"/>
                <a:gd name="T21" fmla="*/ 87 h 1818"/>
                <a:gd name="T22" fmla="*/ 373 w 884"/>
                <a:gd name="T23" fmla="*/ 10 h 1818"/>
                <a:gd name="T24" fmla="*/ 286 w 884"/>
                <a:gd name="T25" fmla="*/ 22 h 1818"/>
                <a:gd name="T26" fmla="*/ 234 w 884"/>
                <a:gd name="T27" fmla="*/ 24 h 1818"/>
                <a:gd name="T28" fmla="*/ 171 w 884"/>
                <a:gd name="T29" fmla="*/ 8 h 1818"/>
                <a:gd name="T30" fmla="*/ 98 w 884"/>
                <a:gd name="T31" fmla="*/ 54 h 1818"/>
                <a:gd name="T32" fmla="*/ 67 w 884"/>
                <a:gd name="T33" fmla="*/ 116 h 1818"/>
                <a:gd name="T34" fmla="*/ 27 w 884"/>
                <a:gd name="T35" fmla="*/ 179 h 1818"/>
                <a:gd name="T36" fmla="*/ 55 w 884"/>
                <a:gd name="T37" fmla="*/ 251 h 1818"/>
                <a:gd name="T38" fmla="*/ 51 w 884"/>
                <a:gd name="T39" fmla="*/ 319 h 1818"/>
                <a:gd name="T40" fmla="*/ 0 w 884"/>
                <a:gd name="T41" fmla="*/ 432 h 1818"/>
                <a:gd name="T42" fmla="*/ 12 w 884"/>
                <a:gd name="T43" fmla="*/ 609 h 1818"/>
                <a:gd name="T44" fmla="*/ 76 w 884"/>
                <a:gd name="T45" fmla="*/ 696 h 1818"/>
                <a:gd name="T46" fmla="*/ 60 w 884"/>
                <a:gd name="T47" fmla="*/ 753 h 1818"/>
                <a:gd name="T48" fmla="*/ 60 w 884"/>
                <a:gd name="T49" fmla="*/ 808 h 1818"/>
                <a:gd name="T50" fmla="*/ 81 w 884"/>
                <a:gd name="T51" fmla="*/ 850 h 1818"/>
                <a:gd name="T52" fmla="*/ 53 w 884"/>
                <a:gd name="T53" fmla="*/ 900 h 1818"/>
                <a:gd name="T54" fmla="*/ 82 w 884"/>
                <a:gd name="T55" fmla="*/ 983 h 1818"/>
                <a:gd name="T56" fmla="*/ 81 w 884"/>
                <a:gd name="T57" fmla="*/ 1055 h 1818"/>
                <a:gd name="T58" fmla="*/ 78 w 884"/>
                <a:gd name="T59" fmla="*/ 1152 h 1818"/>
                <a:gd name="T60" fmla="*/ 137 w 884"/>
                <a:gd name="T61" fmla="*/ 1265 h 1818"/>
                <a:gd name="T62" fmla="*/ 198 w 884"/>
                <a:gd name="T63" fmla="*/ 1394 h 1818"/>
                <a:gd name="T64" fmla="*/ 217 w 884"/>
                <a:gd name="T65" fmla="*/ 1463 h 1818"/>
                <a:gd name="T66" fmla="*/ 230 w 884"/>
                <a:gd name="T67" fmla="*/ 1526 h 1818"/>
                <a:gd name="T68" fmla="*/ 213 w 884"/>
                <a:gd name="T69" fmla="*/ 1590 h 1818"/>
                <a:gd name="T70" fmla="*/ 201 w 884"/>
                <a:gd name="T71" fmla="*/ 1644 h 1818"/>
                <a:gd name="T72" fmla="*/ 228 w 884"/>
                <a:gd name="T73" fmla="*/ 1718 h 1818"/>
                <a:gd name="T74" fmla="*/ 311 w 884"/>
                <a:gd name="T75" fmla="*/ 1772 h 1818"/>
                <a:gd name="T76" fmla="*/ 392 w 884"/>
                <a:gd name="T77" fmla="*/ 1798 h 1818"/>
                <a:gd name="T78" fmla="*/ 451 w 884"/>
                <a:gd name="T79" fmla="*/ 1786 h 1818"/>
                <a:gd name="T80" fmla="*/ 454 w 884"/>
                <a:gd name="T81" fmla="*/ 1703 h 1818"/>
                <a:gd name="T82" fmla="*/ 470 w 884"/>
                <a:gd name="T83" fmla="*/ 1612 h 1818"/>
                <a:gd name="T84" fmla="*/ 495 w 884"/>
                <a:gd name="T85" fmla="*/ 1509 h 1818"/>
                <a:gd name="T86" fmla="*/ 420 w 884"/>
                <a:gd name="T87" fmla="*/ 1486 h 1818"/>
                <a:gd name="T88" fmla="*/ 401 w 884"/>
                <a:gd name="T89" fmla="*/ 1430 h 1818"/>
                <a:gd name="T90" fmla="*/ 453 w 884"/>
                <a:gd name="T91" fmla="*/ 1395 h 1818"/>
                <a:gd name="T92" fmla="*/ 484 w 884"/>
                <a:gd name="T93" fmla="*/ 1332 h 1818"/>
                <a:gd name="T94" fmla="*/ 455 w 884"/>
                <a:gd name="T95" fmla="*/ 1224 h 1818"/>
                <a:gd name="T96" fmla="*/ 425 w 884"/>
                <a:gd name="T97" fmla="*/ 1141 h 1818"/>
                <a:gd name="T98" fmla="*/ 518 w 884"/>
                <a:gd name="T99" fmla="*/ 1166 h 1818"/>
                <a:gd name="T100" fmla="*/ 568 w 884"/>
                <a:gd name="T101" fmla="*/ 1151 h 1818"/>
                <a:gd name="T102" fmla="*/ 558 w 884"/>
                <a:gd name="T103" fmla="*/ 1078 h 1818"/>
                <a:gd name="T104" fmla="*/ 565 w 884"/>
                <a:gd name="T105" fmla="*/ 1030 h 1818"/>
                <a:gd name="T106" fmla="*/ 676 w 884"/>
                <a:gd name="T107" fmla="*/ 1023 h 1818"/>
                <a:gd name="T108" fmla="*/ 795 w 884"/>
                <a:gd name="T109" fmla="*/ 973 h 1818"/>
                <a:gd name="T110" fmla="*/ 816 w 884"/>
                <a:gd name="T111" fmla="*/ 882 h 1818"/>
                <a:gd name="T112" fmla="*/ 781 w 884"/>
                <a:gd name="T113" fmla="*/ 852 h 1818"/>
                <a:gd name="T114" fmla="*/ 758 w 884"/>
                <a:gd name="T115" fmla="*/ 810 h 1818"/>
                <a:gd name="T116" fmla="*/ 692 w 884"/>
                <a:gd name="T117" fmla="*/ 752 h 1818"/>
                <a:gd name="T118" fmla="*/ 701 w 884"/>
                <a:gd name="T119" fmla="*/ 53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grpSp>
      <p:sp>
        <p:nvSpPr>
          <p:cNvPr id="409" name="Freeform 442">
            <a:extLst>
              <a:ext uri="{FF2B5EF4-FFF2-40B4-BE49-F238E27FC236}">
                <a16:creationId xmlns="" xmlns:a16="http://schemas.microsoft.com/office/drawing/2014/main" id="{6974D0E9-CAEC-4C90-8C9D-C1664792C3F0}"/>
              </a:ext>
            </a:extLst>
          </p:cNvPr>
          <p:cNvSpPr>
            <a:spLocks/>
          </p:cNvSpPr>
          <p:nvPr>
            <p:custDataLst>
              <p:tags r:id="rId279"/>
            </p:custDataLst>
          </p:nvPr>
        </p:nvSpPr>
        <p:spPr bwMode="auto">
          <a:xfrm>
            <a:off x="5310660" y="3081241"/>
            <a:ext cx="150841" cy="113228"/>
          </a:xfrm>
          <a:custGeom>
            <a:avLst/>
            <a:gdLst>
              <a:gd name="T0" fmla="*/ 33 w 279"/>
              <a:gd name="T1" fmla="*/ 87 h 204"/>
              <a:gd name="T2" fmla="*/ 59 w 279"/>
              <a:gd name="T3" fmla="*/ 142 h 204"/>
              <a:gd name="T4" fmla="*/ 59 w 279"/>
              <a:gd name="T5" fmla="*/ 179 h 204"/>
              <a:gd name="T6" fmla="*/ 102 w 279"/>
              <a:gd name="T7" fmla="*/ 196 h 204"/>
              <a:gd name="T8" fmla="*/ 122 w 279"/>
              <a:gd name="T9" fmla="*/ 202 h 204"/>
              <a:gd name="T10" fmla="*/ 139 w 279"/>
              <a:gd name="T11" fmla="*/ 204 h 204"/>
              <a:gd name="T12" fmla="*/ 146 w 279"/>
              <a:gd name="T13" fmla="*/ 201 h 204"/>
              <a:gd name="T14" fmla="*/ 151 w 279"/>
              <a:gd name="T15" fmla="*/ 194 h 204"/>
              <a:gd name="T16" fmla="*/ 160 w 279"/>
              <a:gd name="T17" fmla="*/ 172 h 204"/>
              <a:gd name="T18" fmla="*/ 172 w 279"/>
              <a:gd name="T19" fmla="*/ 149 h 204"/>
              <a:gd name="T20" fmla="*/ 181 w 279"/>
              <a:gd name="T21" fmla="*/ 141 h 204"/>
              <a:gd name="T22" fmla="*/ 192 w 279"/>
              <a:gd name="T23" fmla="*/ 136 h 204"/>
              <a:gd name="T24" fmla="*/ 209 w 279"/>
              <a:gd name="T25" fmla="*/ 138 h 204"/>
              <a:gd name="T26" fmla="*/ 220 w 279"/>
              <a:gd name="T27" fmla="*/ 142 h 204"/>
              <a:gd name="T28" fmla="*/ 228 w 279"/>
              <a:gd name="T29" fmla="*/ 148 h 204"/>
              <a:gd name="T30" fmla="*/ 231 w 279"/>
              <a:gd name="T31" fmla="*/ 154 h 204"/>
              <a:gd name="T32" fmla="*/ 234 w 279"/>
              <a:gd name="T33" fmla="*/ 164 h 204"/>
              <a:gd name="T34" fmla="*/ 231 w 279"/>
              <a:gd name="T35" fmla="*/ 167 h 204"/>
              <a:gd name="T36" fmla="*/ 234 w 279"/>
              <a:gd name="T37" fmla="*/ 153 h 204"/>
              <a:gd name="T38" fmla="*/ 238 w 279"/>
              <a:gd name="T39" fmla="*/ 140 h 204"/>
              <a:gd name="T40" fmla="*/ 245 w 279"/>
              <a:gd name="T41" fmla="*/ 117 h 204"/>
              <a:gd name="T42" fmla="*/ 254 w 279"/>
              <a:gd name="T43" fmla="*/ 115 h 204"/>
              <a:gd name="T44" fmla="*/ 264 w 279"/>
              <a:gd name="T45" fmla="*/ 110 h 204"/>
              <a:gd name="T46" fmla="*/ 279 w 279"/>
              <a:gd name="T47" fmla="*/ 99 h 204"/>
              <a:gd name="T48" fmla="*/ 252 w 279"/>
              <a:gd name="T49" fmla="*/ 75 h 204"/>
              <a:gd name="T50" fmla="*/ 227 w 279"/>
              <a:gd name="T51" fmla="*/ 58 h 204"/>
              <a:gd name="T52" fmla="*/ 204 w 279"/>
              <a:gd name="T53" fmla="*/ 44 h 204"/>
              <a:gd name="T54" fmla="*/ 185 w 279"/>
              <a:gd name="T55" fmla="*/ 31 h 204"/>
              <a:gd name="T56" fmla="*/ 146 w 279"/>
              <a:gd name="T57" fmla="*/ 68 h 204"/>
              <a:gd name="T58" fmla="*/ 79 w 279"/>
              <a:gd name="T59" fmla="*/ 25 h 204"/>
              <a:gd name="T60" fmla="*/ 52 w 279"/>
              <a:gd name="T61" fmla="*/ 12 h 204"/>
              <a:gd name="T62" fmla="*/ 46 w 279"/>
              <a:gd name="T63" fmla="*/ 62 h 204"/>
              <a:gd name="T64" fmla="*/ 0 w 279"/>
              <a:gd name="T65" fmla="*/ 5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10" name="Freeform 443">
            <a:extLst>
              <a:ext uri="{FF2B5EF4-FFF2-40B4-BE49-F238E27FC236}">
                <a16:creationId xmlns="" xmlns:a16="http://schemas.microsoft.com/office/drawing/2014/main" id="{B151F6E1-0E6C-49A4-BFD1-34B0B6E3B720}"/>
              </a:ext>
            </a:extLst>
          </p:cNvPr>
          <p:cNvSpPr>
            <a:spLocks/>
          </p:cNvSpPr>
          <p:nvPr>
            <p:custDataLst>
              <p:tags r:id="rId280"/>
            </p:custDataLst>
          </p:nvPr>
        </p:nvSpPr>
        <p:spPr bwMode="auto">
          <a:xfrm>
            <a:off x="4660885" y="2639819"/>
            <a:ext cx="255268" cy="155893"/>
          </a:xfrm>
          <a:custGeom>
            <a:avLst/>
            <a:gdLst>
              <a:gd name="T0" fmla="*/ 252 w 485"/>
              <a:gd name="T1" fmla="*/ 20 h 291"/>
              <a:gd name="T2" fmla="*/ 300 w 485"/>
              <a:gd name="T3" fmla="*/ 44 h 291"/>
              <a:gd name="T4" fmla="*/ 372 w 485"/>
              <a:gd name="T5" fmla="*/ 44 h 291"/>
              <a:gd name="T6" fmla="*/ 425 w 485"/>
              <a:gd name="T7" fmla="*/ 131 h 291"/>
              <a:gd name="T8" fmla="*/ 485 w 485"/>
              <a:gd name="T9" fmla="*/ 167 h 291"/>
              <a:gd name="T10" fmla="*/ 412 w 485"/>
              <a:gd name="T11" fmla="*/ 173 h 291"/>
              <a:gd name="T12" fmla="*/ 433 w 485"/>
              <a:gd name="T13" fmla="*/ 210 h 291"/>
              <a:gd name="T14" fmla="*/ 392 w 485"/>
              <a:gd name="T15" fmla="*/ 241 h 291"/>
              <a:gd name="T16" fmla="*/ 385 w 485"/>
              <a:gd name="T17" fmla="*/ 291 h 291"/>
              <a:gd name="T18" fmla="*/ 285 w 485"/>
              <a:gd name="T19" fmla="*/ 266 h 291"/>
              <a:gd name="T20" fmla="*/ 173 w 485"/>
              <a:gd name="T21" fmla="*/ 254 h 291"/>
              <a:gd name="T22" fmla="*/ 60 w 485"/>
              <a:gd name="T23" fmla="*/ 266 h 291"/>
              <a:gd name="T24" fmla="*/ 15 w 485"/>
              <a:gd name="T25" fmla="*/ 271 h 291"/>
              <a:gd name="T26" fmla="*/ 8 w 485"/>
              <a:gd name="T27" fmla="*/ 257 h 291"/>
              <a:gd name="T28" fmla="*/ 3 w 485"/>
              <a:gd name="T29" fmla="*/ 244 h 291"/>
              <a:gd name="T30" fmla="*/ 0 w 485"/>
              <a:gd name="T31" fmla="*/ 229 h 291"/>
              <a:gd name="T32" fmla="*/ 5 w 485"/>
              <a:gd name="T33" fmla="*/ 219 h 291"/>
              <a:gd name="T34" fmla="*/ 14 w 485"/>
              <a:gd name="T35" fmla="*/ 207 h 291"/>
              <a:gd name="T36" fmla="*/ 23 w 485"/>
              <a:gd name="T37" fmla="*/ 189 h 291"/>
              <a:gd name="T38" fmla="*/ 31 w 485"/>
              <a:gd name="T39" fmla="*/ 166 h 291"/>
              <a:gd name="T40" fmla="*/ 41 w 485"/>
              <a:gd name="T41" fmla="*/ 137 h 291"/>
              <a:gd name="T42" fmla="*/ 48 w 485"/>
              <a:gd name="T43" fmla="*/ 126 h 291"/>
              <a:gd name="T44" fmla="*/ 60 w 485"/>
              <a:gd name="T45" fmla="*/ 119 h 291"/>
              <a:gd name="T46" fmla="*/ 87 w 485"/>
              <a:gd name="T47" fmla="*/ 111 h 291"/>
              <a:gd name="T48" fmla="*/ 89 w 485"/>
              <a:gd name="T49" fmla="*/ 106 h 291"/>
              <a:gd name="T50" fmla="*/ 94 w 485"/>
              <a:gd name="T51" fmla="*/ 100 h 291"/>
              <a:gd name="T52" fmla="*/ 101 w 485"/>
              <a:gd name="T53" fmla="*/ 95 h 291"/>
              <a:gd name="T54" fmla="*/ 106 w 485"/>
              <a:gd name="T55" fmla="*/ 93 h 291"/>
              <a:gd name="T56" fmla="*/ 106 w 485"/>
              <a:gd name="T57" fmla="*/ 76 h 291"/>
              <a:gd name="T58" fmla="*/ 109 w 485"/>
              <a:gd name="T59" fmla="*/ 70 h 291"/>
              <a:gd name="T60" fmla="*/ 113 w 485"/>
              <a:gd name="T61" fmla="*/ 67 h 291"/>
              <a:gd name="T62" fmla="*/ 122 w 485"/>
              <a:gd name="T63" fmla="*/ 69 h 291"/>
              <a:gd name="T64" fmla="*/ 128 w 485"/>
              <a:gd name="T65" fmla="*/ 69 h 291"/>
              <a:gd name="T66" fmla="*/ 132 w 485"/>
              <a:gd name="T67" fmla="*/ 66 h 291"/>
              <a:gd name="T68" fmla="*/ 134 w 485"/>
              <a:gd name="T69" fmla="*/ 56 h 291"/>
              <a:gd name="T70" fmla="*/ 139 w 485"/>
              <a:gd name="T71" fmla="*/ 44 h 291"/>
              <a:gd name="T72" fmla="*/ 144 w 485"/>
              <a:gd name="T73" fmla="*/ 39 h 291"/>
              <a:gd name="T74" fmla="*/ 213 w 485"/>
              <a:gd name="T75"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11" name="Freeform 444">
            <a:extLst>
              <a:ext uri="{FF2B5EF4-FFF2-40B4-BE49-F238E27FC236}">
                <a16:creationId xmlns="" xmlns:a16="http://schemas.microsoft.com/office/drawing/2014/main" id="{667CEFE0-009C-46CA-9C07-312CCCFCE737}"/>
              </a:ext>
            </a:extLst>
          </p:cNvPr>
          <p:cNvSpPr>
            <a:spLocks/>
          </p:cNvSpPr>
          <p:nvPr>
            <p:custDataLst>
              <p:tags r:id="rId281"/>
            </p:custDataLst>
          </p:nvPr>
        </p:nvSpPr>
        <p:spPr bwMode="auto">
          <a:xfrm>
            <a:off x="4486838" y="2982783"/>
            <a:ext cx="100560" cy="90255"/>
          </a:xfrm>
          <a:custGeom>
            <a:avLst/>
            <a:gdLst>
              <a:gd name="T0" fmla="*/ 86 w 186"/>
              <a:gd name="T1" fmla="*/ 147 h 166"/>
              <a:gd name="T2" fmla="*/ 83 w 186"/>
              <a:gd name="T3" fmla="*/ 136 h 166"/>
              <a:gd name="T4" fmla="*/ 78 w 186"/>
              <a:gd name="T5" fmla="*/ 127 h 166"/>
              <a:gd name="T6" fmla="*/ 74 w 186"/>
              <a:gd name="T7" fmla="*/ 118 h 166"/>
              <a:gd name="T8" fmla="*/ 70 w 186"/>
              <a:gd name="T9" fmla="*/ 110 h 166"/>
              <a:gd name="T10" fmla="*/ 60 w 186"/>
              <a:gd name="T11" fmla="*/ 95 h 166"/>
              <a:gd name="T12" fmla="*/ 49 w 186"/>
              <a:gd name="T13" fmla="*/ 82 h 166"/>
              <a:gd name="T14" fmla="*/ 37 w 186"/>
              <a:gd name="T15" fmla="*/ 70 h 166"/>
              <a:gd name="T16" fmla="*/ 25 w 186"/>
              <a:gd name="T17" fmla="*/ 56 h 166"/>
              <a:gd name="T18" fmla="*/ 13 w 186"/>
              <a:gd name="T19" fmla="*/ 38 h 166"/>
              <a:gd name="T20" fmla="*/ 0 w 186"/>
              <a:gd name="T21" fmla="*/ 18 h 166"/>
              <a:gd name="T22" fmla="*/ 0 w 186"/>
              <a:gd name="T23" fmla="*/ 0 h 166"/>
              <a:gd name="T24" fmla="*/ 7 w 186"/>
              <a:gd name="T25" fmla="*/ 2 h 166"/>
              <a:gd name="T26" fmla="*/ 14 w 186"/>
              <a:gd name="T27" fmla="*/ 3 h 166"/>
              <a:gd name="T28" fmla="*/ 20 w 186"/>
              <a:gd name="T29" fmla="*/ 4 h 166"/>
              <a:gd name="T30" fmla="*/ 27 w 186"/>
              <a:gd name="T31" fmla="*/ 4 h 166"/>
              <a:gd name="T32" fmla="*/ 33 w 186"/>
              <a:gd name="T33" fmla="*/ 4 h 166"/>
              <a:gd name="T34" fmla="*/ 40 w 186"/>
              <a:gd name="T35" fmla="*/ 3 h 166"/>
              <a:gd name="T36" fmla="*/ 47 w 186"/>
              <a:gd name="T37" fmla="*/ 2 h 166"/>
              <a:gd name="T38" fmla="*/ 53 w 186"/>
              <a:gd name="T39" fmla="*/ 0 h 166"/>
              <a:gd name="T40" fmla="*/ 140 w 186"/>
              <a:gd name="T41" fmla="*/ 12 h 166"/>
              <a:gd name="T42" fmla="*/ 186 w 186"/>
              <a:gd name="T43" fmla="*/ 91 h 166"/>
              <a:gd name="T44" fmla="*/ 171 w 186"/>
              <a:gd name="T45" fmla="*/ 112 h 166"/>
              <a:gd name="T46" fmla="*/ 155 w 186"/>
              <a:gd name="T47" fmla="*/ 129 h 166"/>
              <a:gd name="T48" fmla="*/ 149 w 186"/>
              <a:gd name="T49" fmla="*/ 137 h 166"/>
              <a:gd name="T50" fmla="*/ 144 w 186"/>
              <a:gd name="T51" fmla="*/ 145 h 166"/>
              <a:gd name="T52" fmla="*/ 142 w 186"/>
              <a:gd name="T53" fmla="*/ 150 h 166"/>
              <a:gd name="T54" fmla="*/ 141 w 186"/>
              <a:gd name="T55" fmla="*/ 156 h 166"/>
              <a:gd name="T56" fmla="*/ 140 w 186"/>
              <a:gd name="T57" fmla="*/ 161 h 166"/>
              <a:gd name="T58" fmla="*/ 140 w 186"/>
              <a:gd name="T59" fmla="*/ 166 h 166"/>
              <a:gd name="T60" fmla="*/ 86 w 186"/>
              <a:gd name="T61" fmla="*/ 14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12" name="Freeform 445">
            <a:extLst>
              <a:ext uri="{FF2B5EF4-FFF2-40B4-BE49-F238E27FC236}">
                <a16:creationId xmlns="" xmlns:a16="http://schemas.microsoft.com/office/drawing/2014/main" id="{60C4D140-7CBD-4A1A-BC06-B8BFF88B020E}"/>
              </a:ext>
            </a:extLst>
          </p:cNvPr>
          <p:cNvSpPr>
            <a:spLocks/>
          </p:cNvSpPr>
          <p:nvPr>
            <p:custDataLst>
              <p:tags r:id="rId282"/>
            </p:custDataLst>
          </p:nvPr>
        </p:nvSpPr>
        <p:spPr bwMode="auto">
          <a:xfrm>
            <a:off x="2494970" y="4467867"/>
            <a:ext cx="100560" cy="59076"/>
          </a:xfrm>
          <a:custGeom>
            <a:avLst/>
            <a:gdLst>
              <a:gd name="T0" fmla="*/ 153 w 186"/>
              <a:gd name="T1" fmla="*/ 21 h 104"/>
              <a:gd name="T2" fmla="*/ 146 w 186"/>
              <a:gd name="T3" fmla="*/ 21 h 104"/>
              <a:gd name="T4" fmla="*/ 141 w 186"/>
              <a:gd name="T5" fmla="*/ 20 h 104"/>
              <a:gd name="T6" fmla="*/ 136 w 186"/>
              <a:gd name="T7" fmla="*/ 18 h 104"/>
              <a:gd name="T8" fmla="*/ 133 w 186"/>
              <a:gd name="T9" fmla="*/ 15 h 104"/>
              <a:gd name="T10" fmla="*/ 130 w 186"/>
              <a:gd name="T11" fmla="*/ 13 h 104"/>
              <a:gd name="T12" fmla="*/ 125 w 186"/>
              <a:gd name="T13" fmla="*/ 11 h 104"/>
              <a:gd name="T14" fmla="*/ 120 w 186"/>
              <a:gd name="T15" fmla="*/ 10 h 104"/>
              <a:gd name="T16" fmla="*/ 113 w 186"/>
              <a:gd name="T17" fmla="*/ 9 h 104"/>
              <a:gd name="T18" fmla="*/ 100 w 186"/>
              <a:gd name="T19" fmla="*/ 8 h 104"/>
              <a:gd name="T20" fmla="*/ 88 w 186"/>
              <a:gd name="T21" fmla="*/ 6 h 104"/>
              <a:gd name="T22" fmla="*/ 75 w 186"/>
              <a:gd name="T23" fmla="*/ 3 h 104"/>
              <a:gd name="T24" fmla="*/ 64 w 186"/>
              <a:gd name="T25" fmla="*/ 1 h 104"/>
              <a:gd name="T26" fmla="*/ 60 w 186"/>
              <a:gd name="T27" fmla="*/ 0 h 104"/>
              <a:gd name="T28" fmla="*/ 54 w 186"/>
              <a:gd name="T29" fmla="*/ 0 h 104"/>
              <a:gd name="T30" fmla="*/ 51 w 186"/>
              <a:gd name="T31" fmla="*/ 1 h 104"/>
              <a:gd name="T32" fmla="*/ 46 w 186"/>
              <a:gd name="T33" fmla="*/ 2 h 104"/>
              <a:gd name="T34" fmla="*/ 44 w 186"/>
              <a:gd name="T35" fmla="*/ 4 h 104"/>
              <a:gd name="T36" fmla="*/ 42 w 186"/>
              <a:gd name="T37" fmla="*/ 6 h 104"/>
              <a:gd name="T38" fmla="*/ 41 w 186"/>
              <a:gd name="T39" fmla="*/ 10 h 104"/>
              <a:gd name="T40" fmla="*/ 40 w 186"/>
              <a:gd name="T41" fmla="*/ 15 h 104"/>
              <a:gd name="T42" fmla="*/ 34 w 186"/>
              <a:gd name="T43" fmla="*/ 27 h 104"/>
              <a:gd name="T44" fmla="*/ 20 w 186"/>
              <a:gd name="T45" fmla="*/ 47 h 104"/>
              <a:gd name="T46" fmla="*/ 7 w 186"/>
              <a:gd name="T47" fmla="*/ 66 h 104"/>
              <a:gd name="T48" fmla="*/ 0 w 186"/>
              <a:gd name="T49" fmla="*/ 77 h 104"/>
              <a:gd name="T50" fmla="*/ 8 w 186"/>
              <a:gd name="T51" fmla="*/ 77 h 104"/>
              <a:gd name="T52" fmla="*/ 16 w 186"/>
              <a:gd name="T53" fmla="*/ 78 h 104"/>
              <a:gd name="T54" fmla="*/ 21 w 186"/>
              <a:gd name="T55" fmla="*/ 79 h 104"/>
              <a:gd name="T56" fmla="*/ 25 w 186"/>
              <a:gd name="T57" fmla="*/ 81 h 104"/>
              <a:gd name="T58" fmla="*/ 33 w 186"/>
              <a:gd name="T59" fmla="*/ 85 h 104"/>
              <a:gd name="T60" fmla="*/ 40 w 186"/>
              <a:gd name="T61" fmla="*/ 89 h 104"/>
              <a:gd name="T62" fmla="*/ 45 w 186"/>
              <a:gd name="T63" fmla="*/ 94 h 104"/>
              <a:gd name="T64" fmla="*/ 52 w 186"/>
              <a:gd name="T65" fmla="*/ 98 h 104"/>
              <a:gd name="T66" fmla="*/ 56 w 186"/>
              <a:gd name="T67" fmla="*/ 100 h 104"/>
              <a:gd name="T68" fmla="*/ 61 w 186"/>
              <a:gd name="T69" fmla="*/ 101 h 104"/>
              <a:gd name="T70" fmla="*/ 66 w 186"/>
              <a:gd name="T71" fmla="*/ 102 h 104"/>
              <a:gd name="T72" fmla="*/ 74 w 186"/>
              <a:gd name="T73" fmla="*/ 102 h 104"/>
              <a:gd name="T74" fmla="*/ 107 w 186"/>
              <a:gd name="T75" fmla="*/ 103 h 104"/>
              <a:gd name="T76" fmla="*/ 131 w 186"/>
              <a:gd name="T77" fmla="*/ 104 h 104"/>
              <a:gd name="T78" fmla="*/ 135 w 186"/>
              <a:gd name="T79" fmla="*/ 103 h 104"/>
              <a:gd name="T80" fmla="*/ 139 w 186"/>
              <a:gd name="T81" fmla="*/ 102 h 104"/>
              <a:gd name="T82" fmla="*/ 142 w 186"/>
              <a:gd name="T83" fmla="*/ 100 h 104"/>
              <a:gd name="T84" fmla="*/ 145 w 186"/>
              <a:gd name="T85" fmla="*/ 97 h 104"/>
              <a:gd name="T86" fmla="*/ 147 w 186"/>
              <a:gd name="T87" fmla="*/ 94 h 104"/>
              <a:gd name="T88" fmla="*/ 150 w 186"/>
              <a:gd name="T89" fmla="*/ 88 h 104"/>
              <a:gd name="T90" fmla="*/ 152 w 186"/>
              <a:gd name="T91" fmla="*/ 83 h 104"/>
              <a:gd name="T92" fmla="*/ 153 w 186"/>
              <a:gd name="T93" fmla="*/ 77 h 104"/>
              <a:gd name="T94" fmla="*/ 186 w 186"/>
              <a:gd name="T95" fmla="*/ 27 h 104"/>
              <a:gd name="T96" fmla="*/ 153 w 186"/>
              <a:gd name="T97" fmla="*/ 2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13" name="Freeform 446">
            <a:extLst>
              <a:ext uri="{FF2B5EF4-FFF2-40B4-BE49-F238E27FC236}">
                <a16:creationId xmlns="" xmlns:a16="http://schemas.microsoft.com/office/drawing/2014/main" id="{4ED31BAD-BBF0-4AE1-90FA-2DB54664ED3B}"/>
              </a:ext>
            </a:extLst>
          </p:cNvPr>
          <p:cNvSpPr>
            <a:spLocks/>
          </p:cNvSpPr>
          <p:nvPr>
            <p:custDataLst>
              <p:tags r:id="rId283"/>
            </p:custDataLst>
          </p:nvPr>
        </p:nvSpPr>
        <p:spPr bwMode="auto">
          <a:xfrm>
            <a:off x="4680223" y="3018884"/>
            <a:ext cx="162444" cy="100100"/>
          </a:xfrm>
          <a:custGeom>
            <a:avLst/>
            <a:gdLst>
              <a:gd name="T0" fmla="*/ 79 w 311"/>
              <a:gd name="T1" fmla="*/ 38 h 179"/>
              <a:gd name="T2" fmla="*/ 115 w 311"/>
              <a:gd name="T3" fmla="*/ 26 h 179"/>
              <a:gd name="T4" fmla="*/ 148 w 311"/>
              <a:gd name="T5" fmla="*/ 14 h 179"/>
              <a:gd name="T6" fmla="*/ 178 w 311"/>
              <a:gd name="T7" fmla="*/ 4 h 179"/>
              <a:gd name="T8" fmla="*/ 211 w 311"/>
              <a:gd name="T9" fmla="*/ 0 h 179"/>
              <a:gd name="T10" fmla="*/ 236 w 311"/>
              <a:gd name="T11" fmla="*/ 2 h 179"/>
              <a:gd name="T12" fmla="*/ 256 w 311"/>
              <a:gd name="T13" fmla="*/ 6 h 179"/>
              <a:gd name="T14" fmla="*/ 292 w 311"/>
              <a:gd name="T15" fmla="*/ 12 h 179"/>
              <a:gd name="T16" fmla="*/ 287 w 311"/>
              <a:gd name="T17" fmla="*/ 28 h 179"/>
              <a:gd name="T18" fmla="*/ 278 w 311"/>
              <a:gd name="T19" fmla="*/ 42 h 179"/>
              <a:gd name="T20" fmla="*/ 269 w 311"/>
              <a:gd name="T21" fmla="*/ 53 h 179"/>
              <a:gd name="T22" fmla="*/ 265 w 311"/>
              <a:gd name="T23" fmla="*/ 62 h 179"/>
              <a:gd name="T24" fmla="*/ 266 w 311"/>
              <a:gd name="T25" fmla="*/ 66 h 179"/>
              <a:gd name="T26" fmla="*/ 271 w 311"/>
              <a:gd name="T27" fmla="*/ 71 h 179"/>
              <a:gd name="T28" fmla="*/ 285 w 311"/>
              <a:gd name="T29" fmla="*/ 79 h 179"/>
              <a:gd name="T30" fmla="*/ 311 w 311"/>
              <a:gd name="T31" fmla="*/ 93 h 179"/>
              <a:gd name="T32" fmla="*/ 287 w 311"/>
              <a:gd name="T33" fmla="*/ 107 h 179"/>
              <a:gd name="T34" fmla="*/ 281 w 311"/>
              <a:gd name="T35" fmla="*/ 115 h 179"/>
              <a:gd name="T36" fmla="*/ 278 w 311"/>
              <a:gd name="T37" fmla="*/ 129 h 179"/>
              <a:gd name="T38" fmla="*/ 252 w 311"/>
              <a:gd name="T39" fmla="*/ 136 h 179"/>
              <a:gd name="T40" fmla="*/ 211 w 311"/>
              <a:gd name="T41" fmla="*/ 148 h 179"/>
              <a:gd name="T42" fmla="*/ 191 w 311"/>
              <a:gd name="T43" fmla="*/ 168 h 179"/>
              <a:gd name="T44" fmla="*/ 178 w 311"/>
              <a:gd name="T45" fmla="*/ 176 h 179"/>
              <a:gd name="T46" fmla="*/ 165 w 311"/>
              <a:gd name="T47" fmla="*/ 179 h 179"/>
              <a:gd name="T48" fmla="*/ 151 w 311"/>
              <a:gd name="T49" fmla="*/ 175 h 179"/>
              <a:gd name="T50" fmla="*/ 137 w 311"/>
              <a:gd name="T51" fmla="*/ 167 h 179"/>
              <a:gd name="T52" fmla="*/ 120 w 311"/>
              <a:gd name="T53" fmla="*/ 158 h 179"/>
              <a:gd name="T54" fmla="*/ 98 w 311"/>
              <a:gd name="T55" fmla="*/ 155 h 179"/>
              <a:gd name="T56" fmla="*/ 66 w 311"/>
              <a:gd name="T57" fmla="*/ 155 h 179"/>
              <a:gd name="T58" fmla="*/ 51 w 311"/>
              <a:gd name="T59" fmla="*/ 157 h 179"/>
              <a:gd name="T60" fmla="*/ 39 w 311"/>
              <a:gd name="T61" fmla="*/ 161 h 179"/>
              <a:gd name="T62" fmla="*/ 36 w 311"/>
              <a:gd name="T63" fmla="*/ 142 h 179"/>
              <a:gd name="T64" fmla="*/ 32 w 311"/>
              <a:gd name="T65" fmla="*/ 123 h 179"/>
              <a:gd name="T66" fmla="*/ 21 w 311"/>
              <a:gd name="T67" fmla="*/ 128 h 179"/>
              <a:gd name="T68" fmla="*/ 13 w 311"/>
              <a:gd name="T69" fmla="*/ 129 h 179"/>
              <a:gd name="T70" fmla="*/ 7 w 311"/>
              <a:gd name="T71" fmla="*/ 126 h 179"/>
              <a:gd name="T72" fmla="*/ 3 w 311"/>
              <a:gd name="T73" fmla="*/ 121 h 179"/>
              <a:gd name="T74" fmla="*/ 0 w 311"/>
              <a:gd name="T75" fmla="*/ 105 h 179"/>
              <a:gd name="T76" fmla="*/ 0 w 311"/>
              <a:gd name="T77" fmla="*/ 87 h 179"/>
              <a:gd name="T78" fmla="*/ 3 w 311"/>
              <a:gd name="T79" fmla="*/ 82 h 179"/>
              <a:gd name="T80" fmla="*/ 13 w 311"/>
              <a:gd name="T81" fmla="*/ 78 h 179"/>
              <a:gd name="T82" fmla="*/ 21 w 311"/>
              <a:gd name="T83" fmla="*/ 72 h 179"/>
              <a:gd name="T84" fmla="*/ 25 w 311"/>
              <a:gd name="T85" fmla="*/ 68 h 179"/>
              <a:gd name="T86" fmla="*/ 26 w 311"/>
              <a:gd name="T87" fmla="*/ 62 h 179"/>
              <a:gd name="T88" fmla="*/ 24 w 311"/>
              <a:gd name="T89" fmla="*/ 51 h 179"/>
              <a:gd name="T90" fmla="*/ 19 w 311"/>
              <a:gd name="T91" fmla="*/ 43 h 179"/>
              <a:gd name="T92" fmla="*/ 8 w 311"/>
              <a:gd name="T93" fmla="*/ 29 h 179"/>
              <a:gd name="T94" fmla="*/ 1 w 311"/>
              <a:gd name="T95" fmla="*/ 18 h 179"/>
              <a:gd name="T96" fmla="*/ 1 w 311"/>
              <a:gd name="T97" fmla="*/ 13 h 179"/>
              <a:gd name="T98" fmla="*/ 6 w 311"/>
              <a:gd name="T99" fmla="*/ 6 h 179"/>
              <a:gd name="T100" fmla="*/ 0 w 311"/>
              <a:gd name="T101" fmla="*/ 6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14" name="Freeform 447">
            <a:extLst>
              <a:ext uri="{FF2B5EF4-FFF2-40B4-BE49-F238E27FC236}">
                <a16:creationId xmlns="" xmlns:a16="http://schemas.microsoft.com/office/drawing/2014/main" id="{A4D86FE6-ADF3-4334-ABDD-B6F3F5C0BE68}"/>
              </a:ext>
            </a:extLst>
          </p:cNvPr>
          <p:cNvSpPr>
            <a:spLocks/>
          </p:cNvSpPr>
          <p:nvPr>
            <p:custDataLst>
              <p:tags r:id="rId284"/>
            </p:custDataLst>
          </p:nvPr>
        </p:nvSpPr>
        <p:spPr bwMode="auto">
          <a:xfrm>
            <a:off x="3895079" y="3977214"/>
            <a:ext cx="216592" cy="170662"/>
          </a:xfrm>
          <a:custGeom>
            <a:avLst/>
            <a:gdLst>
              <a:gd name="T0" fmla="*/ 6 w 405"/>
              <a:gd name="T1" fmla="*/ 260 h 314"/>
              <a:gd name="T2" fmla="*/ 13 w 405"/>
              <a:gd name="T3" fmla="*/ 237 h 314"/>
              <a:gd name="T4" fmla="*/ 17 w 405"/>
              <a:gd name="T5" fmla="*/ 202 h 314"/>
              <a:gd name="T6" fmla="*/ 23 w 405"/>
              <a:gd name="T7" fmla="*/ 173 h 314"/>
              <a:gd name="T8" fmla="*/ 32 w 405"/>
              <a:gd name="T9" fmla="*/ 162 h 314"/>
              <a:gd name="T10" fmla="*/ 48 w 405"/>
              <a:gd name="T11" fmla="*/ 150 h 314"/>
              <a:gd name="T12" fmla="*/ 72 w 405"/>
              <a:gd name="T13" fmla="*/ 141 h 314"/>
              <a:gd name="T14" fmla="*/ 93 w 405"/>
              <a:gd name="T15" fmla="*/ 134 h 314"/>
              <a:gd name="T16" fmla="*/ 104 w 405"/>
              <a:gd name="T17" fmla="*/ 125 h 314"/>
              <a:gd name="T18" fmla="*/ 113 w 405"/>
              <a:gd name="T19" fmla="*/ 114 h 314"/>
              <a:gd name="T20" fmla="*/ 123 w 405"/>
              <a:gd name="T21" fmla="*/ 93 h 314"/>
              <a:gd name="T22" fmla="*/ 136 w 405"/>
              <a:gd name="T23" fmla="*/ 69 h 314"/>
              <a:gd name="T24" fmla="*/ 147 w 405"/>
              <a:gd name="T25" fmla="*/ 55 h 314"/>
              <a:gd name="T26" fmla="*/ 155 w 405"/>
              <a:gd name="T27" fmla="*/ 51 h 314"/>
              <a:gd name="T28" fmla="*/ 170 w 405"/>
              <a:gd name="T29" fmla="*/ 51 h 314"/>
              <a:gd name="T30" fmla="*/ 189 w 405"/>
              <a:gd name="T31" fmla="*/ 48 h 314"/>
              <a:gd name="T32" fmla="*/ 213 w 405"/>
              <a:gd name="T33" fmla="*/ 35 h 314"/>
              <a:gd name="T34" fmla="*/ 237 w 405"/>
              <a:gd name="T35" fmla="*/ 20 h 314"/>
              <a:gd name="T36" fmla="*/ 257 w 405"/>
              <a:gd name="T37" fmla="*/ 11 h 314"/>
              <a:gd name="T38" fmla="*/ 282 w 405"/>
              <a:gd name="T39" fmla="*/ 4 h 314"/>
              <a:gd name="T40" fmla="*/ 314 w 405"/>
              <a:gd name="T41" fmla="*/ 0 h 314"/>
              <a:gd name="T42" fmla="*/ 332 w 405"/>
              <a:gd name="T43" fmla="*/ 14 h 314"/>
              <a:gd name="T44" fmla="*/ 337 w 405"/>
              <a:gd name="T45" fmla="*/ 34 h 314"/>
              <a:gd name="T46" fmla="*/ 343 w 405"/>
              <a:gd name="T47" fmla="*/ 50 h 314"/>
              <a:gd name="T48" fmla="*/ 352 w 405"/>
              <a:gd name="T49" fmla="*/ 62 h 314"/>
              <a:gd name="T50" fmla="*/ 368 w 405"/>
              <a:gd name="T51" fmla="*/ 74 h 314"/>
              <a:gd name="T52" fmla="*/ 382 w 405"/>
              <a:gd name="T53" fmla="*/ 85 h 314"/>
              <a:gd name="T54" fmla="*/ 390 w 405"/>
              <a:gd name="T55" fmla="*/ 93 h 314"/>
              <a:gd name="T56" fmla="*/ 396 w 405"/>
              <a:gd name="T57" fmla="*/ 115 h 314"/>
              <a:gd name="T58" fmla="*/ 398 w 405"/>
              <a:gd name="T59" fmla="*/ 143 h 314"/>
              <a:gd name="T60" fmla="*/ 398 w 405"/>
              <a:gd name="T61" fmla="*/ 170 h 314"/>
              <a:gd name="T62" fmla="*/ 402 w 405"/>
              <a:gd name="T63" fmla="*/ 196 h 314"/>
              <a:gd name="T64" fmla="*/ 398 w 405"/>
              <a:gd name="T65" fmla="*/ 217 h 314"/>
              <a:gd name="T66" fmla="*/ 382 w 405"/>
              <a:gd name="T67" fmla="*/ 226 h 314"/>
              <a:gd name="T68" fmla="*/ 365 w 405"/>
              <a:gd name="T69" fmla="*/ 241 h 314"/>
              <a:gd name="T70" fmla="*/ 363 w 405"/>
              <a:gd name="T71" fmla="*/ 237 h 314"/>
              <a:gd name="T72" fmla="*/ 358 w 405"/>
              <a:gd name="T73" fmla="*/ 233 h 314"/>
              <a:gd name="T74" fmla="*/ 342 w 405"/>
              <a:gd name="T75" fmla="*/ 227 h 314"/>
              <a:gd name="T76" fmla="*/ 319 w 405"/>
              <a:gd name="T77" fmla="*/ 223 h 314"/>
              <a:gd name="T78" fmla="*/ 152 w 405"/>
              <a:gd name="T79" fmla="*/ 241 h 314"/>
              <a:gd name="T80" fmla="*/ 150 w 405"/>
              <a:gd name="T81" fmla="*/ 257 h 314"/>
              <a:gd name="T82" fmla="*/ 150 w 405"/>
              <a:gd name="T83" fmla="*/ 274 h 314"/>
              <a:gd name="T84" fmla="*/ 152 w 405"/>
              <a:gd name="T85" fmla="*/ 314 h 314"/>
              <a:gd name="T86" fmla="*/ 139 w 405"/>
              <a:gd name="T87" fmla="*/ 312 h 314"/>
              <a:gd name="T88" fmla="*/ 126 w 405"/>
              <a:gd name="T89" fmla="*/ 305 h 314"/>
              <a:gd name="T90" fmla="*/ 100 w 405"/>
              <a:gd name="T91" fmla="*/ 290 h 314"/>
              <a:gd name="T92" fmla="*/ 89 w 405"/>
              <a:gd name="T93" fmla="*/ 307 h 314"/>
              <a:gd name="T94" fmla="*/ 82 w 405"/>
              <a:gd name="T95" fmla="*/ 312 h 314"/>
              <a:gd name="T96" fmla="*/ 73 w 405"/>
              <a:gd name="T97" fmla="*/ 314 h 314"/>
              <a:gd name="T98" fmla="*/ 60 w 405"/>
              <a:gd name="T99" fmla="*/ 311 h 314"/>
              <a:gd name="T100" fmla="*/ 47 w 405"/>
              <a:gd name="T101" fmla="*/ 302 h 314"/>
              <a:gd name="T102" fmla="*/ 28 w 405"/>
              <a:gd name="T103" fmla="*/ 291 h 314"/>
              <a:gd name="T104" fmla="*/ 0 w 405"/>
              <a:gd name="T105" fmla="*/ 28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15" name="Freeform 448">
            <a:extLst>
              <a:ext uri="{FF2B5EF4-FFF2-40B4-BE49-F238E27FC236}">
                <a16:creationId xmlns="" xmlns:a16="http://schemas.microsoft.com/office/drawing/2014/main" id="{4BA10C09-96FD-4F59-9F42-FED6616BAE7B}"/>
              </a:ext>
            </a:extLst>
          </p:cNvPr>
          <p:cNvSpPr>
            <a:spLocks/>
          </p:cNvSpPr>
          <p:nvPr>
            <p:custDataLst>
              <p:tags r:id="rId285"/>
            </p:custDataLst>
          </p:nvPr>
        </p:nvSpPr>
        <p:spPr bwMode="auto">
          <a:xfrm>
            <a:off x="4318593" y="4047776"/>
            <a:ext cx="235930" cy="361015"/>
          </a:xfrm>
          <a:custGeom>
            <a:avLst/>
            <a:gdLst>
              <a:gd name="T0" fmla="*/ 335 w 453"/>
              <a:gd name="T1" fmla="*/ 36 h 661"/>
              <a:gd name="T2" fmla="*/ 321 w 453"/>
              <a:gd name="T3" fmla="*/ 98 h 661"/>
              <a:gd name="T4" fmla="*/ 277 w 453"/>
              <a:gd name="T5" fmla="*/ 162 h 661"/>
              <a:gd name="T6" fmla="*/ 253 w 453"/>
              <a:gd name="T7" fmla="*/ 219 h 661"/>
              <a:gd name="T8" fmla="*/ 232 w 453"/>
              <a:gd name="T9" fmla="*/ 272 h 661"/>
              <a:gd name="T10" fmla="*/ 209 w 453"/>
              <a:gd name="T11" fmla="*/ 329 h 661"/>
              <a:gd name="T12" fmla="*/ 196 w 453"/>
              <a:gd name="T13" fmla="*/ 362 h 661"/>
              <a:gd name="T14" fmla="*/ 180 w 453"/>
              <a:gd name="T15" fmla="*/ 380 h 661"/>
              <a:gd name="T16" fmla="*/ 167 w 453"/>
              <a:gd name="T17" fmla="*/ 390 h 661"/>
              <a:gd name="T18" fmla="*/ 141 w 453"/>
              <a:gd name="T19" fmla="*/ 382 h 661"/>
              <a:gd name="T20" fmla="*/ 121 w 453"/>
              <a:gd name="T21" fmla="*/ 370 h 661"/>
              <a:gd name="T22" fmla="*/ 94 w 453"/>
              <a:gd name="T23" fmla="*/ 367 h 661"/>
              <a:gd name="T24" fmla="*/ 64 w 453"/>
              <a:gd name="T25" fmla="*/ 380 h 661"/>
              <a:gd name="T26" fmla="*/ 44 w 453"/>
              <a:gd name="T27" fmla="*/ 403 h 661"/>
              <a:gd name="T28" fmla="*/ 21 w 453"/>
              <a:gd name="T29" fmla="*/ 454 h 661"/>
              <a:gd name="T30" fmla="*/ 7 w 453"/>
              <a:gd name="T31" fmla="*/ 482 h 661"/>
              <a:gd name="T32" fmla="*/ 1 w 453"/>
              <a:gd name="T33" fmla="*/ 500 h 661"/>
              <a:gd name="T34" fmla="*/ 8 w 453"/>
              <a:gd name="T35" fmla="*/ 517 h 661"/>
              <a:gd name="T36" fmla="*/ 20 w 453"/>
              <a:gd name="T37" fmla="*/ 526 h 661"/>
              <a:gd name="T38" fmla="*/ 55 w 453"/>
              <a:gd name="T39" fmla="*/ 526 h 661"/>
              <a:gd name="T40" fmla="*/ 71 w 453"/>
              <a:gd name="T41" fmla="*/ 548 h 661"/>
              <a:gd name="T42" fmla="*/ 73 w 453"/>
              <a:gd name="T43" fmla="*/ 590 h 661"/>
              <a:gd name="T44" fmla="*/ 67 w 453"/>
              <a:gd name="T45" fmla="*/ 630 h 661"/>
              <a:gd name="T46" fmla="*/ 433 w 453"/>
              <a:gd name="T47" fmla="*/ 661 h 661"/>
              <a:gd name="T48" fmla="*/ 442 w 453"/>
              <a:gd name="T49" fmla="*/ 582 h 661"/>
              <a:gd name="T50" fmla="*/ 415 w 453"/>
              <a:gd name="T51" fmla="*/ 568 h 661"/>
              <a:gd name="T52" fmla="*/ 373 w 453"/>
              <a:gd name="T53" fmla="*/ 557 h 661"/>
              <a:gd name="T54" fmla="*/ 353 w 453"/>
              <a:gd name="T55" fmla="*/ 549 h 661"/>
              <a:gd name="T56" fmla="*/ 340 w 453"/>
              <a:gd name="T57" fmla="*/ 537 h 661"/>
              <a:gd name="T58" fmla="*/ 333 w 453"/>
              <a:gd name="T59" fmla="*/ 515 h 661"/>
              <a:gd name="T60" fmla="*/ 333 w 453"/>
              <a:gd name="T61" fmla="*/ 464 h 661"/>
              <a:gd name="T62" fmla="*/ 337 w 453"/>
              <a:gd name="T63" fmla="*/ 428 h 661"/>
              <a:gd name="T64" fmla="*/ 351 w 453"/>
              <a:gd name="T65" fmla="*/ 397 h 661"/>
              <a:gd name="T66" fmla="*/ 373 w 453"/>
              <a:gd name="T67" fmla="*/ 364 h 661"/>
              <a:gd name="T68" fmla="*/ 392 w 453"/>
              <a:gd name="T69" fmla="*/ 330 h 661"/>
              <a:gd name="T70" fmla="*/ 399 w 453"/>
              <a:gd name="T71" fmla="*/ 297 h 661"/>
              <a:gd name="T72" fmla="*/ 389 w 453"/>
              <a:gd name="T73" fmla="*/ 267 h 661"/>
              <a:gd name="T74" fmla="*/ 373 w 453"/>
              <a:gd name="T75" fmla="*/ 246 h 661"/>
              <a:gd name="T76" fmla="*/ 343 w 453"/>
              <a:gd name="T77" fmla="*/ 217 h 661"/>
              <a:gd name="T78" fmla="*/ 333 w 453"/>
              <a:gd name="T79" fmla="*/ 192 h 661"/>
              <a:gd name="T80" fmla="*/ 335 w 453"/>
              <a:gd name="T81" fmla="*/ 173 h 661"/>
              <a:gd name="T82" fmla="*/ 353 w 453"/>
              <a:gd name="T83" fmla="*/ 164 h 661"/>
              <a:gd name="T84" fmla="*/ 406 w 453"/>
              <a:gd name="T85" fmla="*/ 162 h 661"/>
              <a:gd name="T86" fmla="*/ 395 w 453"/>
              <a:gd name="T87" fmla="*/ 151 h 661"/>
              <a:gd name="T88" fmla="*/ 379 w 453"/>
              <a:gd name="T89" fmla="*/ 117 h 661"/>
              <a:gd name="T90" fmla="*/ 371 w 453"/>
              <a:gd name="T91" fmla="*/ 73 h 661"/>
              <a:gd name="T92" fmla="*/ 373 w 453"/>
              <a:gd name="T93" fmla="*/ 45 h 661"/>
              <a:gd name="T94" fmla="*/ 367 w 453"/>
              <a:gd name="T95" fmla="*/ 11 h 661"/>
              <a:gd name="T96" fmla="*/ 347 w 453"/>
              <a:gd name="T97" fmla="*/ 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16" name="Freeform 449">
            <a:extLst>
              <a:ext uri="{FF2B5EF4-FFF2-40B4-BE49-F238E27FC236}">
                <a16:creationId xmlns="" xmlns:a16="http://schemas.microsoft.com/office/drawing/2014/main" id="{09004790-9A7D-45C8-9724-40E7D80B6007}"/>
              </a:ext>
            </a:extLst>
          </p:cNvPr>
          <p:cNvSpPr>
            <a:spLocks/>
          </p:cNvSpPr>
          <p:nvPr>
            <p:custDataLst>
              <p:tags r:id="rId286"/>
            </p:custDataLst>
          </p:nvPr>
        </p:nvSpPr>
        <p:spPr bwMode="auto">
          <a:xfrm>
            <a:off x="7304461" y="3798348"/>
            <a:ext cx="67685" cy="59076"/>
          </a:xfrm>
          <a:custGeom>
            <a:avLst/>
            <a:gdLst>
              <a:gd name="T0" fmla="*/ 0 w 126"/>
              <a:gd name="T1" fmla="*/ 56 h 105"/>
              <a:gd name="T2" fmla="*/ 4 w 126"/>
              <a:gd name="T3" fmla="*/ 49 h 105"/>
              <a:gd name="T4" fmla="*/ 10 w 126"/>
              <a:gd name="T5" fmla="*/ 41 h 105"/>
              <a:gd name="T6" fmla="*/ 16 w 126"/>
              <a:gd name="T7" fmla="*/ 33 h 105"/>
              <a:gd name="T8" fmla="*/ 24 w 126"/>
              <a:gd name="T9" fmla="*/ 25 h 105"/>
              <a:gd name="T10" fmla="*/ 37 w 126"/>
              <a:gd name="T11" fmla="*/ 11 h 105"/>
              <a:gd name="T12" fmla="*/ 47 w 126"/>
              <a:gd name="T13" fmla="*/ 0 h 105"/>
              <a:gd name="T14" fmla="*/ 113 w 126"/>
              <a:gd name="T15" fmla="*/ 0 h 105"/>
              <a:gd name="T16" fmla="*/ 114 w 126"/>
              <a:gd name="T17" fmla="*/ 4 h 105"/>
              <a:gd name="T18" fmla="*/ 115 w 126"/>
              <a:gd name="T19" fmla="*/ 8 h 105"/>
              <a:gd name="T20" fmla="*/ 117 w 126"/>
              <a:gd name="T21" fmla="*/ 12 h 105"/>
              <a:gd name="T22" fmla="*/ 119 w 126"/>
              <a:gd name="T23" fmla="*/ 14 h 105"/>
              <a:gd name="T24" fmla="*/ 124 w 126"/>
              <a:gd name="T25" fmla="*/ 20 h 105"/>
              <a:gd name="T26" fmla="*/ 126 w 126"/>
              <a:gd name="T27" fmla="*/ 24 h 105"/>
              <a:gd name="T28" fmla="*/ 126 w 126"/>
              <a:gd name="T29" fmla="*/ 32 h 105"/>
              <a:gd name="T30" fmla="*/ 125 w 126"/>
              <a:gd name="T31" fmla="*/ 41 h 105"/>
              <a:gd name="T32" fmla="*/ 124 w 126"/>
              <a:gd name="T33" fmla="*/ 48 h 105"/>
              <a:gd name="T34" fmla="*/ 122 w 126"/>
              <a:gd name="T35" fmla="*/ 55 h 105"/>
              <a:gd name="T36" fmla="*/ 119 w 126"/>
              <a:gd name="T37" fmla="*/ 62 h 105"/>
              <a:gd name="T38" fmla="*/ 116 w 126"/>
              <a:gd name="T39" fmla="*/ 69 h 105"/>
              <a:gd name="T40" fmla="*/ 112 w 126"/>
              <a:gd name="T41" fmla="*/ 75 h 105"/>
              <a:gd name="T42" fmla="*/ 108 w 126"/>
              <a:gd name="T43" fmla="*/ 81 h 105"/>
              <a:gd name="T44" fmla="*/ 104 w 126"/>
              <a:gd name="T45" fmla="*/ 86 h 105"/>
              <a:gd name="T46" fmla="*/ 99 w 126"/>
              <a:gd name="T47" fmla="*/ 90 h 105"/>
              <a:gd name="T48" fmla="*/ 93 w 126"/>
              <a:gd name="T49" fmla="*/ 94 h 105"/>
              <a:gd name="T50" fmla="*/ 88 w 126"/>
              <a:gd name="T51" fmla="*/ 99 h 105"/>
              <a:gd name="T52" fmla="*/ 81 w 126"/>
              <a:gd name="T53" fmla="*/ 101 h 105"/>
              <a:gd name="T54" fmla="*/ 74 w 126"/>
              <a:gd name="T55" fmla="*/ 103 h 105"/>
              <a:gd name="T56" fmla="*/ 67 w 126"/>
              <a:gd name="T57" fmla="*/ 105 h 105"/>
              <a:gd name="T58" fmla="*/ 60 w 126"/>
              <a:gd name="T59" fmla="*/ 105 h 105"/>
              <a:gd name="T60" fmla="*/ 48 w 126"/>
              <a:gd name="T61" fmla="*/ 104 h 105"/>
              <a:gd name="T62" fmla="*/ 38 w 126"/>
              <a:gd name="T63" fmla="*/ 102 h 105"/>
              <a:gd name="T64" fmla="*/ 31 w 126"/>
              <a:gd name="T65" fmla="*/ 98 h 105"/>
              <a:gd name="T66" fmla="*/ 24 w 126"/>
              <a:gd name="T67" fmla="*/ 92 h 105"/>
              <a:gd name="T68" fmla="*/ 20 w 126"/>
              <a:gd name="T69" fmla="*/ 86 h 105"/>
              <a:gd name="T70" fmla="*/ 16 w 126"/>
              <a:gd name="T71" fmla="*/ 78 h 105"/>
              <a:gd name="T72" fmla="*/ 14 w 126"/>
              <a:gd name="T73" fmla="*/ 70 h 105"/>
              <a:gd name="T74" fmla="*/ 13 w 126"/>
              <a:gd name="T75" fmla="*/ 62 h 105"/>
              <a:gd name="T76" fmla="*/ 0 w 126"/>
              <a:gd name="T77" fmla="*/ 5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17" name="Freeform 450">
            <a:extLst>
              <a:ext uri="{FF2B5EF4-FFF2-40B4-BE49-F238E27FC236}">
                <a16:creationId xmlns="" xmlns:a16="http://schemas.microsoft.com/office/drawing/2014/main" id="{42541C07-1DCA-4B42-A258-735899B81451}"/>
              </a:ext>
            </a:extLst>
          </p:cNvPr>
          <p:cNvSpPr>
            <a:spLocks/>
          </p:cNvSpPr>
          <p:nvPr>
            <p:custDataLst>
              <p:tags r:id="rId287"/>
            </p:custDataLst>
          </p:nvPr>
        </p:nvSpPr>
        <p:spPr bwMode="auto">
          <a:xfrm>
            <a:off x="1646008" y="4070750"/>
            <a:ext cx="363564" cy="541522"/>
          </a:xfrm>
          <a:custGeom>
            <a:avLst/>
            <a:gdLst>
              <a:gd name="T0" fmla="*/ 671 w 684"/>
              <a:gd name="T1" fmla="*/ 573 h 998"/>
              <a:gd name="T2" fmla="*/ 680 w 684"/>
              <a:gd name="T3" fmla="*/ 550 h 998"/>
              <a:gd name="T4" fmla="*/ 671 w 684"/>
              <a:gd name="T5" fmla="*/ 491 h 998"/>
              <a:gd name="T6" fmla="*/ 659 w 684"/>
              <a:gd name="T7" fmla="*/ 423 h 998"/>
              <a:gd name="T8" fmla="*/ 678 w 684"/>
              <a:gd name="T9" fmla="*/ 389 h 998"/>
              <a:gd name="T10" fmla="*/ 557 w 684"/>
              <a:gd name="T11" fmla="*/ 361 h 998"/>
              <a:gd name="T12" fmla="*/ 533 w 684"/>
              <a:gd name="T13" fmla="*/ 326 h 998"/>
              <a:gd name="T14" fmla="*/ 462 w 684"/>
              <a:gd name="T15" fmla="*/ 310 h 998"/>
              <a:gd name="T16" fmla="*/ 402 w 684"/>
              <a:gd name="T17" fmla="*/ 270 h 998"/>
              <a:gd name="T18" fmla="*/ 375 w 684"/>
              <a:gd name="T19" fmla="*/ 201 h 998"/>
              <a:gd name="T20" fmla="*/ 375 w 684"/>
              <a:gd name="T21" fmla="*/ 133 h 998"/>
              <a:gd name="T22" fmla="*/ 395 w 684"/>
              <a:gd name="T23" fmla="*/ 84 h 998"/>
              <a:gd name="T24" fmla="*/ 435 w 684"/>
              <a:gd name="T25" fmla="*/ 48 h 998"/>
              <a:gd name="T26" fmla="*/ 463 w 684"/>
              <a:gd name="T27" fmla="*/ 11 h 998"/>
              <a:gd name="T28" fmla="*/ 389 w 684"/>
              <a:gd name="T29" fmla="*/ 39 h 998"/>
              <a:gd name="T30" fmla="*/ 335 w 684"/>
              <a:gd name="T31" fmla="*/ 68 h 998"/>
              <a:gd name="T32" fmla="*/ 304 w 684"/>
              <a:gd name="T33" fmla="*/ 78 h 998"/>
              <a:gd name="T34" fmla="*/ 278 w 684"/>
              <a:gd name="T35" fmla="*/ 84 h 998"/>
              <a:gd name="T36" fmla="*/ 241 w 684"/>
              <a:gd name="T37" fmla="*/ 81 h 998"/>
              <a:gd name="T38" fmla="*/ 217 w 684"/>
              <a:gd name="T39" fmla="*/ 108 h 998"/>
              <a:gd name="T40" fmla="*/ 196 w 684"/>
              <a:gd name="T41" fmla="*/ 175 h 998"/>
              <a:gd name="T42" fmla="*/ 157 w 684"/>
              <a:gd name="T43" fmla="*/ 227 h 998"/>
              <a:gd name="T44" fmla="*/ 107 w 684"/>
              <a:gd name="T45" fmla="*/ 284 h 998"/>
              <a:gd name="T46" fmla="*/ 90 w 684"/>
              <a:gd name="T47" fmla="*/ 317 h 998"/>
              <a:gd name="T48" fmla="*/ 86 w 684"/>
              <a:gd name="T49" fmla="*/ 356 h 998"/>
              <a:gd name="T50" fmla="*/ 97 w 684"/>
              <a:gd name="T51" fmla="*/ 382 h 998"/>
              <a:gd name="T52" fmla="*/ 97 w 684"/>
              <a:gd name="T53" fmla="*/ 451 h 998"/>
              <a:gd name="T54" fmla="*/ 95 w 684"/>
              <a:gd name="T55" fmla="*/ 525 h 998"/>
              <a:gd name="T56" fmla="*/ 72 w 684"/>
              <a:gd name="T57" fmla="*/ 563 h 998"/>
              <a:gd name="T58" fmla="*/ 37 w 684"/>
              <a:gd name="T59" fmla="*/ 592 h 998"/>
              <a:gd name="T60" fmla="*/ 11 w 684"/>
              <a:gd name="T61" fmla="*/ 612 h 998"/>
              <a:gd name="T62" fmla="*/ 30 w 684"/>
              <a:gd name="T63" fmla="*/ 668 h 998"/>
              <a:gd name="T64" fmla="*/ 123 w 684"/>
              <a:gd name="T65" fmla="*/ 725 h 998"/>
              <a:gd name="T66" fmla="*/ 175 w 684"/>
              <a:gd name="T67" fmla="*/ 728 h 998"/>
              <a:gd name="T68" fmla="*/ 234 w 684"/>
              <a:gd name="T69" fmla="*/ 746 h 998"/>
              <a:gd name="T70" fmla="*/ 299 w 684"/>
              <a:gd name="T71" fmla="*/ 795 h 998"/>
              <a:gd name="T72" fmla="*/ 337 w 684"/>
              <a:gd name="T73" fmla="*/ 850 h 998"/>
              <a:gd name="T74" fmla="*/ 367 w 684"/>
              <a:gd name="T75" fmla="*/ 881 h 998"/>
              <a:gd name="T76" fmla="*/ 412 w 684"/>
              <a:gd name="T77" fmla="*/ 886 h 998"/>
              <a:gd name="T78" fmla="*/ 462 w 684"/>
              <a:gd name="T79" fmla="*/ 876 h 998"/>
              <a:gd name="T80" fmla="*/ 492 w 684"/>
              <a:gd name="T81" fmla="*/ 878 h 998"/>
              <a:gd name="T82" fmla="*/ 515 w 684"/>
              <a:gd name="T83" fmla="*/ 904 h 998"/>
              <a:gd name="T84" fmla="*/ 513 w 684"/>
              <a:gd name="T85" fmla="*/ 922 h 998"/>
              <a:gd name="T86" fmla="*/ 488 w 684"/>
              <a:gd name="T87" fmla="*/ 937 h 998"/>
              <a:gd name="T88" fmla="*/ 488 w 684"/>
              <a:gd name="T89" fmla="*/ 963 h 998"/>
              <a:gd name="T90" fmla="*/ 511 w 684"/>
              <a:gd name="T91" fmla="*/ 994 h 998"/>
              <a:gd name="T92" fmla="*/ 542 w 684"/>
              <a:gd name="T93" fmla="*/ 962 h 998"/>
              <a:gd name="T94" fmla="*/ 566 w 684"/>
              <a:gd name="T95" fmla="*/ 861 h 998"/>
              <a:gd name="T96" fmla="*/ 571 w 684"/>
              <a:gd name="T97" fmla="*/ 803 h 998"/>
              <a:gd name="T98" fmla="*/ 555 w 684"/>
              <a:gd name="T99" fmla="*/ 771 h 998"/>
              <a:gd name="T100" fmla="*/ 523 w 684"/>
              <a:gd name="T101" fmla="*/ 749 h 998"/>
              <a:gd name="T102" fmla="*/ 521 w 684"/>
              <a:gd name="T103" fmla="*/ 723 h 998"/>
              <a:gd name="T104" fmla="*/ 566 w 684"/>
              <a:gd name="T105" fmla="*/ 700 h 998"/>
              <a:gd name="T106" fmla="*/ 556 w 684"/>
              <a:gd name="T107" fmla="*/ 665 h 998"/>
              <a:gd name="T108" fmla="*/ 556 w 684"/>
              <a:gd name="T109" fmla="*/ 649 h 998"/>
              <a:gd name="T110" fmla="*/ 655 w 684"/>
              <a:gd name="T111" fmla="*/ 628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18" name="Freeform 451">
            <a:extLst>
              <a:ext uri="{FF2B5EF4-FFF2-40B4-BE49-F238E27FC236}">
                <a16:creationId xmlns="" xmlns:a16="http://schemas.microsoft.com/office/drawing/2014/main" id="{0B464E31-8E1D-428F-9C19-708556030328}"/>
              </a:ext>
            </a:extLst>
          </p:cNvPr>
          <p:cNvSpPr>
            <a:spLocks/>
          </p:cNvSpPr>
          <p:nvPr>
            <p:custDataLst>
              <p:tags r:id="rId288"/>
            </p:custDataLst>
          </p:nvPr>
        </p:nvSpPr>
        <p:spPr bwMode="auto">
          <a:xfrm>
            <a:off x="4390145" y="4348075"/>
            <a:ext cx="228194" cy="283889"/>
          </a:xfrm>
          <a:custGeom>
            <a:avLst/>
            <a:gdLst>
              <a:gd name="T0" fmla="*/ 429 w 429"/>
              <a:gd name="T1" fmla="*/ 22 h 524"/>
              <a:gd name="T2" fmla="*/ 428 w 429"/>
              <a:gd name="T3" fmla="*/ 43 h 524"/>
              <a:gd name="T4" fmla="*/ 424 w 429"/>
              <a:gd name="T5" fmla="*/ 54 h 524"/>
              <a:gd name="T6" fmla="*/ 415 w 429"/>
              <a:gd name="T7" fmla="*/ 67 h 524"/>
              <a:gd name="T8" fmla="*/ 413 w 429"/>
              <a:gd name="T9" fmla="*/ 81 h 524"/>
              <a:gd name="T10" fmla="*/ 414 w 429"/>
              <a:gd name="T11" fmla="*/ 160 h 524"/>
              <a:gd name="T12" fmla="*/ 408 w 429"/>
              <a:gd name="T13" fmla="*/ 207 h 524"/>
              <a:gd name="T14" fmla="*/ 396 w 429"/>
              <a:gd name="T15" fmla="*/ 241 h 524"/>
              <a:gd name="T16" fmla="*/ 372 w 429"/>
              <a:gd name="T17" fmla="*/ 278 h 524"/>
              <a:gd name="T18" fmla="*/ 338 w 429"/>
              <a:gd name="T19" fmla="*/ 309 h 524"/>
              <a:gd name="T20" fmla="*/ 319 w 429"/>
              <a:gd name="T21" fmla="*/ 333 h 524"/>
              <a:gd name="T22" fmla="*/ 312 w 429"/>
              <a:gd name="T23" fmla="*/ 412 h 524"/>
              <a:gd name="T24" fmla="*/ 304 w 429"/>
              <a:gd name="T25" fmla="*/ 439 h 524"/>
              <a:gd name="T26" fmla="*/ 290 w 429"/>
              <a:gd name="T27" fmla="*/ 448 h 524"/>
              <a:gd name="T28" fmla="*/ 269 w 429"/>
              <a:gd name="T29" fmla="*/ 455 h 524"/>
              <a:gd name="T30" fmla="*/ 253 w 429"/>
              <a:gd name="T31" fmla="*/ 472 h 524"/>
              <a:gd name="T32" fmla="*/ 234 w 429"/>
              <a:gd name="T33" fmla="*/ 500 h 524"/>
              <a:gd name="T34" fmla="*/ 223 w 429"/>
              <a:gd name="T35" fmla="*/ 505 h 524"/>
              <a:gd name="T36" fmla="*/ 201 w 429"/>
              <a:gd name="T37" fmla="*/ 504 h 524"/>
              <a:gd name="T38" fmla="*/ 189 w 429"/>
              <a:gd name="T39" fmla="*/ 498 h 524"/>
              <a:gd name="T40" fmla="*/ 145 w 429"/>
              <a:gd name="T41" fmla="*/ 500 h 524"/>
              <a:gd name="T42" fmla="*/ 123 w 429"/>
              <a:gd name="T43" fmla="*/ 500 h 524"/>
              <a:gd name="T44" fmla="*/ 113 w 429"/>
              <a:gd name="T45" fmla="*/ 494 h 524"/>
              <a:gd name="T46" fmla="*/ 95 w 429"/>
              <a:gd name="T47" fmla="*/ 493 h 524"/>
              <a:gd name="T48" fmla="*/ 78 w 429"/>
              <a:gd name="T49" fmla="*/ 502 h 524"/>
              <a:gd name="T50" fmla="*/ 62 w 429"/>
              <a:gd name="T51" fmla="*/ 519 h 524"/>
              <a:gd name="T52" fmla="*/ 27 w 429"/>
              <a:gd name="T53" fmla="*/ 491 h 524"/>
              <a:gd name="T54" fmla="*/ 6 w 429"/>
              <a:gd name="T55" fmla="*/ 447 h 524"/>
              <a:gd name="T56" fmla="*/ 25 w 429"/>
              <a:gd name="T57" fmla="*/ 430 h 524"/>
              <a:gd name="T58" fmla="*/ 42 w 429"/>
              <a:gd name="T59" fmla="*/ 424 h 524"/>
              <a:gd name="T60" fmla="*/ 61 w 429"/>
              <a:gd name="T61" fmla="*/ 428 h 524"/>
              <a:gd name="T62" fmla="*/ 58 w 429"/>
              <a:gd name="T63" fmla="*/ 418 h 524"/>
              <a:gd name="T64" fmla="*/ 45 w 429"/>
              <a:gd name="T65" fmla="*/ 386 h 524"/>
              <a:gd name="T66" fmla="*/ 47 w 429"/>
              <a:gd name="T67" fmla="*/ 366 h 524"/>
              <a:gd name="T68" fmla="*/ 57 w 429"/>
              <a:gd name="T69" fmla="*/ 356 h 524"/>
              <a:gd name="T70" fmla="*/ 71 w 429"/>
              <a:gd name="T71" fmla="*/ 352 h 524"/>
              <a:gd name="T72" fmla="*/ 89 w 429"/>
              <a:gd name="T73" fmla="*/ 337 h 524"/>
              <a:gd name="T74" fmla="*/ 104 w 429"/>
              <a:gd name="T75" fmla="*/ 333 h 524"/>
              <a:gd name="T76" fmla="*/ 115 w 429"/>
              <a:gd name="T77" fmla="*/ 342 h 524"/>
              <a:gd name="T78" fmla="*/ 135 w 429"/>
              <a:gd name="T79" fmla="*/ 359 h 524"/>
              <a:gd name="T80" fmla="*/ 154 w 429"/>
              <a:gd name="T81" fmla="*/ 351 h 524"/>
              <a:gd name="T82" fmla="*/ 181 w 429"/>
              <a:gd name="T83" fmla="*/ 353 h 524"/>
              <a:gd name="T84" fmla="*/ 199 w 429"/>
              <a:gd name="T85" fmla="*/ 340 h 524"/>
              <a:gd name="T86" fmla="*/ 210 w 429"/>
              <a:gd name="T87" fmla="*/ 315 h 524"/>
              <a:gd name="T88" fmla="*/ 213 w 429"/>
              <a:gd name="T89" fmla="*/ 290 h 524"/>
              <a:gd name="T90" fmla="*/ 215 w 429"/>
              <a:gd name="T91" fmla="*/ 269 h 524"/>
              <a:gd name="T92" fmla="*/ 201 w 429"/>
              <a:gd name="T93" fmla="*/ 236 h 524"/>
              <a:gd name="T94" fmla="*/ 188 w 429"/>
              <a:gd name="T95" fmla="*/ 203 h 524"/>
              <a:gd name="T96" fmla="*/ 207 w 429"/>
              <a:gd name="T97" fmla="*/ 177 h 524"/>
              <a:gd name="T98" fmla="*/ 210 w 429"/>
              <a:gd name="T99" fmla="*/ 164 h 524"/>
              <a:gd name="T100" fmla="*/ 200 w 429"/>
              <a:gd name="T101" fmla="*/ 155 h 524"/>
              <a:gd name="T102" fmla="*/ 197 w 429"/>
              <a:gd name="T103" fmla="*/ 137 h 524"/>
              <a:gd name="T104" fmla="*/ 188 w 429"/>
              <a:gd name="T105" fmla="*/ 129 h 524"/>
              <a:gd name="T106" fmla="*/ 161 w 429"/>
              <a:gd name="T107" fmla="*/ 132 h 524"/>
              <a:gd name="T108" fmla="*/ 137 w 429"/>
              <a:gd name="T109" fmla="*/ 131 h 524"/>
              <a:gd name="T110" fmla="*/ 125 w 429"/>
              <a:gd name="T111" fmla="*/ 119 h 524"/>
              <a:gd name="T112" fmla="*/ 123 w 429"/>
              <a:gd name="T113" fmla="*/ 103 h 524"/>
              <a:gd name="T114" fmla="*/ 132 w 429"/>
              <a:gd name="T115" fmla="*/ 76 h 524"/>
              <a:gd name="T116" fmla="*/ 306 w 429"/>
              <a:gd name="T117" fmla="*/ 38 h 524"/>
              <a:gd name="T118" fmla="*/ 323 w 429"/>
              <a:gd name="T119" fmla="*/ 17 h 524"/>
              <a:gd name="T120" fmla="*/ 343 w 429"/>
              <a:gd name="T121" fmla="*/ 7 h 524"/>
              <a:gd name="T122" fmla="*/ 374 w 429"/>
              <a:gd name="T123" fmla="*/ 5 h 524"/>
              <a:gd name="T124" fmla="*/ 408 w 429"/>
              <a:gd name="T125" fmla="*/ 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19" name="Freeform 452">
            <a:extLst>
              <a:ext uri="{FF2B5EF4-FFF2-40B4-BE49-F238E27FC236}">
                <a16:creationId xmlns="" xmlns:a16="http://schemas.microsoft.com/office/drawing/2014/main" id="{1121D5E1-D75B-4956-9E0D-7F662D6A9014}"/>
              </a:ext>
            </a:extLst>
          </p:cNvPr>
          <p:cNvSpPr>
            <a:spLocks/>
          </p:cNvSpPr>
          <p:nvPr>
            <p:custDataLst>
              <p:tags r:id="rId289"/>
            </p:custDataLst>
          </p:nvPr>
        </p:nvSpPr>
        <p:spPr bwMode="auto">
          <a:xfrm>
            <a:off x="4428822" y="2945041"/>
            <a:ext cx="154708" cy="118150"/>
          </a:xfrm>
          <a:custGeom>
            <a:avLst/>
            <a:gdLst>
              <a:gd name="T0" fmla="*/ 259 w 292"/>
              <a:gd name="T1" fmla="*/ 93 h 223"/>
              <a:gd name="T2" fmla="*/ 166 w 292"/>
              <a:gd name="T3" fmla="*/ 77 h 223"/>
              <a:gd name="T4" fmla="*/ 152 w 292"/>
              <a:gd name="T5" fmla="*/ 79 h 223"/>
              <a:gd name="T6" fmla="*/ 139 w 292"/>
              <a:gd name="T7" fmla="*/ 79 h 223"/>
              <a:gd name="T8" fmla="*/ 126 w 292"/>
              <a:gd name="T9" fmla="*/ 77 h 223"/>
              <a:gd name="T10" fmla="*/ 119 w 292"/>
              <a:gd name="T11" fmla="*/ 93 h 223"/>
              <a:gd name="T12" fmla="*/ 144 w 292"/>
              <a:gd name="T13" fmla="*/ 131 h 223"/>
              <a:gd name="T14" fmla="*/ 168 w 292"/>
              <a:gd name="T15" fmla="*/ 157 h 223"/>
              <a:gd name="T16" fmla="*/ 189 w 292"/>
              <a:gd name="T17" fmla="*/ 185 h 223"/>
              <a:gd name="T18" fmla="*/ 197 w 292"/>
              <a:gd name="T19" fmla="*/ 202 h 223"/>
              <a:gd name="T20" fmla="*/ 205 w 292"/>
              <a:gd name="T21" fmla="*/ 222 h 223"/>
              <a:gd name="T22" fmla="*/ 175 w 292"/>
              <a:gd name="T23" fmla="*/ 223 h 223"/>
              <a:gd name="T24" fmla="*/ 161 w 292"/>
              <a:gd name="T25" fmla="*/ 222 h 223"/>
              <a:gd name="T26" fmla="*/ 146 w 292"/>
              <a:gd name="T27" fmla="*/ 216 h 223"/>
              <a:gd name="T28" fmla="*/ 134 w 292"/>
              <a:gd name="T29" fmla="*/ 209 h 223"/>
              <a:gd name="T30" fmla="*/ 127 w 292"/>
              <a:gd name="T31" fmla="*/ 198 h 223"/>
              <a:gd name="T32" fmla="*/ 121 w 292"/>
              <a:gd name="T33" fmla="*/ 187 h 223"/>
              <a:gd name="T34" fmla="*/ 113 w 292"/>
              <a:gd name="T35" fmla="*/ 180 h 223"/>
              <a:gd name="T36" fmla="*/ 91 w 292"/>
              <a:gd name="T37" fmla="*/ 145 h 223"/>
              <a:gd name="T38" fmla="*/ 68 w 292"/>
              <a:gd name="T39" fmla="*/ 113 h 223"/>
              <a:gd name="T40" fmla="*/ 55 w 292"/>
              <a:gd name="T41" fmla="*/ 99 h 223"/>
              <a:gd name="T42" fmla="*/ 42 w 292"/>
              <a:gd name="T43" fmla="*/ 87 h 223"/>
              <a:gd name="T44" fmla="*/ 27 w 292"/>
              <a:gd name="T45" fmla="*/ 79 h 223"/>
              <a:gd name="T46" fmla="*/ 13 w 292"/>
              <a:gd name="T47" fmla="*/ 75 h 223"/>
              <a:gd name="T48" fmla="*/ 4 w 292"/>
              <a:gd name="T49" fmla="*/ 65 h 223"/>
              <a:gd name="T50" fmla="*/ 1 w 292"/>
              <a:gd name="T51" fmla="*/ 58 h 223"/>
              <a:gd name="T52" fmla="*/ 0 w 292"/>
              <a:gd name="T53" fmla="*/ 49 h 223"/>
              <a:gd name="T54" fmla="*/ 40 w 292"/>
              <a:gd name="T55" fmla="*/ 55 h 223"/>
              <a:gd name="T56" fmla="*/ 70 w 292"/>
              <a:gd name="T57" fmla="*/ 55 h 223"/>
              <a:gd name="T58" fmla="*/ 91 w 292"/>
              <a:gd name="T59" fmla="*/ 50 h 223"/>
              <a:gd name="T60" fmla="*/ 106 w 292"/>
              <a:gd name="T61" fmla="*/ 41 h 223"/>
              <a:gd name="T62" fmla="*/ 127 w 292"/>
              <a:gd name="T63" fmla="*/ 20 h 223"/>
              <a:gd name="T64" fmla="*/ 138 w 292"/>
              <a:gd name="T65" fmla="*/ 9 h 223"/>
              <a:gd name="T66" fmla="*/ 152 w 292"/>
              <a:gd name="T67" fmla="*/ 0 h 223"/>
              <a:gd name="T68" fmla="*/ 172 w 292"/>
              <a:gd name="T69" fmla="*/ 14 h 223"/>
              <a:gd name="T70" fmla="*/ 194 w 292"/>
              <a:gd name="T71" fmla="*/ 26 h 223"/>
              <a:gd name="T72" fmla="*/ 218 w 292"/>
              <a:gd name="T73" fmla="*/ 34 h 223"/>
              <a:gd name="T74" fmla="*/ 246 w 292"/>
              <a:gd name="T75" fmla="*/ 37 h 223"/>
              <a:gd name="T76" fmla="*/ 262 w 292"/>
              <a:gd name="T77" fmla="*/ 34 h 223"/>
              <a:gd name="T78" fmla="*/ 279 w 292"/>
              <a:gd name="T79" fmla="*/ 31 h 223"/>
              <a:gd name="T80" fmla="*/ 285 w 292"/>
              <a:gd name="T81" fmla="*/ 47 h 223"/>
              <a:gd name="T82" fmla="*/ 287 w 292"/>
              <a:gd name="T83" fmla="*/ 49 h 223"/>
              <a:gd name="T84" fmla="*/ 292 w 292"/>
              <a:gd name="T85" fmla="*/ 69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7" y="49"/>
                </a:lnTo>
                <a:lnTo>
                  <a:pt x="289" y="52"/>
                </a:lnTo>
                <a:lnTo>
                  <a:pt x="292" y="69"/>
                </a:lnTo>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000" b="1" dirty="0"/>
          </a:p>
        </p:txBody>
      </p:sp>
      <p:sp>
        <p:nvSpPr>
          <p:cNvPr id="420" name="Freeform 453">
            <a:extLst>
              <a:ext uri="{FF2B5EF4-FFF2-40B4-BE49-F238E27FC236}">
                <a16:creationId xmlns="" xmlns:a16="http://schemas.microsoft.com/office/drawing/2014/main" id="{D66CE14E-CAF1-4B07-AD67-C4D330D6767E}"/>
              </a:ext>
            </a:extLst>
          </p:cNvPr>
          <p:cNvSpPr>
            <a:spLocks/>
          </p:cNvSpPr>
          <p:nvPr>
            <p:custDataLst>
              <p:tags r:id="rId290"/>
            </p:custDataLst>
          </p:nvPr>
        </p:nvSpPr>
        <p:spPr bwMode="auto">
          <a:xfrm>
            <a:off x="4368873" y="2798994"/>
            <a:ext cx="204988" cy="80408"/>
          </a:xfrm>
          <a:custGeom>
            <a:avLst/>
            <a:gdLst>
              <a:gd name="T0" fmla="*/ 375 w 379"/>
              <a:gd name="T1" fmla="*/ 94 h 147"/>
              <a:gd name="T2" fmla="*/ 360 w 379"/>
              <a:gd name="T3" fmla="*/ 101 h 147"/>
              <a:gd name="T4" fmla="*/ 354 w 379"/>
              <a:gd name="T5" fmla="*/ 108 h 147"/>
              <a:gd name="T6" fmla="*/ 347 w 379"/>
              <a:gd name="T7" fmla="*/ 117 h 147"/>
              <a:gd name="T8" fmla="*/ 333 w 379"/>
              <a:gd name="T9" fmla="*/ 127 h 147"/>
              <a:gd name="T10" fmla="*/ 320 w 379"/>
              <a:gd name="T11" fmla="*/ 131 h 147"/>
              <a:gd name="T12" fmla="*/ 311 w 379"/>
              <a:gd name="T13" fmla="*/ 132 h 147"/>
              <a:gd name="T14" fmla="*/ 301 w 379"/>
              <a:gd name="T15" fmla="*/ 130 h 147"/>
              <a:gd name="T16" fmla="*/ 291 w 379"/>
              <a:gd name="T17" fmla="*/ 126 h 147"/>
              <a:gd name="T18" fmla="*/ 281 w 379"/>
              <a:gd name="T19" fmla="*/ 119 h 147"/>
              <a:gd name="T20" fmla="*/ 275 w 379"/>
              <a:gd name="T21" fmla="*/ 116 h 147"/>
              <a:gd name="T22" fmla="*/ 269 w 379"/>
              <a:gd name="T23" fmla="*/ 118 h 147"/>
              <a:gd name="T24" fmla="*/ 267 w 379"/>
              <a:gd name="T25" fmla="*/ 123 h 147"/>
              <a:gd name="T26" fmla="*/ 266 w 379"/>
              <a:gd name="T27" fmla="*/ 140 h 147"/>
              <a:gd name="T28" fmla="*/ 257 w 379"/>
              <a:gd name="T29" fmla="*/ 145 h 147"/>
              <a:gd name="T30" fmla="*/ 244 w 379"/>
              <a:gd name="T31" fmla="*/ 140 h 147"/>
              <a:gd name="T32" fmla="*/ 229 w 379"/>
              <a:gd name="T33" fmla="*/ 131 h 147"/>
              <a:gd name="T34" fmla="*/ 113 w 379"/>
              <a:gd name="T35" fmla="*/ 141 h 147"/>
              <a:gd name="T36" fmla="*/ 80 w 379"/>
              <a:gd name="T37" fmla="*/ 124 h 147"/>
              <a:gd name="T38" fmla="*/ 58 w 379"/>
              <a:gd name="T39" fmla="*/ 109 h 147"/>
              <a:gd name="T40" fmla="*/ 45 w 379"/>
              <a:gd name="T41" fmla="*/ 94 h 147"/>
              <a:gd name="T42" fmla="*/ 37 w 379"/>
              <a:gd name="T43" fmla="*/ 82 h 147"/>
              <a:gd name="T44" fmla="*/ 26 w 379"/>
              <a:gd name="T45" fmla="*/ 59 h 147"/>
              <a:gd name="T46" fmla="*/ 16 w 379"/>
              <a:gd name="T47" fmla="*/ 48 h 147"/>
              <a:gd name="T48" fmla="*/ 0 w 379"/>
              <a:gd name="T49" fmla="*/ 36 h 147"/>
              <a:gd name="T50" fmla="*/ 29 w 379"/>
              <a:gd name="T51" fmla="*/ 40 h 147"/>
              <a:gd name="T52" fmla="*/ 52 w 379"/>
              <a:gd name="T53" fmla="*/ 38 h 147"/>
              <a:gd name="T54" fmla="*/ 72 w 379"/>
              <a:gd name="T55" fmla="*/ 33 h 147"/>
              <a:gd name="T56" fmla="*/ 87 w 379"/>
              <a:gd name="T57" fmla="*/ 25 h 147"/>
              <a:gd name="T58" fmla="*/ 119 w 379"/>
              <a:gd name="T59" fmla="*/ 8 h 147"/>
              <a:gd name="T60" fmla="*/ 138 w 379"/>
              <a:gd name="T61" fmla="*/ 2 h 147"/>
              <a:gd name="T62" fmla="*/ 159 w 379"/>
              <a:gd name="T63" fmla="*/ 0 h 147"/>
              <a:gd name="T64" fmla="*/ 200 w 379"/>
              <a:gd name="T65" fmla="*/ 23 h 147"/>
              <a:gd name="T66" fmla="*/ 244 w 379"/>
              <a:gd name="T67" fmla="*/ 45 h 147"/>
              <a:gd name="T68" fmla="*/ 292 w 379"/>
              <a:gd name="T69" fmla="*/ 67 h 147"/>
              <a:gd name="T70" fmla="*/ 333 w 379"/>
              <a:gd name="T71" fmla="*/ 80 h 147"/>
              <a:gd name="T72" fmla="*/ 354 w 379"/>
              <a:gd name="T73" fmla="*/ 86 h 147"/>
              <a:gd name="T74" fmla="*/ 379 w 379"/>
              <a:gd name="T75" fmla="*/ 9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21" name="Freeform 454">
            <a:extLst>
              <a:ext uri="{FF2B5EF4-FFF2-40B4-BE49-F238E27FC236}">
                <a16:creationId xmlns="" xmlns:a16="http://schemas.microsoft.com/office/drawing/2014/main" id="{642E02BC-2F31-40F1-BCAF-2BCE93C395BF}"/>
              </a:ext>
            </a:extLst>
          </p:cNvPr>
          <p:cNvSpPr>
            <a:spLocks/>
          </p:cNvSpPr>
          <p:nvPr>
            <p:custDataLst>
              <p:tags r:id="rId291"/>
            </p:custDataLst>
          </p:nvPr>
        </p:nvSpPr>
        <p:spPr bwMode="auto">
          <a:xfrm>
            <a:off x="4324394" y="2649665"/>
            <a:ext cx="36742" cy="62357"/>
          </a:xfrm>
          <a:custGeom>
            <a:avLst/>
            <a:gdLst>
              <a:gd name="T0" fmla="*/ 0 w 61"/>
              <a:gd name="T1" fmla="*/ 0 h 67"/>
              <a:gd name="T2" fmla="*/ 0 w 61"/>
              <a:gd name="T3" fmla="*/ 9 h 67"/>
              <a:gd name="T4" fmla="*/ 0 w 61"/>
              <a:gd name="T5" fmla="*/ 18 h 67"/>
              <a:gd name="T6" fmla="*/ 1 w 61"/>
              <a:gd name="T7" fmla="*/ 24 h 67"/>
              <a:gd name="T8" fmla="*/ 2 w 61"/>
              <a:gd name="T9" fmla="*/ 30 h 67"/>
              <a:gd name="T10" fmla="*/ 3 w 61"/>
              <a:gd name="T11" fmla="*/ 36 h 67"/>
              <a:gd name="T12" fmla="*/ 6 w 61"/>
              <a:gd name="T13" fmla="*/ 42 h 67"/>
              <a:gd name="T14" fmla="*/ 12 w 61"/>
              <a:gd name="T15" fmla="*/ 55 h 67"/>
              <a:gd name="T16" fmla="*/ 21 w 61"/>
              <a:gd name="T17" fmla="*/ 67 h 67"/>
              <a:gd name="T18" fmla="*/ 28 w 61"/>
              <a:gd name="T19" fmla="*/ 65 h 67"/>
              <a:gd name="T20" fmla="*/ 35 w 61"/>
              <a:gd name="T21" fmla="*/ 61 h 67"/>
              <a:gd name="T22" fmla="*/ 42 w 61"/>
              <a:gd name="T23" fmla="*/ 58 h 67"/>
              <a:gd name="T24" fmla="*/ 48 w 61"/>
              <a:gd name="T25" fmla="*/ 53 h 67"/>
              <a:gd name="T26" fmla="*/ 53 w 61"/>
              <a:gd name="T27" fmla="*/ 47 h 67"/>
              <a:gd name="T28" fmla="*/ 57 w 61"/>
              <a:gd name="T29" fmla="*/ 40 h 67"/>
              <a:gd name="T30" fmla="*/ 59 w 61"/>
              <a:gd name="T31" fmla="*/ 32 h 67"/>
              <a:gd name="T32" fmla="*/ 61 w 61"/>
              <a:gd name="T33" fmla="*/ 24 h 67"/>
              <a:gd name="T34" fmla="*/ 53 w 61"/>
              <a:gd name="T35" fmla="*/ 14 h 67"/>
              <a:gd name="T36" fmla="*/ 41 w 61"/>
              <a:gd name="T37" fmla="*/ 0 h 67"/>
              <a:gd name="T38" fmla="*/ 28 w 61"/>
              <a:gd name="T39" fmla="*/ 3 h 67"/>
              <a:gd name="T40" fmla="*/ 18 w 61"/>
              <a:gd name="T41" fmla="*/ 4 h 67"/>
              <a:gd name="T42" fmla="*/ 13 w 61"/>
              <a:gd name="T43" fmla="*/ 4 h 67"/>
              <a:gd name="T44" fmla="*/ 10 w 61"/>
              <a:gd name="T45" fmla="*/ 3 h 67"/>
              <a:gd name="T46" fmla="*/ 6 w 61"/>
              <a:gd name="T47" fmla="*/ 2 h 67"/>
              <a:gd name="T48" fmla="*/ 0 w 61"/>
              <a:gd name="T4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22" name="Freeform 455">
            <a:extLst>
              <a:ext uri="{FF2B5EF4-FFF2-40B4-BE49-F238E27FC236}">
                <a16:creationId xmlns="" xmlns:a16="http://schemas.microsoft.com/office/drawing/2014/main" id="{18466C8C-38C8-4421-8015-310A50CB35C1}"/>
              </a:ext>
            </a:extLst>
          </p:cNvPr>
          <p:cNvSpPr>
            <a:spLocks/>
          </p:cNvSpPr>
          <p:nvPr>
            <p:custDataLst>
              <p:tags r:id="rId292"/>
            </p:custDataLst>
          </p:nvPr>
        </p:nvSpPr>
        <p:spPr bwMode="auto">
          <a:xfrm>
            <a:off x="4289585" y="2654588"/>
            <a:ext cx="30942" cy="60716"/>
          </a:xfrm>
          <a:custGeom>
            <a:avLst/>
            <a:gdLst>
              <a:gd name="T0" fmla="*/ 0 w 60"/>
              <a:gd name="T1" fmla="*/ 6 h 55"/>
              <a:gd name="T2" fmla="*/ 0 w 60"/>
              <a:gd name="T3" fmla="*/ 24 h 55"/>
              <a:gd name="T4" fmla="*/ 5 w 60"/>
              <a:gd name="T5" fmla="*/ 32 h 55"/>
              <a:gd name="T6" fmla="*/ 10 w 60"/>
              <a:gd name="T7" fmla="*/ 40 h 55"/>
              <a:gd name="T8" fmla="*/ 16 w 60"/>
              <a:gd name="T9" fmla="*/ 45 h 55"/>
              <a:gd name="T10" fmla="*/ 21 w 60"/>
              <a:gd name="T11" fmla="*/ 49 h 55"/>
              <a:gd name="T12" fmla="*/ 27 w 60"/>
              <a:gd name="T13" fmla="*/ 52 h 55"/>
              <a:gd name="T14" fmla="*/ 33 w 60"/>
              <a:gd name="T15" fmla="*/ 54 h 55"/>
              <a:gd name="T16" fmla="*/ 40 w 60"/>
              <a:gd name="T17" fmla="*/ 55 h 55"/>
              <a:gd name="T18" fmla="*/ 46 w 60"/>
              <a:gd name="T19" fmla="*/ 55 h 55"/>
              <a:gd name="T20" fmla="*/ 53 w 60"/>
              <a:gd name="T21" fmla="*/ 52 h 55"/>
              <a:gd name="T22" fmla="*/ 60 w 60"/>
              <a:gd name="T23" fmla="*/ 49 h 55"/>
              <a:gd name="T24" fmla="*/ 50 w 60"/>
              <a:gd name="T25" fmla="*/ 34 h 55"/>
              <a:gd name="T26" fmla="*/ 42 w 60"/>
              <a:gd name="T27" fmla="*/ 22 h 55"/>
              <a:gd name="T28" fmla="*/ 39 w 60"/>
              <a:gd name="T29" fmla="*/ 17 h 55"/>
              <a:gd name="T30" fmla="*/ 35 w 60"/>
              <a:gd name="T31" fmla="*/ 12 h 55"/>
              <a:gd name="T32" fmla="*/ 34 w 60"/>
              <a:gd name="T33" fmla="*/ 6 h 55"/>
              <a:gd name="T34" fmla="*/ 33 w 60"/>
              <a:gd name="T35" fmla="*/ 0 h 55"/>
              <a:gd name="T36" fmla="*/ 23 w 60"/>
              <a:gd name="T37" fmla="*/ 1 h 55"/>
              <a:gd name="T38" fmla="*/ 15 w 60"/>
              <a:gd name="T39" fmla="*/ 3 h 55"/>
              <a:gd name="T40" fmla="*/ 7 w 60"/>
              <a:gd name="T41" fmla="*/ 5 h 55"/>
              <a:gd name="T42" fmla="*/ 0 w 60"/>
              <a:gd name="T43" fmla="*/ 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23" name="Freeform 456">
            <a:extLst>
              <a:ext uri="{FF2B5EF4-FFF2-40B4-BE49-F238E27FC236}">
                <a16:creationId xmlns="" xmlns:a16="http://schemas.microsoft.com/office/drawing/2014/main" id="{C36395FC-8FDF-4DD7-83FB-1CC2DD6EE302}"/>
              </a:ext>
            </a:extLst>
          </p:cNvPr>
          <p:cNvSpPr>
            <a:spLocks/>
          </p:cNvSpPr>
          <p:nvPr>
            <p:custDataLst>
              <p:tags r:id="rId293"/>
            </p:custDataLst>
          </p:nvPr>
        </p:nvSpPr>
        <p:spPr bwMode="auto">
          <a:xfrm>
            <a:off x="4252841" y="2598795"/>
            <a:ext cx="63818" cy="80408"/>
          </a:xfrm>
          <a:custGeom>
            <a:avLst/>
            <a:gdLst>
              <a:gd name="T0" fmla="*/ 74 w 120"/>
              <a:gd name="T1" fmla="*/ 129 h 148"/>
              <a:gd name="T2" fmla="*/ 70 w 120"/>
              <a:gd name="T3" fmla="*/ 131 h 148"/>
              <a:gd name="T4" fmla="*/ 67 w 120"/>
              <a:gd name="T5" fmla="*/ 132 h 148"/>
              <a:gd name="T6" fmla="*/ 64 w 120"/>
              <a:gd name="T7" fmla="*/ 133 h 148"/>
              <a:gd name="T8" fmla="*/ 60 w 120"/>
              <a:gd name="T9" fmla="*/ 133 h 148"/>
              <a:gd name="T10" fmla="*/ 56 w 120"/>
              <a:gd name="T11" fmla="*/ 133 h 148"/>
              <a:gd name="T12" fmla="*/ 53 w 120"/>
              <a:gd name="T13" fmla="*/ 132 h 148"/>
              <a:gd name="T14" fmla="*/ 50 w 120"/>
              <a:gd name="T15" fmla="*/ 131 h 148"/>
              <a:gd name="T16" fmla="*/ 47 w 120"/>
              <a:gd name="T17" fmla="*/ 129 h 148"/>
              <a:gd name="T18" fmla="*/ 41 w 120"/>
              <a:gd name="T19" fmla="*/ 128 h 148"/>
              <a:gd name="T20" fmla="*/ 34 w 120"/>
              <a:gd name="T21" fmla="*/ 125 h 148"/>
              <a:gd name="T22" fmla="*/ 26 w 120"/>
              <a:gd name="T23" fmla="*/ 120 h 148"/>
              <a:gd name="T24" fmla="*/ 19 w 120"/>
              <a:gd name="T25" fmla="*/ 115 h 148"/>
              <a:gd name="T26" fmla="*/ 11 w 120"/>
              <a:gd name="T27" fmla="*/ 108 h 148"/>
              <a:gd name="T28" fmla="*/ 6 w 120"/>
              <a:gd name="T29" fmla="*/ 101 h 148"/>
              <a:gd name="T30" fmla="*/ 3 w 120"/>
              <a:gd name="T31" fmla="*/ 97 h 148"/>
              <a:gd name="T32" fmla="*/ 2 w 120"/>
              <a:gd name="T33" fmla="*/ 94 h 148"/>
              <a:gd name="T34" fmla="*/ 1 w 120"/>
              <a:gd name="T35" fmla="*/ 90 h 148"/>
              <a:gd name="T36" fmla="*/ 0 w 120"/>
              <a:gd name="T37" fmla="*/ 87 h 148"/>
              <a:gd name="T38" fmla="*/ 2 w 120"/>
              <a:gd name="T39" fmla="*/ 73 h 148"/>
              <a:gd name="T40" fmla="*/ 8 w 120"/>
              <a:gd name="T41" fmla="*/ 55 h 148"/>
              <a:gd name="T42" fmla="*/ 14 w 120"/>
              <a:gd name="T43" fmla="*/ 35 h 148"/>
              <a:gd name="T44" fmla="*/ 20 w 120"/>
              <a:gd name="T45" fmla="*/ 18 h 148"/>
              <a:gd name="T46" fmla="*/ 32 w 120"/>
              <a:gd name="T47" fmla="*/ 17 h 148"/>
              <a:gd name="T48" fmla="*/ 42 w 120"/>
              <a:gd name="T49" fmla="*/ 16 h 148"/>
              <a:gd name="T50" fmla="*/ 51 w 120"/>
              <a:gd name="T51" fmla="*/ 14 h 148"/>
              <a:gd name="T52" fmla="*/ 58 w 120"/>
              <a:gd name="T53" fmla="*/ 11 h 148"/>
              <a:gd name="T54" fmla="*/ 70 w 120"/>
              <a:gd name="T55" fmla="*/ 5 h 148"/>
              <a:gd name="T56" fmla="*/ 80 w 120"/>
              <a:gd name="T57" fmla="*/ 0 h 148"/>
              <a:gd name="T58" fmla="*/ 85 w 120"/>
              <a:gd name="T59" fmla="*/ 2 h 148"/>
              <a:gd name="T60" fmla="*/ 93 w 120"/>
              <a:gd name="T61" fmla="*/ 7 h 148"/>
              <a:gd name="T62" fmla="*/ 98 w 120"/>
              <a:gd name="T63" fmla="*/ 10 h 148"/>
              <a:gd name="T64" fmla="*/ 102 w 120"/>
              <a:gd name="T65" fmla="*/ 13 h 148"/>
              <a:gd name="T66" fmla="*/ 106 w 120"/>
              <a:gd name="T67" fmla="*/ 16 h 148"/>
              <a:gd name="T68" fmla="*/ 107 w 120"/>
              <a:gd name="T69" fmla="*/ 18 h 148"/>
              <a:gd name="T70" fmla="*/ 100 w 120"/>
              <a:gd name="T71" fmla="*/ 28 h 148"/>
              <a:gd name="T72" fmla="*/ 93 w 120"/>
              <a:gd name="T73" fmla="*/ 37 h 148"/>
              <a:gd name="T74" fmla="*/ 95 w 120"/>
              <a:gd name="T75" fmla="*/ 42 h 148"/>
              <a:gd name="T76" fmla="*/ 98 w 120"/>
              <a:gd name="T77" fmla="*/ 49 h 148"/>
              <a:gd name="T78" fmla="*/ 102 w 120"/>
              <a:gd name="T79" fmla="*/ 56 h 148"/>
              <a:gd name="T80" fmla="*/ 107 w 120"/>
              <a:gd name="T81" fmla="*/ 63 h 148"/>
              <a:gd name="T82" fmla="*/ 115 w 120"/>
              <a:gd name="T83" fmla="*/ 75 h 148"/>
              <a:gd name="T84" fmla="*/ 120 w 120"/>
              <a:gd name="T85" fmla="*/ 79 h 148"/>
              <a:gd name="T86" fmla="*/ 113 w 120"/>
              <a:gd name="T87" fmla="*/ 81 h 148"/>
              <a:gd name="T88" fmla="*/ 107 w 120"/>
              <a:gd name="T89" fmla="*/ 84 h 148"/>
              <a:gd name="T90" fmla="*/ 100 w 120"/>
              <a:gd name="T91" fmla="*/ 87 h 148"/>
              <a:gd name="T92" fmla="*/ 96 w 120"/>
              <a:gd name="T93" fmla="*/ 91 h 148"/>
              <a:gd name="T94" fmla="*/ 90 w 120"/>
              <a:gd name="T95" fmla="*/ 95 h 148"/>
              <a:gd name="T96" fmla="*/ 87 w 120"/>
              <a:gd name="T97" fmla="*/ 99 h 148"/>
              <a:gd name="T98" fmla="*/ 82 w 120"/>
              <a:gd name="T99" fmla="*/ 104 h 148"/>
              <a:gd name="T100" fmla="*/ 80 w 120"/>
              <a:gd name="T101" fmla="*/ 109 h 148"/>
              <a:gd name="T102" fmla="*/ 78 w 120"/>
              <a:gd name="T103" fmla="*/ 114 h 148"/>
              <a:gd name="T104" fmla="*/ 77 w 120"/>
              <a:gd name="T105" fmla="*/ 120 h 148"/>
              <a:gd name="T106" fmla="*/ 76 w 120"/>
              <a:gd name="T107" fmla="*/ 125 h 148"/>
              <a:gd name="T108" fmla="*/ 75 w 120"/>
              <a:gd name="T109" fmla="*/ 130 h 148"/>
              <a:gd name="T110" fmla="*/ 76 w 120"/>
              <a:gd name="T111" fmla="*/ 135 h 148"/>
              <a:gd name="T112" fmla="*/ 77 w 120"/>
              <a:gd name="T113" fmla="*/ 140 h 148"/>
              <a:gd name="T114" fmla="*/ 78 w 120"/>
              <a:gd name="T115" fmla="*/ 144 h 148"/>
              <a:gd name="T116" fmla="*/ 80 w 120"/>
              <a:gd name="T117" fmla="*/ 148 h 148"/>
              <a:gd name="T118" fmla="*/ 74 w 120"/>
              <a:gd name="T119" fmla="*/ 129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24" name="Freeform 457">
            <a:extLst>
              <a:ext uri="{FF2B5EF4-FFF2-40B4-BE49-F238E27FC236}">
                <a16:creationId xmlns="" xmlns:a16="http://schemas.microsoft.com/office/drawing/2014/main" id="{CAD0B71D-E072-4FD6-AB71-C104231E4284}"/>
              </a:ext>
            </a:extLst>
          </p:cNvPr>
          <p:cNvSpPr>
            <a:spLocks/>
          </p:cNvSpPr>
          <p:nvPr>
            <p:custDataLst>
              <p:tags r:id="rId294"/>
            </p:custDataLst>
          </p:nvPr>
        </p:nvSpPr>
        <p:spPr bwMode="auto">
          <a:xfrm>
            <a:off x="4778849" y="3430769"/>
            <a:ext cx="332623" cy="318349"/>
          </a:xfrm>
          <a:custGeom>
            <a:avLst/>
            <a:gdLst>
              <a:gd name="T0" fmla="*/ 21 w 631"/>
              <a:gd name="T1" fmla="*/ 2 h 592"/>
              <a:gd name="T2" fmla="*/ 32 w 631"/>
              <a:gd name="T3" fmla="*/ 4 h 592"/>
              <a:gd name="T4" fmla="*/ 54 w 631"/>
              <a:gd name="T5" fmla="*/ 8 h 592"/>
              <a:gd name="T6" fmla="*/ 78 w 631"/>
              <a:gd name="T7" fmla="*/ 11 h 592"/>
              <a:gd name="T8" fmla="*/ 104 w 631"/>
              <a:gd name="T9" fmla="*/ 19 h 592"/>
              <a:gd name="T10" fmla="*/ 130 w 631"/>
              <a:gd name="T11" fmla="*/ 32 h 592"/>
              <a:gd name="T12" fmla="*/ 146 w 631"/>
              <a:gd name="T13" fmla="*/ 40 h 592"/>
              <a:gd name="T14" fmla="*/ 159 w 631"/>
              <a:gd name="T15" fmla="*/ 43 h 592"/>
              <a:gd name="T16" fmla="*/ 189 w 631"/>
              <a:gd name="T17" fmla="*/ 43 h 592"/>
              <a:gd name="T18" fmla="*/ 227 w 631"/>
              <a:gd name="T19" fmla="*/ 37 h 592"/>
              <a:gd name="T20" fmla="*/ 277 w 631"/>
              <a:gd name="T21" fmla="*/ 23 h 592"/>
              <a:gd name="T22" fmla="*/ 399 w 631"/>
              <a:gd name="T23" fmla="*/ 38 h 592"/>
              <a:gd name="T24" fmla="*/ 403 w 631"/>
              <a:gd name="T25" fmla="*/ 69 h 592"/>
              <a:gd name="T26" fmla="*/ 410 w 631"/>
              <a:gd name="T27" fmla="*/ 95 h 592"/>
              <a:gd name="T28" fmla="*/ 417 w 631"/>
              <a:gd name="T29" fmla="*/ 119 h 592"/>
              <a:gd name="T30" fmla="*/ 427 w 631"/>
              <a:gd name="T31" fmla="*/ 140 h 592"/>
              <a:gd name="T32" fmla="*/ 450 w 631"/>
              <a:gd name="T33" fmla="*/ 175 h 592"/>
              <a:gd name="T34" fmla="*/ 472 w 631"/>
              <a:gd name="T35" fmla="*/ 204 h 592"/>
              <a:gd name="T36" fmla="*/ 482 w 631"/>
              <a:gd name="T37" fmla="*/ 222 h 592"/>
              <a:gd name="T38" fmla="*/ 485 w 631"/>
              <a:gd name="T39" fmla="*/ 240 h 592"/>
              <a:gd name="T40" fmla="*/ 491 w 631"/>
              <a:gd name="T41" fmla="*/ 255 h 592"/>
              <a:gd name="T42" fmla="*/ 496 w 631"/>
              <a:gd name="T43" fmla="*/ 261 h 592"/>
              <a:gd name="T44" fmla="*/ 505 w 631"/>
              <a:gd name="T45" fmla="*/ 266 h 592"/>
              <a:gd name="T46" fmla="*/ 513 w 631"/>
              <a:gd name="T47" fmla="*/ 270 h 592"/>
              <a:gd name="T48" fmla="*/ 519 w 631"/>
              <a:gd name="T49" fmla="*/ 278 h 592"/>
              <a:gd name="T50" fmla="*/ 533 w 631"/>
              <a:gd name="T51" fmla="*/ 303 h 592"/>
              <a:gd name="T52" fmla="*/ 541 w 631"/>
              <a:gd name="T53" fmla="*/ 331 h 592"/>
              <a:gd name="T54" fmla="*/ 545 w 631"/>
              <a:gd name="T55" fmla="*/ 358 h 592"/>
              <a:gd name="T56" fmla="*/ 548 w 631"/>
              <a:gd name="T57" fmla="*/ 368 h 592"/>
              <a:gd name="T58" fmla="*/ 557 w 631"/>
              <a:gd name="T59" fmla="*/ 381 h 592"/>
              <a:gd name="T60" fmla="*/ 583 w 631"/>
              <a:gd name="T61" fmla="*/ 415 h 592"/>
              <a:gd name="T62" fmla="*/ 612 w 631"/>
              <a:gd name="T63" fmla="*/ 447 h 592"/>
              <a:gd name="T64" fmla="*/ 631 w 631"/>
              <a:gd name="T65" fmla="*/ 463 h 592"/>
              <a:gd name="T66" fmla="*/ 612 w 631"/>
              <a:gd name="T67" fmla="*/ 481 h 592"/>
              <a:gd name="T68" fmla="*/ 624 w 631"/>
              <a:gd name="T69" fmla="*/ 496 h 592"/>
              <a:gd name="T70" fmla="*/ 626 w 631"/>
              <a:gd name="T71" fmla="*/ 507 h 592"/>
              <a:gd name="T72" fmla="*/ 626 w 631"/>
              <a:gd name="T73" fmla="*/ 516 h 592"/>
              <a:gd name="T74" fmla="*/ 631 w 631"/>
              <a:gd name="T75" fmla="*/ 531 h 592"/>
              <a:gd name="T76" fmla="*/ 626 w 631"/>
              <a:gd name="T77" fmla="*/ 539 h 592"/>
              <a:gd name="T78" fmla="*/ 617 w 631"/>
              <a:gd name="T79" fmla="*/ 548 h 592"/>
              <a:gd name="T80" fmla="*/ 592 w 631"/>
              <a:gd name="T81" fmla="*/ 569 h 592"/>
              <a:gd name="T82" fmla="*/ 558 w 631"/>
              <a:gd name="T83" fmla="*/ 592 h 592"/>
              <a:gd name="T84" fmla="*/ 46 w 631"/>
              <a:gd name="T85" fmla="*/ 174 h 592"/>
              <a:gd name="T86" fmla="*/ 25 w 631"/>
              <a:gd name="T87" fmla="*/ 157 h 592"/>
              <a:gd name="T88" fmla="*/ 11 w 631"/>
              <a:gd name="T89" fmla="*/ 138 h 592"/>
              <a:gd name="T90" fmla="*/ 2 w 631"/>
              <a:gd name="T91" fmla="*/ 117 h 592"/>
              <a:gd name="T92" fmla="*/ 0 w 631"/>
              <a:gd name="T93" fmla="*/ 93 h 592"/>
              <a:gd name="T94" fmla="*/ 3 w 631"/>
              <a:gd name="T95" fmla="*/ 89 h 592"/>
              <a:gd name="T96" fmla="*/ 10 w 631"/>
              <a:gd name="T97" fmla="*/ 83 h 592"/>
              <a:gd name="T98" fmla="*/ 17 w 631"/>
              <a:gd name="T99" fmla="*/ 77 h 592"/>
              <a:gd name="T100" fmla="*/ 20 w 631"/>
              <a:gd name="T101" fmla="*/ 69 h 592"/>
              <a:gd name="T102" fmla="*/ 18 w 631"/>
              <a:gd name="T103" fmla="*/ 53 h 592"/>
              <a:gd name="T104" fmla="*/ 13 w 631"/>
              <a:gd name="T105" fmla="*/ 42 h 592"/>
              <a:gd name="T106" fmla="*/ 9 w 631"/>
              <a:gd name="T107" fmla="*/ 34 h 592"/>
              <a:gd name="T108" fmla="*/ 7 w 631"/>
              <a:gd name="T109" fmla="*/ 26 h 592"/>
              <a:gd name="T110" fmla="*/ 13 w 631"/>
              <a:gd name="T111" fmla="*/ 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25" name="Freeform 458">
            <a:extLst>
              <a:ext uri="{FF2B5EF4-FFF2-40B4-BE49-F238E27FC236}">
                <a16:creationId xmlns="" xmlns:a16="http://schemas.microsoft.com/office/drawing/2014/main" id="{6CA4804D-B7F6-4F7E-A002-1FD8684BC112}"/>
              </a:ext>
            </a:extLst>
          </p:cNvPr>
          <p:cNvSpPr>
            <a:spLocks/>
          </p:cNvSpPr>
          <p:nvPr>
            <p:custDataLst>
              <p:tags r:id="rId295"/>
            </p:custDataLst>
          </p:nvPr>
        </p:nvSpPr>
        <p:spPr bwMode="auto">
          <a:xfrm>
            <a:off x="4285718" y="3053346"/>
            <a:ext cx="21272" cy="59076"/>
          </a:xfrm>
          <a:custGeom>
            <a:avLst/>
            <a:gdLst>
              <a:gd name="T0" fmla="*/ 7 w 40"/>
              <a:gd name="T1" fmla="*/ 31 h 93"/>
              <a:gd name="T2" fmla="*/ 10 w 40"/>
              <a:gd name="T3" fmla="*/ 30 h 93"/>
              <a:gd name="T4" fmla="*/ 14 w 40"/>
              <a:gd name="T5" fmla="*/ 26 h 93"/>
              <a:gd name="T6" fmla="*/ 20 w 40"/>
              <a:gd name="T7" fmla="*/ 20 h 93"/>
              <a:gd name="T8" fmla="*/ 25 w 40"/>
              <a:gd name="T9" fmla="*/ 15 h 93"/>
              <a:gd name="T10" fmla="*/ 35 w 40"/>
              <a:gd name="T11" fmla="*/ 4 h 93"/>
              <a:gd name="T12" fmla="*/ 40 w 40"/>
              <a:gd name="T13" fmla="*/ 0 h 93"/>
              <a:gd name="T14" fmla="*/ 37 w 40"/>
              <a:gd name="T15" fmla="*/ 26 h 93"/>
              <a:gd name="T16" fmla="*/ 35 w 40"/>
              <a:gd name="T17" fmla="*/ 53 h 93"/>
              <a:gd name="T18" fmla="*/ 34 w 40"/>
              <a:gd name="T19" fmla="*/ 65 h 93"/>
              <a:gd name="T20" fmla="*/ 34 w 40"/>
              <a:gd name="T21" fmla="*/ 77 h 93"/>
              <a:gd name="T22" fmla="*/ 35 w 40"/>
              <a:gd name="T23" fmla="*/ 82 h 93"/>
              <a:gd name="T24" fmla="*/ 36 w 40"/>
              <a:gd name="T25" fmla="*/ 86 h 93"/>
              <a:gd name="T26" fmla="*/ 37 w 40"/>
              <a:gd name="T27" fmla="*/ 90 h 93"/>
              <a:gd name="T28" fmla="*/ 40 w 40"/>
              <a:gd name="T29" fmla="*/ 93 h 93"/>
              <a:gd name="T30" fmla="*/ 26 w 40"/>
              <a:gd name="T31" fmla="*/ 93 h 93"/>
              <a:gd name="T32" fmla="*/ 13 w 40"/>
              <a:gd name="T33" fmla="*/ 93 h 93"/>
              <a:gd name="T34" fmla="*/ 11 w 40"/>
              <a:gd name="T35" fmla="*/ 92 h 93"/>
              <a:gd name="T36" fmla="*/ 8 w 40"/>
              <a:gd name="T37" fmla="*/ 91 h 93"/>
              <a:gd name="T38" fmla="*/ 6 w 40"/>
              <a:gd name="T39" fmla="*/ 88 h 93"/>
              <a:gd name="T40" fmla="*/ 4 w 40"/>
              <a:gd name="T41" fmla="*/ 86 h 93"/>
              <a:gd name="T42" fmla="*/ 1 w 40"/>
              <a:gd name="T43" fmla="*/ 80 h 93"/>
              <a:gd name="T44" fmla="*/ 0 w 40"/>
              <a:gd name="T45" fmla="*/ 73 h 93"/>
              <a:gd name="T46" fmla="*/ 1 w 40"/>
              <a:gd name="T47" fmla="*/ 64 h 93"/>
              <a:gd name="T48" fmla="*/ 3 w 40"/>
              <a:gd name="T49" fmla="*/ 50 h 93"/>
              <a:gd name="T50" fmla="*/ 6 w 40"/>
              <a:gd name="T51" fmla="*/ 37 h 93"/>
              <a:gd name="T52" fmla="*/ 7 w 40"/>
              <a:gd name="T53" fmla="*/ 3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26" name="Freeform 459">
            <a:extLst>
              <a:ext uri="{FF2B5EF4-FFF2-40B4-BE49-F238E27FC236}">
                <a16:creationId xmlns="" xmlns:a16="http://schemas.microsoft.com/office/drawing/2014/main" id="{813F3C69-2D45-43F7-A8F2-5C7179FBE813}"/>
              </a:ext>
            </a:extLst>
          </p:cNvPr>
          <p:cNvSpPr>
            <a:spLocks/>
          </p:cNvSpPr>
          <p:nvPr>
            <p:custDataLst>
              <p:tags r:id="rId296"/>
            </p:custDataLst>
          </p:nvPr>
        </p:nvSpPr>
        <p:spPr bwMode="auto">
          <a:xfrm>
            <a:off x="3893813" y="2795712"/>
            <a:ext cx="359696" cy="282248"/>
          </a:xfrm>
          <a:custGeom>
            <a:avLst/>
            <a:gdLst>
              <a:gd name="T0" fmla="*/ 149 w 664"/>
              <a:gd name="T1" fmla="*/ 445 h 518"/>
              <a:gd name="T2" fmla="*/ 151 w 664"/>
              <a:gd name="T3" fmla="*/ 431 h 518"/>
              <a:gd name="T4" fmla="*/ 146 w 664"/>
              <a:gd name="T5" fmla="*/ 400 h 518"/>
              <a:gd name="T6" fmla="*/ 151 w 664"/>
              <a:gd name="T7" fmla="*/ 353 h 518"/>
              <a:gd name="T8" fmla="*/ 146 w 664"/>
              <a:gd name="T9" fmla="*/ 298 h 518"/>
              <a:gd name="T10" fmla="*/ 134 w 664"/>
              <a:gd name="T11" fmla="*/ 251 h 518"/>
              <a:gd name="T12" fmla="*/ 109 w 664"/>
              <a:gd name="T13" fmla="*/ 241 h 518"/>
              <a:gd name="T14" fmla="*/ 20 w 664"/>
              <a:gd name="T15" fmla="*/ 192 h 518"/>
              <a:gd name="T16" fmla="*/ 24 w 664"/>
              <a:gd name="T17" fmla="*/ 171 h 518"/>
              <a:gd name="T18" fmla="*/ 36 w 664"/>
              <a:gd name="T19" fmla="*/ 159 h 518"/>
              <a:gd name="T20" fmla="*/ 48 w 664"/>
              <a:gd name="T21" fmla="*/ 148 h 518"/>
              <a:gd name="T22" fmla="*/ 100 w 664"/>
              <a:gd name="T23" fmla="*/ 155 h 518"/>
              <a:gd name="T24" fmla="*/ 125 w 664"/>
              <a:gd name="T25" fmla="*/ 152 h 518"/>
              <a:gd name="T26" fmla="*/ 147 w 664"/>
              <a:gd name="T27" fmla="*/ 157 h 518"/>
              <a:gd name="T28" fmla="*/ 165 w 664"/>
              <a:gd name="T29" fmla="*/ 94 h 518"/>
              <a:gd name="T30" fmla="*/ 185 w 664"/>
              <a:gd name="T31" fmla="*/ 109 h 518"/>
              <a:gd name="T32" fmla="*/ 207 w 664"/>
              <a:gd name="T33" fmla="*/ 110 h 518"/>
              <a:gd name="T34" fmla="*/ 236 w 664"/>
              <a:gd name="T35" fmla="*/ 99 h 518"/>
              <a:gd name="T36" fmla="*/ 264 w 664"/>
              <a:gd name="T37" fmla="*/ 80 h 518"/>
              <a:gd name="T38" fmla="*/ 289 w 664"/>
              <a:gd name="T39" fmla="*/ 57 h 518"/>
              <a:gd name="T40" fmla="*/ 308 w 664"/>
              <a:gd name="T41" fmla="*/ 32 h 518"/>
              <a:gd name="T42" fmla="*/ 318 w 664"/>
              <a:gd name="T43" fmla="*/ 12 h 518"/>
              <a:gd name="T44" fmla="*/ 370 w 664"/>
              <a:gd name="T45" fmla="*/ 4 h 518"/>
              <a:gd name="T46" fmla="*/ 404 w 664"/>
              <a:gd name="T47" fmla="*/ 32 h 518"/>
              <a:gd name="T48" fmla="*/ 457 w 664"/>
              <a:gd name="T49" fmla="*/ 61 h 518"/>
              <a:gd name="T50" fmla="*/ 511 w 664"/>
              <a:gd name="T51" fmla="*/ 90 h 518"/>
              <a:gd name="T52" fmla="*/ 552 w 664"/>
              <a:gd name="T53" fmla="*/ 107 h 518"/>
              <a:gd name="T54" fmla="*/ 578 w 664"/>
              <a:gd name="T55" fmla="*/ 116 h 518"/>
              <a:gd name="T56" fmla="*/ 623 w 664"/>
              <a:gd name="T57" fmla="*/ 121 h 518"/>
              <a:gd name="T58" fmla="*/ 658 w 664"/>
              <a:gd name="T59" fmla="*/ 136 h 518"/>
              <a:gd name="T60" fmla="*/ 645 w 664"/>
              <a:gd name="T61" fmla="*/ 166 h 518"/>
              <a:gd name="T62" fmla="*/ 620 w 664"/>
              <a:gd name="T63" fmla="*/ 236 h 518"/>
              <a:gd name="T64" fmla="*/ 598 w 664"/>
              <a:gd name="T65" fmla="*/ 272 h 518"/>
              <a:gd name="T66" fmla="*/ 585 w 664"/>
              <a:gd name="T67" fmla="*/ 286 h 518"/>
              <a:gd name="T68" fmla="*/ 599 w 664"/>
              <a:gd name="T69" fmla="*/ 298 h 518"/>
              <a:gd name="T70" fmla="*/ 618 w 664"/>
              <a:gd name="T71" fmla="*/ 307 h 518"/>
              <a:gd name="T72" fmla="*/ 623 w 664"/>
              <a:gd name="T73" fmla="*/ 334 h 518"/>
              <a:gd name="T74" fmla="*/ 620 w 664"/>
              <a:gd name="T75" fmla="*/ 347 h 518"/>
              <a:gd name="T76" fmla="*/ 618 w 664"/>
              <a:gd name="T77" fmla="*/ 372 h 518"/>
              <a:gd name="T78" fmla="*/ 622 w 664"/>
              <a:gd name="T79" fmla="*/ 399 h 518"/>
              <a:gd name="T80" fmla="*/ 632 w 664"/>
              <a:gd name="T81" fmla="*/ 423 h 518"/>
              <a:gd name="T82" fmla="*/ 608 w 664"/>
              <a:gd name="T83" fmla="*/ 457 h 518"/>
              <a:gd name="T84" fmla="*/ 569 w 664"/>
              <a:gd name="T85" fmla="*/ 484 h 518"/>
              <a:gd name="T86" fmla="*/ 542 w 664"/>
              <a:gd name="T87" fmla="*/ 489 h 518"/>
              <a:gd name="T88" fmla="*/ 509 w 664"/>
              <a:gd name="T89" fmla="*/ 481 h 518"/>
              <a:gd name="T90" fmla="*/ 477 w 664"/>
              <a:gd name="T91" fmla="*/ 460 h 518"/>
              <a:gd name="T92" fmla="*/ 463 w 664"/>
              <a:gd name="T93" fmla="*/ 456 h 518"/>
              <a:gd name="T94" fmla="*/ 443 w 664"/>
              <a:gd name="T95" fmla="*/ 457 h 518"/>
              <a:gd name="T96" fmla="*/ 423 w 664"/>
              <a:gd name="T97" fmla="*/ 465 h 518"/>
              <a:gd name="T98" fmla="*/ 406 w 664"/>
              <a:gd name="T99" fmla="*/ 477 h 518"/>
              <a:gd name="T100" fmla="*/ 388 w 664"/>
              <a:gd name="T101" fmla="*/ 503 h 518"/>
              <a:gd name="T102" fmla="*/ 385 w 664"/>
              <a:gd name="T103" fmla="*/ 517 h 518"/>
              <a:gd name="T104" fmla="*/ 333 w 664"/>
              <a:gd name="T105" fmla="*/ 515 h 518"/>
              <a:gd name="T106" fmla="*/ 317 w 664"/>
              <a:gd name="T107" fmla="*/ 507 h 518"/>
              <a:gd name="T108" fmla="*/ 307 w 664"/>
              <a:gd name="T109" fmla="*/ 500 h 518"/>
              <a:gd name="T110" fmla="*/ 296 w 664"/>
              <a:gd name="T111" fmla="*/ 508 h 518"/>
              <a:gd name="T112" fmla="*/ 287 w 664"/>
              <a:gd name="T113" fmla="*/ 516 h 518"/>
              <a:gd name="T114" fmla="*/ 268 w 664"/>
              <a:gd name="T115" fmla="*/ 516 h 518"/>
              <a:gd name="T116" fmla="*/ 227 w 664"/>
              <a:gd name="T117" fmla="*/ 506 h 518"/>
              <a:gd name="T118" fmla="*/ 185 w 664"/>
              <a:gd name="T119" fmla="*/ 487 h 518"/>
              <a:gd name="T120" fmla="*/ 160 w 664"/>
              <a:gd name="T121" fmla="*/ 469 h 518"/>
              <a:gd name="T122" fmla="*/ 146 w 664"/>
              <a:gd name="T123" fmla="*/ 45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000" b="1" dirty="0"/>
          </a:p>
        </p:txBody>
      </p:sp>
      <p:sp>
        <p:nvSpPr>
          <p:cNvPr id="427" name="Freeform 460">
            <a:extLst>
              <a:ext uri="{FF2B5EF4-FFF2-40B4-BE49-F238E27FC236}">
                <a16:creationId xmlns="" xmlns:a16="http://schemas.microsoft.com/office/drawing/2014/main" id="{41599502-DB38-4B61-A2C8-D441D4E3499A}"/>
              </a:ext>
            </a:extLst>
          </p:cNvPr>
          <p:cNvSpPr>
            <a:spLocks/>
          </p:cNvSpPr>
          <p:nvPr>
            <p:custDataLst>
              <p:tags r:id="rId297"/>
            </p:custDataLst>
          </p:nvPr>
        </p:nvSpPr>
        <p:spPr bwMode="auto">
          <a:xfrm>
            <a:off x="5163687" y="3038577"/>
            <a:ext cx="183716" cy="85330"/>
          </a:xfrm>
          <a:custGeom>
            <a:avLst/>
            <a:gdLst>
              <a:gd name="T0" fmla="*/ 332 w 352"/>
              <a:gd name="T1" fmla="*/ 91 h 153"/>
              <a:gd name="T2" fmla="*/ 352 w 352"/>
              <a:gd name="T3" fmla="*/ 153 h 153"/>
              <a:gd name="T4" fmla="*/ 326 w 352"/>
              <a:gd name="T5" fmla="*/ 141 h 153"/>
              <a:gd name="T6" fmla="*/ 299 w 352"/>
              <a:gd name="T7" fmla="*/ 129 h 153"/>
              <a:gd name="T8" fmla="*/ 266 w 352"/>
              <a:gd name="T9" fmla="*/ 141 h 153"/>
              <a:gd name="T10" fmla="*/ 232 w 352"/>
              <a:gd name="T11" fmla="*/ 141 h 153"/>
              <a:gd name="T12" fmla="*/ 227 w 352"/>
              <a:gd name="T13" fmla="*/ 135 h 153"/>
              <a:gd name="T14" fmla="*/ 226 w 352"/>
              <a:gd name="T15" fmla="*/ 135 h 153"/>
              <a:gd name="T16" fmla="*/ 219 w 352"/>
              <a:gd name="T17" fmla="*/ 129 h 153"/>
              <a:gd name="T18" fmla="*/ 213 w 352"/>
              <a:gd name="T19" fmla="*/ 125 h 153"/>
              <a:gd name="T20" fmla="*/ 205 w 352"/>
              <a:gd name="T21" fmla="*/ 121 h 153"/>
              <a:gd name="T22" fmla="*/ 197 w 352"/>
              <a:gd name="T23" fmla="*/ 118 h 153"/>
              <a:gd name="T24" fmla="*/ 181 w 352"/>
              <a:gd name="T25" fmla="*/ 113 h 153"/>
              <a:gd name="T26" fmla="*/ 163 w 352"/>
              <a:gd name="T27" fmla="*/ 110 h 153"/>
              <a:gd name="T28" fmla="*/ 126 w 352"/>
              <a:gd name="T29" fmla="*/ 107 h 153"/>
              <a:gd name="T30" fmla="*/ 86 w 352"/>
              <a:gd name="T31" fmla="*/ 104 h 153"/>
              <a:gd name="T32" fmla="*/ 85 w 352"/>
              <a:gd name="T33" fmla="*/ 94 h 153"/>
              <a:gd name="T34" fmla="*/ 82 w 352"/>
              <a:gd name="T35" fmla="*/ 84 h 153"/>
              <a:gd name="T36" fmla="*/ 80 w 352"/>
              <a:gd name="T37" fmla="*/ 75 h 153"/>
              <a:gd name="T38" fmla="*/ 75 w 352"/>
              <a:gd name="T39" fmla="*/ 67 h 153"/>
              <a:gd name="T40" fmla="*/ 71 w 352"/>
              <a:gd name="T41" fmla="*/ 59 h 153"/>
              <a:gd name="T42" fmla="*/ 67 w 352"/>
              <a:gd name="T43" fmla="*/ 52 h 153"/>
              <a:gd name="T44" fmla="*/ 61 w 352"/>
              <a:gd name="T45" fmla="*/ 44 h 153"/>
              <a:gd name="T46" fmla="*/ 56 w 352"/>
              <a:gd name="T47" fmla="*/ 37 h 153"/>
              <a:gd name="T48" fmla="*/ 44 w 352"/>
              <a:gd name="T49" fmla="*/ 26 h 153"/>
              <a:gd name="T50" fmla="*/ 29 w 352"/>
              <a:gd name="T51" fmla="*/ 16 h 153"/>
              <a:gd name="T52" fmla="*/ 15 w 352"/>
              <a:gd name="T53" fmla="*/ 7 h 153"/>
              <a:gd name="T54" fmla="*/ 0 w 352"/>
              <a:gd name="T55" fmla="*/ 0 h 153"/>
              <a:gd name="T56" fmla="*/ 7 w 352"/>
              <a:gd name="T57" fmla="*/ 0 h 153"/>
              <a:gd name="T58" fmla="*/ 60 w 352"/>
              <a:gd name="T59" fmla="*/ 18 h 153"/>
              <a:gd name="T60" fmla="*/ 106 w 352"/>
              <a:gd name="T61" fmla="*/ 30 h 153"/>
              <a:gd name="T62" fmla="*/ 134 w 352"/>
              <a:gd name="T63" fmla="*/ 18 h 153"/>
              <a:gd name="T64" fmla="*/ 180 w 352"/>
              <a:gd name="T65" fmla="*/ 36 h 153"/>
              <a:gd name="T66" fmla="*/ 206 w 352"/>
              <a:gd name="T67" fmla="*/ 55 h 153"/>
              <a:gd name="T68" fmla="*/ 246 w 352"/>
              <a:gd name="T69" fmla="*/ 49 h 153"/>
              <a:gd name="T70" fmla="*/ 286 w 352"/>
              <a:gd name="T71" fmla="*/ 61 h 153"/>
              <a:gd name="T72" fmla="*/ 313 w 352"/>
              <a:gd name="T73" fmla="*/ 79 h 153"/>
              <a:gd name="T74" fmla="*/ 332 w 352"/>
              <a:gd name="T75" fmla="*/ 9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28" name="Freeform 461">
            <a:extLst>
              <a:ext uri="{FF2B5EF4-FFF2-40B4-BE49-F238E27FC236}">
                <a16:creationId xmlns="" xmlns:a16="http://schemas.microsoft.com/office/drawing/2014/main" id="{6A6BFA4D-00B4-4008-B8F2-613DB359767E}"/>
              </a:ext>
            </a:extLst>
          </p:cNvPr>
          <p:cNvSpPr>
            <a:spLocks/>
          </p:cNvSpPr>
          <p:nvPr>
            <p:custDataLst>
              <p:tags r:id="rId298"/>
            </p:custDataLst>
          </p:nvPr>
        </p:nvSpPr>
        <p:spPr bwMode="auto">
          <a:xfrm>
            <a:off x="4614472" y="3100933"/>
            <a:ext cx="179848" cy="178867"/>
          </a:xfrm>
          <a:custGeom>
            <a:avLst/>
            <a:gdLst>
              <a:gd name="T0" fmla="*/ 230 w 331"/>
              <a:gd name="T1" fmla="*/ 40 h 327"/>
              <a:gd name="T2" fmla="*/ 193 w 331"/>
              <a:gd name="T3" fmla="*/ 56 h 327"/>
              <a:gd name="T4" fmla="*/ 182 w 331"/>
              <a:gd name="T5" fmla="*/ 67 h 327"/>
              <a:gd name="T6" fmla="*/ 181 w 331"/>
              <a:gd name="T7" fmla="*/ 81 h 327"/>
              <a:gd name="T8" fmla="*/ 184 w 331"/>
              <a:gd name="T9" fmla="*/ 94 h 327"/>
              <a:gd name="T10" fmla="*/ 177 w 331"/>
              <a:gd name="T11" fmla="*/ 102 h 327"/>
              <a:gd name="T12" fmla="*/ 168 w 331"/>
              <a:gd name="T13" fmla="*/ 105 h 327"/>
              <a:gd name="T14" fmla="*/ 160 w 331"/>
              <a:gd name="T15" fmla="*/ 98 h 327"/>
              <a:gd name="T16" fmla="*/ 149 w 331"/>
              <a:gd name="T17" fmla="*/ 85 h 327"/>
              <a:gd name="T18" fmla="*/ 126 w 331"/>
              <a:gd name="T19" fmla="*/ 74 h 327"/>
              <a:gd name="T20" fmla="*/ 127 w 331"/>
              <a:gd name="T21" fmla="*/ 96 h 327"/>
              <a:gd name="T22" fmla="*/ 139 w 331"/>
              <a:gd name="T23" fmla="*/ 116 h 327"/>
              <a:gd name="T24" fmla="*/ 154 w 331"/>
              <a:gd name="T25" fmla="*/ 129 h 327"/>
              <a:gd name="T26" fmla="*/ 159 w 331"/>
              <a:gd name="T27" fmla="*/ 130 h 327"/>
              <a:gd name="T28" fmla="*/ 159 w 331"/>
              <a:gd name="T29" fmla="*/ 177 h 327"/>
              <a:gd name="T30" fmla="*/ 159 w 331"/>
              <a:gd name="T31" fmla="*/ 237 h 327"/>
              <a:gd name="T32" fmla="*/ 156 w 331"/>
              <a:gd name="T33" fmla="*/ 251 h 327"/>
              <a:gd name="T34" fmla="*/ 147 w 331"/>
              <a:gd name="T35" fmla="*/ 259 h 327"/>
              <a:gd name="T36" fmla="*/ 145 w 331"/>
              <a:gd name="T37" fmla="*/ 264 h 327"/>
              <a:gd name="T38" fmla="*/ 162 w 331"/>
              <a:gd name="T39" fmla="*/ 276 h 327"/>
              <a:gd name="T40" fmla="*/ 167 w 331"/>
              <a:gd name="T41" fmla="*/ 286 h 327"/>
              <a:gd name="T42" fmla="*/ 155 w 331"/>
              <a:gd name="T43" fmla="*/ 295 h 327"/>
              <a:gd name="T44" fmla="*/ 140 w 331"/>
              <a:gd name="T45" fmla="*/ 297 h 327"/>
              <a:gd name="T46" fmla="*/ 130 w 331"/>
              <a:gd name="T47" fmla="*/ 307 h 327"/>
              <a:gd name="T48" fmla="*/ 126 w 331"/>
              <a:gd name="T49" fmla="*/ 321 h 327"/>
              <a:gd name="T50" fmla="*/ 121 w 331"/>
              <a:gd name="T51" fmla="*/ 300 h 327"/>
              <a:gd name="T52" fmla="*/ 124 w 331"/>
              <a:gd name="T53" fmla="*/ 288 h 327"/>
              <a:gd name="T54" fmla="*/ 109 w 331"/>
              <a:gd name="T55" fmla="*/ 286 h 327"/>
              <a:gd name="T56" fmla="*/ 93 w 331"/>
              <a:gd name="T57" fmla="*/ 292 h 327"/>
              <a:gd name="T58" fmla="*/ 79 w 331"/>
              <a:gd name="T59" fmla="*/ 296 h 327"/>
              <a:gd name="T60" fmla="*/ 73 w 331"/>
              <a:gd name="T61" fmla="*/ 242 h 327"/>
              <a:gd name="T62" fmla="*/ 79 w 331"/>
              <a:gd name="T63" fmla="*/ 216 h 327"/>
              <a:gd name="T64" fmla="*/ 48 w 331"/>
              <a:gd name="T65" fmla="*/ 211 h 327"/>
              <a:gd name="T66" fmla="*/ 28 w 331"/>
              <a:gd name="T67" fmla="*/ 198 h 327"/>
              <a:gd name="T68" fmla="*/ 13 w 331"/>
              <a:gd name="T69" fmla="*/ 173 h 327"/>
              <a:gd name="T70" fmla="*/ 0 w 331"/>
              <a:gd name="T71" fmla="*/ 130 h 327"/>
              <a:gd name="T72" fmla="*/ 28 w 331"/>
              <a:gd name="T73" fmla="*/ 111 h 327"/>
              <a:gd name="T74" fmla="*/ 50 w 331"/>
              <a:gd name="T75" fmla="*/ 81 h 327"/>
              <a:gd name="T76" fmla="*/ 73 w 331"/>
              <a:gd name="T77" fmla="*/ 55 h 327"/>
              <a:gd name="T78" fmla="*/ 115 w 331"/>
              <a:gd name="T79" fmla="*/ 41 h 327"/>
              <a:gd name="T80" fmla="*/ 180 w 331"/>
              <a:gd name="T81" fmla="*/ 14 h 327"/>
              <a:gd name="T82" fmla="*/ 218 w 331"/>
              <a:gd name="T83" fmla="*/ 7 h 327"/>
              <a:gd name="T84" fmla="*/ 249 w 331"/>
              <a:gd name="T85" fmla="*/ 14 h 327"/>
              <a:gd name="T86" fmla="*/ 271 w 331"/>
              <a:gd name="T87" fmla="*/ 27 h 327"/>
              <a:gd name="T88" fmla="*/ 292 w 331"/>
              <a:gd name="T89" fmla="*/ 30 h 327"/>
              <a:gd name="T90" fmla="*/ 307 w 331"/>
              <a:gd name="T91" fmla="*/ 20 h 327"/>
              <a:gd name="T92" fmla="*/ 327 w 331"/>
              <a:gd name="T93" fmla="*/ 6 h 327"/>
              <a:gd name="T94" fmla="*/ 330 w 331"/>
              <a:gd name="T95" fmla="*/ 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29" name="Freeform 462">
            <a:extLst>
              <a:ext uri="{FF2B5EF4-FFF2-40B4-BE49-F238E27FC236}">
                <a16:creationId xmlns="" xmlns:a16="http://schemas.microsoft.com/office/drawing/2014/main" id="{AD809E86-9F3A-4149-AE5C-0F5EB8787FEC}"/>
              </a:ext>
            </a:extLst>
          </p:cNvPr>
          <p:cNvSpPr>
            <a:spLocks/>
          </p:cNvSpPr>
          <p:nvPr>
            <p:custDataLst>
              <p:tags r:id="rId299"/>
            </p:custDataLst>
          </p:nvPr>
        </p:nvSpPr>
        <p:spPr bwMode="auto">
          <a:xfrm>
            <a:off x="4716966" y="3299492"/>
            <a:ext cx="85089" cy="59076"/>
          </a:xfrm>
          <a:custGeom>
            <a:avLst/>
            <a:gdLst>
              <a:gd name="T0" fmla="*/ 0 w 153"/>
              <a:gd name="T1" fmla="*/ 0 h 49"/>
              <a:gd name="T2" fmla="*/ 44 w 153"/>
              <a:gd name="T3" fmla="*/ 2 h 49"/>
              <a:gd name="T4" fmla="*/ 83 w 153"/>
              <a:gd name="T5" fmla="*/ 6 h 49"/>
              <a:gd name="T6" fmla="*/ 103 w 153"/>
              <a:gd name="T7" fmla="*/ 8 h 49"/>
              <a:gd name="T8" fmla="*/ 121 w 153"/>
              <a:gd name="T9" fmla="*/ 7 h 49"/>
              <a:gd name="T10" fmla="*/ 130 w 153"/>
              <a:gd name="T11" fmla="*/ 6 h 49"/>
              <a:gd name="T12" fmla="*/ 137 w 153"/>
              <a:gd name="T13" fmla="*/ 5 h 49"/>
              <a:gd name="T14" fmla="*/ 145 w 153"/>
              <a:gd name="T15" fmla="*/ 3 h 49"/>
              <a:gd name="T16" fmla="*/ 153 w 153"/>
              <a:gd name="T17" fmla="*/ 0 h 49"/>
              <a:gd name="T18" fmla="*/ 153 w 153"/>
              <a:gd name="T19" fmla="*/ 9 h 49"/>
              <a:gd name="T20" fmla="*/ 153 w 153"/>
              <a:gd name="T21" fmla="*/ 25 h 49"/>
              <a:gd name="T22" fmla="*/ 143 w 153"/>
              <a:gd name="T23" fmla="*/ 31 h 49"/>
              <a:gd name="T24" fmla="*/ 133 w 153"/>
              <a:gd name="T25" fmla="*/ 36 h 49"/>
              <a:gd name="T26" fmla="*/ 124 w 153"/>
              <a:gd name="T27" fmla="*/ 40 h 49"/>
              <a:gd name="T28" fmla="*/ 114 w 153"/>
              <a:gd name="T29" fmla="*/ 44 h 49"/>
              <a:gd name="T30" fmla="*/ 106 w 153"/>
              <a:gd name="T31" fmla="*/ 46 h 49"/>
              <a:gd name="T32" fmla="*/ 99 w 153"/>
              <a:gd name="T33" fmla="*/ 48 h 49"/>
              <a:gd name="T34" fmla="*/ 92 w 153"/>
              <a:gd name="T35" fmla="*/ 49 h 49"/>
              <a:gd name="T36" fmla="*/ 87 w 153"/>
              <a:gd name="T37" fmla="*/ 49 h 49"/>
              <a:gd name="T38" fmla="*/ 72 w 153"/>
              <a:gd name="T39" fmla="*/ 48 h 49"/>
              <a:gd name="T40" fmla="*/ 60 w 153"/>
              <a:gd name="T41" fmla="*/ 46 h 49"/>
              <a:gd name="T42" fmla="*/ 50 w 153"/>
              <a:gd name="T43" fmla="*/ 43 h 49"/>
              <a:gd name="T44" fmla="*/ 41 w 153"/>
              <a:gd name="T45" fmla="*/ 38 h 49"/>
              <a:gd name="T46" fmla="*/ 22 w 153"/>
              <a:gd name="T47" fmla="*/ 29 h 49"/>
              <a:gd name="T48" fmla="*/ 0 w 153"/>
              <a:gd name="T49" fmla="*/ 19 h 49"/>
              <a:gd name="T50" fmla="*/ 0 w 153"/>
              <a:gd name="T5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30" name="Freeform 463">
            <a:extLst>
              <a:ext uri="{FF2B5EF4-FFF2-40B4-BE49-F238E27FC236}">
                <a16:creationId xmlns="" xmlns:a16="http://schemas.microsoft.com/office/drawing/2014/main" id="{6F216680-C2CF-4C80-98AB-DAD0B5841EAB}"/>
              </a:ext>
            </a:extLst>
          </p:cNvPr>
          <p:cNvSpPr>
            <a:spLocks/>
          </p:cNvSpPr>
          <p:nvPr>
            <p:custDataLst>
              <p:tags r:id="rId300"/>
            </p:custDataLst>
          </p:nvPr>
        </p:nvSpPr>
        <p:spPr bwMode="auto">
          <a:xfrm>
            <a:off x="3595331" y="4055981"/>
            <a:ext cx="228194" cy="164097"/>
          </a:xfrm>
          <a:custGeom>
            <a:avLst/>
            <a:gdLst>
              <a:gd name="T0" fmla="*/ 194 w 426"/>
              <a:gd name="T1" fmla="*/ 16 h 299"/>
              <a:gd name="T2" fmla="*/ 216 w 426"/>
              <a:gd name="T3" fmla="*/ 22 h 299"/>
              <a:gd name="T4" fmla="*/ 230 w 426"/>
              <a:gd name="T5" fmla="*/ 29 h 299"/>
              <a:gd name="T6" fmla="*/ 253 w 426"/>
              <a:gd name="T7" fmla="*/ 35 h 299"/>
              <a:gd name="T8" fmla="*/ 279 w 426"/>
              <a:gd name="T9" fmla="*/ 37 h 299"/>
              <a:gd name="T10" fmla="*/ 300 w 426"/>
              <a:gd name="T11" fmla="*/ 37 h 299"/>
              <a:gd name="T12" fmla="*/ 319 w 426"/>
              <a:gd name="T13" fmla="*/ 34 h 299"/>
              <a:gd name="T14" fmla="*/ 329 w 426"/>
              <a:gd name="T15" fmla="*/ 29 h 299"/>
              <a:gd name="T16" fmla="*/ 365 w 426"/>
              <a:gd name="T17" fmla="*/ 25 h 299"/>
              <a:gd name="T18" fmla="*/ 372 w 426"/>
              <a:gd name="T19" fmla="*/ 49 h 299"/>
              <a:gd name="T20" fmla="*/ 383 w 426"/>
              <a:gd name="T21" fmla="*/ 74 h 299"/>
              <a:gd name="T22" fmla="*/ 391 w 426"/>
              <a:gd name="T23" fmla="*/ 84 h 299"/>
              <a:gd name="T24" fmla="*/ 400 w 426"/>
              <a:gd name="T25" fmla="*/ 92 h 299"/>
              <a:gd name="T26" fmla="*/ 412 w 426"/>
              <a:gd name="T27" fmla="*/ 97 h 299"/>
              <a:gd name="T28" fmla="*/ 425 w 426"/>
              <a:gd name="T29" fmla="*/ 99 h 299"/>
              <a:gd name="T30" fmla="*/ 425 w 426"/>
              <a:gd name="T31" fmla="*/ 120 h 299"/>
              <a:gd name="T32" fmla="*/ 425 w 426"/>
              <a:gd name="T33" fmla="*/ 142 h 299"/>
              <a:gd name="T34" fmla="*/ 416 w 426"/>
              <a:gd name="T35" fmla="*/ 158 h 299"/>
              <a:gd name="T36" fmla="*/ 412 w 426"/>
              <a:gd name="T37" fmla="*/ 170 h 299"/>
              <a:gd name="T38" fmla="*/ 412 w 426"/>
              <a:gd name="T39" fmla="*/ 181 h 299"/>
              <a:gd name="T40" fmla="*/ 415 w 426"/>
              <a:gd name="T41" fmla="*/ 190 h 299"/>
              <a:gd name="T42" fmla="*/ 423 w 426"/>
              <a:gd name="T43" fmla="*/ 211 h 299"/>
              <a:gd name="T44" fmla="*/ 426 w 426"/>
              <a:gd name="T45" fmla="*/ 226 h 299"/>
              <a:gd name="T46" fmla="*/ 425 w 426"/>
              <a:gd name="T47" fmla="*/ 247 h 299"/>
              <a:gd name="T48" fmla="*/ 426 w 426"/>
              <a:gd name="T49" fmla="*/ 274 h 299"/>
              <a:gd name="T50" fmla="*/ 423 w 426"/>
              <a:gd name="T51" fmla="*/ 285 h 299"/>
              <a:gd name="T52" fmla="*/ 412 w 426"/>
              <a:gd name="T53" fmla="*/ 296 h 299"/>
              <a:gd name="T54" fmla="*/ 380 w 426"/>
              <a:gd name="T55" fmla="*/ 298 h 299"/>
              <a:gd name="T56" fmla="*/ 370 w 426"/>
              <a:gd name="T57" fmla="*/ 299 h 299"/>
              <a:gd name="T58" fmla="*/ 360 w 426"/>
              <a:gd name="T59" fmla="*/ 296 h 299"/>
              <a:gd name="T60" fmla="*/ 351 w 426"/>
              <a:gd name="T61" fmla="*/ 290 h 299"/>
              <a:gd name="T62" fmla="*/ 338 w 426"/>
              <a:gd name="T63" fmla="*/ 278 h 299"/>
              <a:gd name="T64" fmla="*/ 324 w 426"/>
              <a:gd name="T65" fmla="*/ 261 h 299"/>
              <a:gd name="T66" fmla="*/ 311 w 426"/>
              <a:gd name="T67" fmla="*/ 253 h 299"/>
              <a:gd name="T68" fmla="*/ 294 w 426"/>
              <a:gd name="T69" fmla="*/ 251 h 299"/>
              <a:gd name="T70" fmla="*/ 278 w 426"/>
              <a:gd name="T71" fmla="*/ 232 h 299"/>
              <a:gd name="T72" fmla="*/ 274 w 426"/>
              <a:gd name="T73" fmla="*/ 210 h 299"/>
              <a:gd name="T74" fmla="*/ 269 w 426"/>
              <a:gd name="T75" fmla="*/ 197 h 299"/>
              <a:gd name="T76" fmla="*/ 261 w 426"/>
              <a:gd name="T77" fmla="*/ 184 h 299"/>
              <a:gd name="T78" fmla="*/ 251 w 426"/>
              <a:gd name="T79" fmla="*/ 173 h 299"/>
              <a:gd name="T80" fmla="*/ 238 w 426"/>
              <a:gd name="T81" fmla="*/ 165 h 299"/>
              <a:gd name="T82" fmla="*/ 222 w 426"/>
              <a:gd name="T83" fmla="*/ 161 h 299"/>
              <a:gd name="T84" fmla="*/ 204 w 426"/>
              <a:gd name="T85" fmla="*/ 161 h 299"/>
              <a:gd name="T86" fmla="*/ 188 w 426"/>
              <a:gd name="T87" fmla="*/ 163 h 299"/>
              <a:gd name="T88" fmla="*/ 173 w 426"/>
              <a:gd name="T89" fmla="*/ 168 h 299"/>
              <a:gd name="T90" fmla="*/ 160 w 426"/>
              <a:gd name="T91" fmla="*/ 176 h 299"/>
              <a:gd name="T92" fmla="*/ 141 w 426"/>
              <a:gd name="T93" fmla="*/ 191 h 299"/>
              <a:gd name="T94" fmla="*/ 118 w 426"/>
              <a:gd name="T95" fmla="*/ 215 h 299"/>
              <a:gd name="T96" fmla="*/ 105 w 426"/>
              <a:gd name="T97" fmla="*/ 218 h 299"/>
              <a:gd name="T98" fmla="*/ 100 w 426"/>
              <a:gd name="T99" fmla="*/ 201 h 299"/>
              <a:gd name="T100" fmla="*/ 90 w 426"/>
              <a:gd name="T101" fmla="*/ 186 h 299"/>
              <a:gd name="T102" fmla="*/ 76 w 426"/>
              <a:gd name="T103" fmla="*/ 171 h 299"/>
              <a:gd name="T104" fmla="*/ 50 w 426"/>
              <a:gd name="T105" fmla="*/ 153 h 299"/>
              <a:gd name="T106" fmla="*/ 24 w 426"/>
              <a:gd name="T107" fmla="*/ 134 h 299"/>
              <a:gd name="T108" fmla="*/ 8 w 426"/>
              <a:gd name="T109" fmla="*/ 119 h 299"/>
              <a:gd name="T110" fmla="*/ 15 w 426"/>
              <a:gd name="T111" fmla="*/ 101 h 299"/>
              <a:gd name="T112" fmla="*/ 46 w 426"/>
              <a:gd name="T113" fmla="*/ 77 h 299"/>
              <a:gd name="T114" fmla="*/ 75 w 426"/>
              <a:gd name="T115" fmla="*/ 48 h 299"/>
              <a:gd name="T116" fmla="*/ 98 w 426"/>
              <a:gd name="T117" fmla="*/ 17 h 299"/>
              <a:gd name="T118" fmla="*/ 179 w 426"/>
              <a:gd name="T119" fmla="*/ 1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31" name="Freeform 464">
            <a:extLst>
              <a:ext uri="{FF2B5EF4-FFF2-40B4-BE49-F238E27FC236}">
                <a16:creationId xmlns="" xmlns:a16="http://schemas.microsoft.com/office/drawing/2014/main" id="{DD1688D2-735F-44C0-9126-29FA7714A015}"/>
              </a:ext>
            </a:extLst>
          </p:cNvPr>
          <p:cNvSpPr>
            <a:spLocks/>
          </p:cNvSpPr>
          <p:nvPr>
            <p:custDataLst>
              <p:tags r:id="rId301"/>
            </p:custDataLst>
          </p:nvPr>
        </p:nvSpPr>
        <p:spPr bwMode="auto">
          <a:xfrm>
            <a:off x="6086133" y="3294569"/>
            <a:ext cx="843160" cy="904178"/>
          </a:xfrm>
          <a:custGeom>
            <a:avLst/>
            <a:gdLst>
              <a:gd name="T0" fmla="*/ 477 w 1594"/>
              <a:gd name="T1" fmla="*/ 107 h 1670"/>
              <a:gd name="T2" fmla="*/ 485 w 1594"/>
              <a:gd name="T3" fmla="*/ 185 h 1670"/>
              <a:gd name="T4" fmla="*/ 578 w 1594"/>
              <a:gd name="T5" fmla="*/ 287 h 1670"/>
              <a:gd name="T6" fmla="*/ 701 w 1594"/>
              <a:gd name="T7" fmla="*/ 459 h 1670"/>
              <a:gd name="T8" fmla="*/ 795 w 1594"/>
              <a:gd name="T9" fmla="*/ 499 h 1670"/>
              <a:gd name="T10" fmla="*/ 877 w 1594"/>
              <a:gd name="T11" fmla="*/ 493 h 1670"/>
              <a:gd name="T12" fmla="*/ 930 w 1594"/>
              <a:gd name="T13" fmla="*/ 537 h 1670"/>
              <a:gd name="T14" fmla="*/ 1102 w 1594"/>
              <a:gd name="T15" fmla="*/ 567 h 1670"/>
              <a:gd name="T16" fmla="*/ 1121 w 1594"/>
              <a:gd name="T17" fmla="*/ 461 h 1670"/>
              <a:gd name="T18" fmla="*/ 1179 w 1594"/>
              <a:gd name="T19" fmla="*/ 539 h 1670"/>
              <a:gd name="T20" fmla="*/ 1243 w 1594"/>
              <a:gd name="T21" fmla="*/ 561 h 1670"/>
              <a:gd name="T22" fmla="*/ 1299 w 1594"/>
              <a:gd name="T23" fmla="*/ 498 h 1670"/>
              <a:gd name="T24" fmla="*/ 1404 w 1594"/>
              <a:gd name="T25" fmla="*/ 409 h 1670"/>
              <a:gd name="T26" fmla="*/ 1549 w 1594"/>
              <a:gd name="T27" fmla="*/ 428 h 1670"/>
              <a:gd name="T28" fmla="*/ 1579 w 1594"/>
              <a:gd name="T29" fmla="*/ 498 h 1670"/>
              <a:gd name="T30" fmla="*/ 1504 w 1594"/>
              <a:gd name="T31" fmla="*/ 542 h 1670"/>
              <a:gd name="T32" fmla="*/ 1485 w 1594"/>
              <a:gd name="T33" fmla="*/ 679 h 1670"/>
              <a:gd name="T34" fmla="*/ 1429 w 1594"/>
              <a:gd name="T35" fmla="*/ 704 h 1670"/>
              <a:gd name="T36" fmla="*/ 1408 w 1594"/>
              <a:gd name="T37" fmla="*/ 814 h 1670"/>
              <a:gd name="T38" fmla="*/ 1321 w 1594"/>
              <a:gd name="T39" fmla="*/ 754 h 1670"/>
              <a:gd name="T40" fmla="*/ 1323 w 1594"/>
              <a:gd name="T41" fmla="*/ 698 h 1670"/>
              <a:gd name="T42" fmla="*/ 1225 w 1594"/>
              <a:gd name="T43" fmla="*/ 638 h 1670"/>
              <a:gd name="T44" fmla="*/ 1187 w 1594"/>
              <a:gd name="T45" fmla="*/ 588 h 1670"/>
              <a:gd name="T46" fmla="*/ 1131 w 1594"/>
              <a:gd name="T47" fmla="*/ 575 h 1670"/>
              <a:gd name="T48" fmla="*/ 1127 w 1594"/>
              <a:gd name="T49" fmla="*/ 625 h 1670"/>
              <a:gd name="T50" fmla="*/ 1117 w 1594"/>
              <a:gd name="T51" fmla="*/ 683 h 1670"/>
              <a:gd name="T52" fmla="*/ 1160 w 1594"/>
              <a:gd name="T53" fmla="*/ 735 h 1670"/>
              <a:gd name="T54" fmla="*/ 1149 w 1594"/>
              <a:gd name="T55" fmla="*/ 843 h 1670"/>
              <a:gd name="T56" fmla="*/ 1075 w 1594"/>
              <a:gd name="T57" fmla="*/ 864 h 1670"/>
              <a:gd name="T58" fmla="*/ 1049 w 1594"/>
              <a:gd name="T59" fmla="*/ 937 h 1670"/>
              <a:gd name="T60" fmla="*/ 954 w 1594"/>
              <a:gd name="T61" fmla="*/ 1001 h 1670"/>
              <a:gd name="T62" fmla="*/ 912 w 1594"/>
              <a:gd name="T63" fmla="*/ 1050 h 1670"/>
              <a:gd name="T64" fmla="*/ 780 w 1594"/>
              <a:gd name="T65" fmla="*/ 1188 h 1670"/>
              <a:gd name="T66" fmla="*/ 723 w 1594"/>
              <a:gd name="T67" fmla="*/ 1233 h 1670"/>
              <a:gd name="T68" fmla="*/ 744 w 1594"/>
              <a:gd name="T69" fmla="*/ 1344 h 1670"/>
              <a:gd name="T70" fmla="*/ 712 w 1594"/>
              <a:gd name="T71" fmla="*/ 1445 h 1670"/>
              <a:gd name="T72" fmla="*/ 722 w 1594"/>
              <a:gd name="T73" fmla="*/ 1524 h 1670"/>
              <a:gd name="T74" fmla="*/ 693 w 1594"/>
              <a:gd name="T75" fmla="*/ 1576 h 1670"/>
              <a:gd name="T76" fmla="*/ 595 w 1594"/>
              <a:gd name="T77" fmla="*/ 1663 h 1670"/>
              <a:gd name="T78" fmla="*/ 516 w 1594"/>
              <a:gd name="T79" fmla="*/ 1529 h 1670"/>
              <a:gd name="T80" fmla="*/ 419 w 1594"/>
              <a:gd name="T81" fmla="*/ 1334 h 1670"/>
              <a:gd name="T82" fmla="*/ 301 w 1594"/>
              <a:gd name="T83" fmla="*/ 1114 h 1670"/>
              <a:gd name="T84" fmla="*/ 259 w 1594"/>
              <a:gd name="T85" fmla="*/ 861 h 1670"/>
              <a:gd name="T86" fmla="*/ 230 w 1594"/>
              <a:gd name="T87" fmla="*/ 814 h 1670"/>
              <a:gd name="T88" fmla="*/ 164 w 1594"/>
              <a:gd name="T89" fmla="*/ 900 h 1670"/>
              <a:gd name="T90" fmla="*/ 90 w 1594"/>
              <a:gd name="T91" fmla="*/ 876 h 1670"/>
              <a:gd name="T92" fmla="*/ 51 w 1594"/>
              <a:gd name="T93" fmla="*/ 798 h 1670"/>
              <a:gd name="T94" fmla="*/ 30 w 1594"/>
              <a:gd name="T95" fmla="*/ 771 h 1670"/>
              <a:gd name="T96" fmla="*/ 32 w 1594"/>
              <a:gd name="T97" fmla="*/ 708 h 1670"/>
              <a:gd name="T98" fmla="*/ 159 w 1594"/>
              <a:gd name="T99" fmla="*/ 659 h 1670"/>
              <a:gd name="T100" fmla="*/ 92 w 1594"/>
              <a:gd name="T101" fmla="*/ 569 h 1670"/>
              <a:gd name="T102" fmla="*/ 59 w 1594"/>
              <a:gd name="T103" fmla="*/ 500 h 1670"/>
              <a:gd name="T104" fmla="*/ 162 w 1594"/>
              <a:gd name="T105" fmla="*/ 459 h 1670"/>
              <a:gd name="T106" fmla="*/ 270 w 1594"/>
              <a:gd name="T107" fmla="*/ 294 h 1670"/>
              <a:gd name="T108" fmla="*/ 274 w 1594"/>
              <a:gd name="T109" fmla="*/ 230 h 1670"/>
              <a:gd name="T110" fmla="*/ 227 w 1594"/>
              <a:gd name="T111" fmla="*/ 142 h 1670"/>
              <a:gd name="T112" fmla="*/ 322 w 1594"/>
              <a:gd name="T113" fmla="*/ 54 h 1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32" name="Freeform 465">
            <a:extLst>
              <a:ext uri="{FF2B5EF4-FFF2-40B4-BE49-F238E27FC236}">
                <a16:creationId xmlns="" xmlns:a16="http://schemas.microsoft.com/office/drawing/2014/main" id="{00688F7C-1FB0-425D-B104-2AC32D134493}"/>
              </a:ext>
            </a:extLst>
          </p:cNvPr>
          <p:cNvSpPr>
            <a:spLocks/>
          </p:cNvSpPr>
          <p:nvPr>
            <p:custDataLst>
              <p:tags r:id="rId302"/>
            </p:custDataLst>
          </p:nvPr>
        </p:nvSpPr>
        <p:spPr bwMode="auto">
          <a:xfrm>
            <a:off x="3798387" y="4116698"/>
            <a:ext cx="193385" cy="213326"/>
          </a:xfrm>
          <a:custGeom>
            <a:avLst/>
            <a:gdLst>
              <a:gd name="T0" fmla="*/ 53 w 359"/>
              <a:gd name="T1" fmla="*/ 382 h 394"/>
              <a:gd name="T2" fmla="*/ 53 w 359"/>
              <a:gd name="T3" fmla="*/ 358 h 394"/>
              <a:gd name="T4" fmla="*/ 53 w 359"/>
              <a:gd name="T5" fmla="*/ 333 h 394"/>
              <a:gd name="T6" fmla="*/ 50 w 359"/>
              <a:gd name="T7" fmla="*/ 312 h 394"/>
              <a:gd name="T8" fmla="*/ 43 w 359"/>
              <a:gd name="T9" fmla="*/ 293 h 394"/>
              <a:gd name="T10" fmla="*/ 35 w 359"/>
              <a:gd name="T11" fmla="*/ 277 h 394"/>
              <a:gd name="T12" fmla="*/ 13 w 359"/>
              <a:gd name="T13" fmla="*/ 245 h 394"/>
              <a:gd name="T14" fmla="*/ 0 w 359"/>
              <a:gd name="T15" fmla="*/ 185 h 394"/>
              <a:gd name="T16" fmla="*/ 33 w 359"/>
              <a:gd name="T17" fmla="*/ 181 h 394"/>
              <a:gd name="T18" fmla="*/ 40 w 359"/>
              <a:gd name="T19" fmla="*/ 169 h 394"/>
              <a:gd name="T20" fmla="*/ 41 w 359"/>
              <a:gd name="T21" fmla="*/ 150 h 394"/>
              <a:gd name="T22" fmla="*/ 38 w 359"/>
              <a:gd name="T23" fmla="*/ 107 h 394"/>
              <a:gd name="T24" fmla="*/ 31 w 359"/>
              <a:gd name="T25" fmla="*/ 65 h 394"/>
              <a:gd name="T26" fmla="*/ 32 w 359"/>
              <a:gd name="T27" fmla="*/ 47 h 394"/>
              <a:gd name="T28" fmla="*/ 36 w 359"/>
              <a:gd name="T29" fmla="*/ 36 h 394"/>
              <a:gd name="T30" fmla="*/ 120 w 359"/>
              <a:gd name="T31" fmla="*/ 31 h 394"/>
              <a:gd name="T32" fmla="*/ 122 w 359"/>
              <a:gd name="T33" fmla="*/ 22 h 394"/>
              <a:gd name="T34" fmla="*/ 128 w 359"/>
              <a:gd name="T35" fmla="*/ 14 h 394"/>
              <a:gd name="T36" fmla="*/ 140 w 359"/>
              <a:gd name="T37" fmla="*/ 0 h 394"/>
              <a:gd name="T38" fmla="*/ 142 w 359"/>
              <a:gd name="T39" fmla="*/ 18 h 394"/>
              <a:gd name="T40" fmla="*/ 142 w 359"/>
              <a:gd name="T41" fmla="*/ 26 h 394"/>
              <a:gd name="T42" fmla="*/ 140 w 359"/>
              <a:gd name="T43" fmla="*/ 31 h 394"/>
              <a:gd name="T44" fmla="*/ 168 w 359"/>
              <a:gd name="T45" fmla="*/ 31 h 394"/>
              <a:gd name="T46" fmla="*/ 186 w 359"/>
              <a:gd name="T47" fmla="*/ 31 h 394"/>
              <a:gd name="T48" fmla="*/ 214 w 359"/>
              <a:gd name="T49" fmla="*/ 38 h 394"/>
              <a:gd name="T50" fmla="*/ 233 w 359"/>
              <a:gd name="T51" fmla="*/ 49 h 394"/>
              <a:gd name="T52" fmla="*/ 246 w 359"/>
              <a:gd name="T53" fmla="*/ 58 h 394"/>
              <a:gd name="T54" fmla="*/ 259 w 359"/>
              <a:gd name="T55" fmla="*/ 61 h 394"/>
              <a:gd name="T56" fmla="*/ 268 w 359"/>
              <a:gd name="T57" fmla="*/ 59 h 394"/>
              <a:gd name="T58" fmla="*/ 275 w 359"/>
              <a:gd name="T59" fmla="*/ 54 h 394"/>
              <a:gd name="T60" fmla="*/ 286 w 359"/>
              <a:gd name="T61" fmla="*/ 37 h 394"/>
              <a:gd name="T62" fmla="*/ 312 w 359"/>
              <a:gd name="T63" fmla="*/ 52 h 394"/>
              <a:gd name="T64" fmla="*/ 325 w 359"/>
              <a:gd name="T65" fmla="*/ 59 h 394"/>
              <a:gd name="T66" fmla="*/ 338 w 359"/>
              <a:gd name="T67" fmla="*/ 61 h 394"/>
              <a:gd name="T68" fmla="*/ 353 w 359"/>
              <a:gd name="T69" fmla="*/ 161 h 394"/>
              <a:gd name="T70" fmla="*/ 338 w 359"/>
              <a:gd name="T71" fmla="*/ 185 h 394"/>
              <a:gd name="T72" fmla="*/ 323 w 359"/>
              <a:gd name="T73" fmla="*/ 206 h 394"/>
              <a:gd name="T74" fmla="*/ 315 w 359"/>
              <a:gd name="T75" fmla="*/ 224 h 394"/>
              <a:gd name="T76" fmla="*/ 313 w 359"/>
              <a:gd name="T77" fmla="*/ 239 h 394"/>
              <a:gd name="T78" fmla="*/ 313 w 359"/>
              <a:gd name="T79" fmla="*/ 255 h 394"/>
              <a:gd name="T80" fmla="*/ 321 w 359"/>
              <a:gd name="T81" fmla="*/ 273 h 394"/>
              <a:gd name="T82" fmla="*/ 331 w 359"/>
              <a:gd name="T83" fmla="*/ 293 h 394"/>
              <a:gd name="T84" fmla="*/ 337 w 359"/>
              <a:gd name="T85" fmla="*/ 309 h 394"/>
              <a:gd name="T86" fmla="*/ 337 w 359"/>
              <a:gd name="T87" fmla="*/ 321 h 394"/>
              <a:gd name="T88" fmla="*/ 330 w 359"/>
              <a:gd name="T89" fmla="*/ 337 h 394"/>
              <a:gd name="T90" fmla="*/ 326 w 359"/>
              <a:gd name="T91" fmla="*/ 351 h 394"/>
              <a:gd name="T92" fmla="*/ 319 w 359"/>
              <a:gd name="T93" fmla="*/ 358 h 394"/>
              <a:gd name="T94" fmla="*/ 308 w 359"/>
              <a:gd name="T95" fmla="*/ 356 h 394"/>
              <a:gd name="T96" fmla="*/ 298 w 359"/>
              <a:gd name="T97" fmla="*/ 350 h 394"/>
              <a:gd name="T98" fmla="*/ 287 w 359"/>
              <a:gd name="T99" fmla="*/ 340 h 394"/>
              <a:gd name="T100" fmla="*/ 277 w 359"/>
              <a:gd name="T101" fmla="*/ 335 h 394"/>
              <a:gd name="T102" fmla="*/ 266 w 359"/>
              <a:gd name="T103" fmla="*/ 333 h 394"/>
              <a:gd name="T104" fmla="*/ 246 w 359"/>
              <a:gd name="T105" fmla="*/ 333 h 394"/>
              <a:gd name="T106" fmla="*/ 221 w 359"/>
              <a:gd name="T107" fmla="*/ 336 h 394"/>
              <a:gd name="T108" fmla="*/ 181 w 359"/>
              <a:gd name="T109" fmla="*/ 343 h 394"/>
              <a:gd name="T110" fmla="*/ 131 w 359"/>
              <a:gd name="T111" fmla="*/ 359 h 394"/>
              <a:gd name="T112" fmla="*/ 86 w 359"/>
              <a:gd name="T113" fmla="*/ 375 h 394"/>
              <a:gd name="T114" fmla="*/ 53 w 359"/>
              <a:gd name="T115" fmla="*/ 394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33" name="Freeform 466">
            <a:extLst>
              <a:ext uri="{FF2B5EF4-FFF2-40B4-BE49-F238E27FC236}">
                <a16:creationId xmlns="" xmlns:a16="http://schemas.microsoft.com/office/drawing/2014/main" id="{CBDB52B7-86C3-4104-B3C6-B5D943187E3B}"/>
              </a:ext>
            </a:extLst>
          </p:cNvPr>
          <p:cNvSpPr>
            <a:spLocks/>
          </p:cNvSpPr>
          <p:nvPr>
            <p:custDataLst>
              <p:tags r:id="rId303"/>
            </p:custDataLst>
          </p:nvPr>
        </p:nvSpPr>
        <p:spPr bwMode="auto">
          <a:xfrm>
            <a:off x="5099869" y="4318537"/>
            <a:ext cx="233997" cy="280607"/>
          </a:xfrm>
          <a:custGeom>
            <a:avLst/>
            <a:gdLst>
              <a:gd name="T0" fmla="*/ 410 w 449"/>
              <a:gd name="T1" fmla="*/ 105 h 523"/>
              <a:gd name="T2" fmla="*/ 405 w 449"/>
              <a:gd name="T3" fmla="*/ 98 h 523"/>
              <a:gd name="T4" fmla="*/ 408 w 449"/>
              <a:gd name="T5" fmla="*/ 92 h 523"/>
              <a:gd name="T6" fmla="*/ 422 w 449"/>
              <a:gd name="T7" fmla="*/ 77 h 523"/>
              <a:gd name="T8" fmla="*/ 441 w 449"/>
              <a:gd name="T9" fmla="*/ 60 h 523"/>
              <a:gd name="T10" fmla="*/ 447 w 449"/>
              <a:gd name="T11" fmla="*/ 50 h 523"/>
              <a:gd name="T12" fmla="*/ 449 w 449"/>
              <a:gd name="T13" fmla="*/ 37 h 523"/>
              <a:gd name="T14" fmla="*/ 432 w 449"/>
              <a:gd name="T15" fmla="*/ 34 h 523"/>
              <a:gd name="T16" fmla="*/ 422 w 449"/>
              <a:gd name="T17" fmla="*/ 27 h 523"/>
              <a:gd name="T18" fmla="*/ 411 w 449"/>
              <a:gd name="T19" fmla="*/ 21 h 523"/>
              <a:gd name="T20" fmla="*/ 390 w 449"/>
              <a:gd name="T21" fmla="*/ 18 h 523"/>
              <a:gd name="T22" fmla="*/ 377 w 449"/>
              <a:gd name="T23" fmla="*/ 20 h 523"/>
              <a:gd name="T24" fmla="*/ 368 w 449"/>
              <a:gd name="T25" fmla="*/ 24 h 523"/>
              <a:gd name="T26" fmla="*/ 355 w 449"/>
              <a:gd name="T27" fmla="*/ 37 h 523"/>
              <a:gd name="T28" fmla="*/ 340 w 449"/>
              <a:gd name="T29" fmla="*/ 50 h 523"/>
              <a:gd name="T30" fmla="*/ 326 w 449"/>
              <a:gd name="T31" fmla="*/ 54 h 523"/>
              <a:gd name="T32" fmla="*/ 310 w 449"/>
              <a:gd name="T33" fmla="*/ 55 h 523"/>
              <a:gd name="T34" fmla="*/ 287 w 449"/>
              <a:gd name="T35" fmla="*/ 54 h 523"/>
              <a:gd name="T36" fmla="*/ 267 w 449"/>
              <a:gd name="T37" fmla="*/ 50 h 523"/>
              <a:gd name="T38" fmla="*/ 235 w 449"/>
              <a:gd name="T39" fmla="*/ 36 h 523"/>
              <a:gd name="T40" fmla="*/ 206 w 449"/>
              <a:gd name="T41" fmla="*/ 19 h 523"/>
              <a:gd name="T42" fmla="*/ 189 w 449"/>
              <a:gd name="T43" fmla="*/ 12 h 523"/>
              <a:gd name="T44" fmla="*/ 170 w 449"/>
              <a:gd name="T45" fmla="*/ 6 h 523"/>
              <a:gd name="T46" fmla="*/ 134 w 449"/>
              <a:gd name="T47" fmla="*/ 8 h 523"/>
              <a:gd name="T48" fmla="*/ 119 w 449"/>
              <a:gd name="T49" fmla="*/ 6 h 523"/>
              <a:gd name="T50" fmla="*/ 103 w 449"/>
              <a:gd name="T51" fmla="*/ 0 h 523"/>
              <a:gd name="T52" fmla="*/ 52 w 449"/>
              <a:gd name="T53" fmla="*/ 0 h 523"/>
              <a:gd name="T54" fmla="*/ 5 w 449"/>
              <a:gd name="T55" fmla="*/ 0 h 523"/>
              <a:gd name="T56" fmla="*/ 5 w 449"/>
              <a:gd name="T57" fmla="*/ 18 h 523"/>
              <a:gd name="T58" fmla="*/ 5 w 449"/>
              <a:gd name="T59" fmla="*/ 37 h 523"/>
              <a:gd name="T60" fmla="*/ 15 w 449"/>
              <a:gd name="T61" fmla="*/ 60 h 523"/>
              <a:gd name="T62" fmla="*/ 23 w 449"/>
              <a:gd name="T63" fmla="*/ 91 h 523"/>
              <a:gd name="T64" fmla="*/ 31 w 449"/>
              <a:gd name="T65" fmla="*/ 128 h 523"/>
              <a:gd name="T66" fmla="*/ 38 w 449"/>
              <a:gd name="T67" fmla="*/ 172 h 523"/>
              <a:gd name="T68" fmla="*/ 37 w 449"/>
              <a:gd name="T69" fmla="*/ 206 h 523"/>
              <a:gd name="T70" fmla="*/ 29 w 449"/>
              <a:gd name="T71" fmla="*/ 230 h 523"/>
              <a:gd name="T72" fmla="*/ 7 w 449"/>
              <a:gd name="T73" fmla="*/ 269 h 523"/>
              <a:gd name="T74" fmla="*/ 10 w 449"/>
              <a:gd name="T75" fmla="*/ 321 h 523"/>
              <a:gd name="T76" fmla="*/ 28 w 449"/>
              <a:gd name="T77" fmla="*/ 339 h 523"/>
              <a:gd name="T78" fmla="*/ 84 w 449"/>
              <a:gd name="T79" fmla="*/ 367 h 523"/>
              <a:gd name="T80" fmla="*/ 136 w 449"/>
              <a:gd name="T81" fmla="*/ 396 h 523"/>
              <a:gd name="T82" fmla="*/ 170 w 449"/>
              <a:gd name="T83" fmla="*/ 420 h 523"/>
              <a:gd name="T84" fmla="*/ 189 w 449"/>
              <a:gd name="T85" fmla="*/ 436 h 523"/>
              <a:gd name="T86" fmla="*/ 198 w 449"/>
              <a:gd name="T87" fmla="*/ 451 h 523"/>
              <a:gd name="T88" fmla="*/ 201 w 449"/>
              <a:gd name="T89" fmla="*/ 464 h 523"/>
              <a:gd name="T90" fmla="*/ 209 w 449"/>
              <a:gd name="T91" fmla="*/ 479 h 523"/>
              <a:gd name="T92" fmla="*/ 220 w 449"/>
              <a:gd name="T93" fmla="*/ 492 h 523"/>
              <a:gd name="T94" fmla="*/ 233 w 449"/>
              <a:gd name="T95" fmla="*/ 503 h 523"/>
              <a:gd name="T96" fmla="*/ 247 w 449"/>
              <a:gd name="T97" fmla="*/ 512 h 523"/>
              <a:gd name="T98" fmla="*/ 264 w 449"/>
              <a:gd name="T99" fmla="*/ 519 h 523"/>
              <a:gd name="T100" fmla="*/ 281 w 449"/>
              <a:gd name="T101" fmla="*/ 523 h 523"/>
              <a:gd name="T102" fmla="*/ 304 w 449"/>
              <a:gd name="T103" fmla="*/ 502 h 523"/>
              <a:gd name="T104" fmla="*/ 335 w 449"/>
              <a:gd name="T105" fmla="*/ 462 h 523"/>
              <a:gd name="T106" fmla="*/ 365 w 449"/>
              <a:gd name="T107" fmla="*/ 427 h 523"/>
              <a:gd name="T108" fmla="*/ 394 w 449"/>
              <a:gd name="T109" fmla="*/ 39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chemeClr val="accent2"/>
          </a:solidFill>
          <a:ln w="9525" cmpd="sng">
            <a:solidFill>
              <a:srgbClr val="FFFFFF"/>
            </a:solidFill>
            <a:prstDash val="solid"/>
            <a:round/>
            <a:headEnd/>
            <a:tailEnd/>
          </a:ln>
        </p:spPr>
        <p:txBody>
          <a:bodyPr/>
          <a:lstStyle/>
          <a:p>
            <a:endParaRPr lang="en-GB" dirty="0"/>
          </a:p>
        </p:txBody>
      </p:sp>
      <p:sp>
        <p:nvSpPr>
          <p:cNvPr id="434" name="Freeform 467">
            <a:extLst>
              <a:ext uri="{FF2B5EF4-FFF2-40B4-BE49-F238E27FC236}">
                <a16:creationId xmlns="" xmlns:a16="http://schemas.microsoft.com/office/drawing/2014/main" id="{592DB19D-578B-4CBD-82E0-75D256F070DB}"/>
              </a:ext>
            </a:extLst>
          </p:cNvPr>
          <p:cNvSpPr>
            <a:spLocks/>
          </p:cNvSpPr>
          <p:nvPr>
            <p:custDataLst>
              <p:tags r:id="rId304"/>
            </p:custDataLst>
          </p:nvPr>
        </p:nvSpPr>
        <p:spPr bwMode="auto">
          <a:xfrm>
            <a:off x="5078597" y="3373335"/>
            <a:ext cx="123766" cy="134560"/>
          </a:xfrm>
          <a:custGeom>
            <a:avLst/>
            <a:gdLst>
              <a:gd name="T0" fmla="*/ 12 w 226"/>
              <a:gd name="T1" fmla="*/ 228 h 246"/>
              <a:gd name="T2" fmla="*/ 36 w 226"/>
              <a:gd name="T3" fmla="*/ 240 h 246"/>
              <a:gd name="T4" fmla="*/ 53 w 226"/>
              <a:gd name="T5" fmla="*/ 245 h 246"/>
              <a:gd name="T6" fmla="*/ 68 w 226"/>
              <a:gd name="T7" fmla="*/ 245 h 246"/>
              <a:gd name="T8" fmla="*/ 85 w 226"/>
              <a:gd name="T9" fmla="*/ 241 h 246"/>
              <a:gd name="T10" fmla="*/ 110 w 226"/>
              <a:gd name="T11" fmla="*/ 228 h 246"/>
              <a:gd name="T12" fmla="*/ 141 w 226"/>
              <a:gd name="T13" fmla="*/ 205 h 246"/>
              <a:gd name="T14" fmla="*/ 161 w 226"/>
              <a:gd name="T15" fmla="*/ 184 h 246"/>
              <a:gd name="T16" fmla="*/ 159 w 226"/>
              <a:gd name="T17" fmla="*/ 173 h 246"/>
              <a:gd name="T18" fmla="*/ 149 w 226"/>
              <a:gd name="T19" fmla="*/ 160 h 246"/>
              <a:gd name="T20" fmla="*/ 143 w 226"/>
              <a:gd name="T21" fmla="*/ 145 h 246"/>
              <a:gd name="T22" fmla="*/ 141 w 226"/>
              <a:gd name="T23" fmla="*/ 130 h 246"/>
              <a:gd name="T24" fmla="*/ 141 w 226"/>
              <a:gd name="T25" fmla="*/ 116 h 246"/>
              <a:gd name="T26" fmla="*/ 146 w 226"/>
              <a:gd name="T27" fmla="*/ 105 h 246"/>
              <a:gd name="T28" fmla="*/ 156 w 226"/>
              <a:gd name="T29" fmla="*/ 94 h 246"/>
              <a:gd name="T30" fmla="*/ 168 w 226"/>
              <a:gd name="T31" fmla="*/ 86 h 246"/>
              <a:gd name="T32" fmla="*/ 204 w 226"/>
              <a:gd name="T33" fmla="*/ 71 h 246"/>
              <a:gd name="T34" fmla="*/ 225 w 226"/>
              <a:gd name="T35" fmla="*/ 49 h 246"/>
              <a:gd name="T36" fmla="*/ 221 w 226"/>
              <a:gd name="T37" fmla="*/ 30 h 246"/>
              <a:gd name="T38" fmla="*/ 214 w 226"/>
              <a:gd name="T39" fmla="*/ 17 h 246"/>
              <a:gd name="T40" fmla="*/ 212 w 226"/>
              <a:gd name="T41" fmla="*/ 6 h 246"/>
              <a:gd name="T42" fmla="*/ 202 w 226"/>
              <a:gd name="T43" fmla="*/ 1 h 246"/>
              <a:gd name="T44" fmla="*/ 181 w 226"/>
              <a:gd name="T45" fmla="*/ 7 h 246"/>
              <a:gd name="T46" fmla="*/ 154 w 226"/>
              <a:gd name="T47" fmla="*/ 20 h 246"/>
              <a:gd name="T48" fmla="*/ 121 w 226"/>
              <a:gd name="T49" fmla="*/ 38 h 246"/>
              <a:gd name="T50" fmla="*/ 100 w 226"/>
              <a:gd name="T51" fmla="*/ 51 h 246"/>
              <a:gd name="T52" fmla="*/ 87 w 226"/>
              <a:gd name="T53" fmla="*/ 55 h 246"/>
              <a:gd name="T54" fmla="*/ 75 w 226"/>
              <a:gd name="T55" fmla="*/ 54 h 246"/>
              <a:gd name="T56" fmla="*/ 59 w 226"/>
              <a:gd name="T57" fmla="*/ 47 h 246"/>
              <a:gd name="T58" fmla="*/ 36 w 226"/>
              <a:gd name="T59" fmla="*/ 31 h 246"/>
              <a:gd name="T60" fmla="*/ 24 w 226"/>
              <a:gd name="T61" fmla="*/ 39 h 246"/>
              <a:gd name="T62" fmla="*/ 18 w 226"/>
              <a:gd name="T63" fmla="*/ 95 h 246"/>
              <a:gd name="T64" fmla="*/ 10 w 226"/>
              <a:gd name="T65" fmla="*/ 163 h 246"/>
              <a:gd name="T66" fmla="*/ 3 w 226"/>
              <a:gd name="T67" fmla="*/ 2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35" name="Freeform 468">
            <a:extLst>
              <a:ext uri="{FF2B5EF4-FFF2-40B4-BE49-F238E27FC236}">
                <a16:creationId xmlns="" xmlns:a16="http://schemas.microsoft.com/office/drawing/2014/main" id="{AF77CF22-EEBA-4C4A-A3B0-C0151012FE33}"/>
              </a:ext>
            </a:extLst>
          </p:cNvPr>
          <p:cNvSpPr>
            <a:spLocks/>
          </p:cNvSpPr>
          <p:nvPr>
            <p:custDataLst>
              <p:tags r:id="rId305"/>
            </p:custDataLst>
          </p:nvPr>
        </p:nvSpPr>
        <p:spPr bwMode="auto">
          <a:xfrm>
            <a:off x="5442161" y="3479999"/>
            <a:ext cx="27074" cy="57434"/>
          </a:xfrm>
          <a:custGeom>
            <a:avLst/>
            <a:gdLst>
              <a:gd name="T0" fmla="*/ 27 w 60"/>
              <a:gd name="T1" fmla="*/ 0 h 81"/>
              <a:gd name="T2" fmla="*/ 29 w 60"/>
              <a:gd name="T3" fmla="*/ 2 h 81"/>
              <a:gd name="T4" fmla="*/ 32 w 60"/>
              <a:gd name="T5" fmla="*/ 3 h 81"/>
              <a:gd name="T6" fmla="*/ 36 w 60"/>
              <a:gd name="T7" fmla="*/ 3 h 81"/>
              <a:gd name="T8" fmla="*/ 40 w 60"/>
              <a:gd name="T9" fmla="*/ 2 h 81"/>
              <a:gd name="T10" fmla="*/ 47 w 60"/>
              <a:gd name="T11" fmla="*/ 1 h 81"/>
              <a:gd name="T12" fmla="*/ 53 w 60"/>
              <a:gd name="T13" fmla="*/ 0 h 81"/>
              <a:gd name="T14" fmla="*/ 53 w 60"/>
              <a:gd name="T15" fmla="*/ 26 h 81"/>
              <a:gd name="T16" fmla="*/ 54 w 60"/>
              <a:gd name="T17" fmla="*/ 47 h 81"/>
              <a:gd name="T18" fmla="*/ 54 w 60"/>
              <a:gd name="T19" fmla="*/ 57 h 81"/>
              <a:gd name="T20" fmla="*/ 56 w 60"/>
              <a:gd name="T21" fmla="*/ 65 h 81"/>
              <a:gd name="T22" fmla="*/ 58 w 60"/>
              <a:gd name="T23" fmla="*/ 73 h 81"/>
              <a:gd name="T24" fmla="*/ 60 w 60"/>
              <a:gd name="T25" fmla="*/ 81 h 81"/>
              <a:gd name="T26" fmla="*/ 20 w 60"/>
              <a:gd name="T27" fmla="*/ 81 h 81"/>
              <a:gd name="T28" fmla="*/ 14 w 60"/>
              <a:gd name="T29" fmla="*/ 80 h 81"/>
              <a:gd name="T30" fmla="*/ 7 w 60"/>
              <a:gd name="T31" fmla="*/ 77 h 81"/>
              <a:gd name="T32" fmla="*/ 5 w 60"/>
              <a:gd name="T33" fmla="*/ 74 h 81"/>
              <a:gd name="T34" fmla="*/ 2 w 60"/>
              <a:gd name="T35" fmla="*/ 72 h 81"/>
              <a:gd name="T36" fmla="*/ 1 w 60"/>
              <a:gd name="T37" fmla="*/ 70 h 81"/>
              <a:gd name="T38" fmla="*/ 0 w 60"/>
              <a:gd name="T39" fmla="*/ 68 h 81"/>
              <a:gd name="T40" fmla="*/ 7 w 60"/>
              <a:gd name="T41" fmla="*/ 12 h 81"/>
              <a:gd name="T42" fmla="*/ 20 w 60"/>
              <a:gd name="T43" fmla="*/ 6 h 81"/>
              <a:gd name="T44" fmla="*/ 34 w 60"/>
              <a:gd name="T45" fmla="*/ 0 h 81"/>
              <a:gd name="T46" fmla="*/ 27 w 60"/>
              <a:gd name="T4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36" name="Freeform 469">
            <a:extLst>
              <a:ext uri="{FF2B5EF4-FFF2-40B4-BE49-F238E27FC236}">
                <a16:creationId xmlns="" xmlns:a16="http://schemas.microsoft.com/office/drawing/2014/main" id="{BDD6CF90-013A-4D2F-85CA-A6B8EB6CF5D3}"/>
              </a:ext>
            </a:extLst>
          </p:cNvPr>
          <p:cNvSpPr>
            <a:spLocks/>
          </p:cNvSpPr>
          <p:nvPr>
            <p:custDataLst>
              <p:tags r:id="rId306"/>
            </p:custDataLst>
          </p:nvPr>
        </p:nvSpPr>
        <p:spPr bwMode="auto">
          <a:xfrm>
            <a:off x="4573861" y="2585667"/>
            <a:ext cx="197253" cy="68921"/>
          </a:xfrm>
          <a:custGeom>
            <a:avLst/>
            <a:gdLst>
              <a:gd name="T0" fmla="*/ 250 w 370"/>
              <a:gd name="T1" fmla="*/ 117 h 129"/>
              <a:gd name="T2" fmla="*/ 258 w 370"/>
              <a:gd name="T3" fmla="*/ 119 h 129"/>
              <a:gd name="T4" fmla="*/ 277 w 370"/>
              <a:gd name="T5" fmla="*/ 123 h 129"/>
              <a:gd name="T6" fmla="*/ 295 w 370"/>
              <a:gd name="T7" fmla="*/ 127 h 129"/>
              <a:gd name="T8" fmla="*/ 303 w 370"/>
              <a:gd name="T9" fmla="*/ 129 h 129"/>
              <a:gd name="T10" fmla="*/ 370 w 370"/>
              <a:gd name="T11" fmla="*/ 97 h 129"/>
              <a:gd name="T12" fmla="*/ 358 w 370"/>
              <a:gd name="T13" fmla="*/ 75 h 129"/>
              <a:gd name="T14" fmla="*/ 345 w 370"/>
              <a:gd name="T15" fmla="*/ 48 h 129"/>
              <a:gd name="T16" fmla="*/ 335 w 370"/>
              <a:gd name="T17" fmla="*/ 27 h 129"/>
              <a:gd name="T18" fmla="*/ 330 w 370"/>
              <a:gd name="T19" fmla="*/ 18 h 129"/>
              <a:gd name="T20" fmla="*/ 300 w 370"/>
              <a:gd name="T21" fmla="*/ 15 h 129"/>
              <a:gd name="T22" fmla="*/ 257 w 370"/>
              <a:gd name="T23" fmla="*/ 9 h 129"/>
              <a:gd name="T24" fmla="*/ 214 w 370"/>
              <a:gd name="T25" fmla="*/ 2 h 129"/>
              <a:gd name="T26" fmla="*/ 183 w 370"/>
              <a:gd name="T27" fmla="*/ 0 h 129"/>
              <a:gd name="T28" fmla="*/ 179 w 370"/>
              <a:gd name="T29" fmla="*/ 0 h 129"/>
              <a:gd name="T30" fmla="*/ 176 w 370"/>
              <a:gd name="T31" fmla="*/ 1 h 129"/>
              <a:gd name="T32" fmla="*/ 172 w 370"/>
              <a:gd name="T33" fmla="*/ 2 h 129"/>
              <a:gd name="T34" fmla="*/ 170 w 370"/>
              <a:gd name="T35" fmla="*/ 3 h 129"/>
              <a:gd name="T36" fmla="*/ 162 w 370"/>
              <a:gd name="T37" fmla="*/ 7 h 129"/>
              <a:gd name="T38" fmla="*/ 150 w 370"/>
              <a:gd name="T39" fmla="*/ 12 h 129"/>
              <a:gd name="T40" fmla="*/ 147 w 370"/>
              <a:gd name="T41" fmla="*/ 21 h 129"/>
              <a:gd name="T42" fmla="*/ 140 w 370"/>
              <a:gd name="T43" fmla="*/ 35 h 129"/>
              <a:gd name="T44" fmla="*/ 134 w 370"/>
              <a:gd name="T45" fmla="*/ 48 h 129"/>
              <a:gd name="T46" fmla="*/ 131 w 370"/>
              <a:gd name="T47" fmla="*/ 55 h 129"/>
              <a:gd name="T48" fmla="*/ 122 w 370"/>
              <a:gd name="T49" fmla="*/ 54 h 129"/>
              <a:gd name="T50" fmla="*/ 111 w 370"/>
              <a:gd name="T51" fmla="*/ 49 h 129"/>
              <a:gd name="T52" fmla="*/ 98 w 370"/>
              <a:gd name="T53" fmla="*/ 44 h 129"/>
              <a:gd name="T54" fmla="*/ 84 w 370"/>
              <a:gd name="T55" fmla="*/ 38 h 129"/>
              <a:gd name="T56" fmla="*/ 60 w 370"/>
              <a:gd name="T57" fmla="*/ 26 h 129"/>
              <a:gd name="T58" fmla="*/ 44 w 370"/>
              <a:gd name="T59" fmla="*/ 18 h 129"/>
              <a:gd name="T60" fmla="*/ 32 w 370"/>
              <a:gd name="T61" fmla="*/ 25 h 129"/>
              <a:gd name="T62" fmla="*/ 21 w 370"/>
              <a:gd name="T63" fmla="*/ 33 h 129"/>
              <a:gd name="T64" fmla="*/ 16 w 370"/>
              <a:gd name="T65" fmla="*/ 37 h 129"/>
              <a:gd name="T66" fmla="*/ 12 w 370"/>
              <a:gd name="T67" fmla="*/ 41 h 129"/>
              <a:gd name="T68" fmla="*/ 9 w 370"/>
              <a:gd name="T69" fmla="*/ 46 h 129"/>
              <a:gd name="T70" fmla="*/ 5 w 370"/>
              <a:gd name="T71" fmla="*/ 52 h 129"/>
              <a:gd name="T72" fmla="*/ 3 w 370"/>
              <a:gd name="T73" fmla="*/ 57 h 129"/>
              <a:gd name="T74" fmla="*/ 1 w 370"/>
              <a:gd name="T75" fmla="*/ 63 h 129"/>
              <a:gd name="T76" fmla="*/ 0 w 370"/>
              <a:gd name="T77" fmla="*/ 69 h 129"/>
              <a:gd name="T78" fmla="*/ 0 w 370"/>
              <a:gd name="T79" fmla="*/ 75 h 129"/>
              <a:gd name="T80" fmla="*/ 1 w 370"/>
              <a:gd name="T81" fmla="*/ 82 h 129"/>
              <a:gd name="T82" fmla="*/ 3 w 370"/>
              <a:gd name="T83" fmla="*/ 88 h 129"/>
              <a:gd name="T84" fmla="*/ 6 w 370"/>
              <a:gd name="T85" fmla="*/ 96 h 129"/>
              <a:gd name="T86" fmla="*/ 11 w 370"/>
              <a:gd name="T87" fmla="*/ 103 h 129"/>
              <a:gd name="T88" fmla="*/ 20 w 370"/>
              <a:gd name="T89" fmla="*/ 101 h 129"/>
              <a:gd name="T90" fmla="*/ 33 w 370"/>
              <a:gd name="T91" fmla="*/ 99 h 129"/>
              <a:gd name="T92" fmla="*/ 50 w 370"/>
              <a:gd name="T93" fmla="*/ 97 h 129"/>
              <a:gd name="T94" fmla="*/ 69 w 370"/>
              <a:gd name="T95" fmla="*/ 95 h 129"/>
              <a:gd name="T96" fmla="*/ 102 w 370"/>
              <a:gd name="T97" fmla="*/ 92 h 129"/>
              <a:gd name="T98" fmla="*/ 117 w 370"/>
              <a:gd name="T99" fmla="*/ 91 h 129"/>
              <a:gd name="T100" fmla="*/ 137 w 370"/>
              <a:gd name="T101" fmla="*/ 92 h 129"/>
              <a:gd name="T102" fmla="*/ 152 w 370"/>
              <a:gd name="T103" fmla="*/ 94 h 129"/>
              <a:gd name="T104" fmla="*/ 166 w 370"/>
              <a:gd name="T105" fmla="*/ 97 h 129"/>
              <a:gd name="T106" fmla="*/ 177 w 370"/>
              <a:gd name="T107" fmla="*/ 100 h 129"/>
              <a:gd name="T108" fmla="*/ 189 w 370"/>
              <a:gd name="T109" fmla="*/ 104 h 129"/>
              <a:gd name="T110" fmla="*/ 201 w 370"/>
              <a:gd name="T111" fmla="*/ 108 h 129"/>
              <a:gd name="T112" fmla="*/ 217 w 370"/>
              <a:gd name="T113" fmla="*/ 110 h 129"/>
              <a:gd name="T114" fmla="*/ 237 w 370"/>
              <a:gd name="T115" fmla="*/ 111 h 129"/>
              <a:gd name="T116" fmla="*/ 237 w 370"/>
              <a:gd name="T117" fmla="*/ 117 h 129"/>
              <a:gd name="T118" fmla="*/ 250 w 370"/>
              <a:gd name="T119" fmla="*/ 11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37" name="Freeform 470">
            <a:extLst>
              <a:ext uri="{FF2B5EF4-FFF2-40B4-BE49-F238E27FC236}">
                <a16:creationId xmlns="" xmlns:a16="http://schemas.microsoft.com/office/drawing/2014/main" id="{31DF2286-AB96-455D-91F4-B9DF3CE6E607}"/>
              </a:ext>
            </a:extLst>
          </p:cNvPr>
          <p:cNvSpPr>
            <a:spLocks/>
          </p:cNvSpPr>
          <p:nvPr>
            <p:custDataLst>
              <p:tags r:id="rId307"/>
            </p:custDataLst>
          </p:nvPr>
        </p:nvSpPr>
        <p:spPr bwMode="auto">
          <a:xfrm>
            <a:off x="5074730" y="3330670"/>
            <a:ext cx="36742" cy="59076"/>
          </a:xfrm>
          <a:custGeom>
            <a:avLst/>
            <a:gdLst>
              <a:gd name="T0" fmla="*/ 27 w 80"/>
              <a:gd name="T1" fmla="*/ 1 h 94"/>
              <a:gd name="T2" fmla="*/ 34 w 80"/>
              <a:gd name="T3" fmla="*/ 0 h 94"/>
              <a:gd name="T4" fmla="*/ 41 w 80"/>
              <a:gd name="T5" fmla="*/ 0 h 94"/>
              <a:gd name="T6" fmla="*/ 47 w 80"/>
              <a:gd name="T7" fmla="*/ 2 h 94"/>
              <a:gd name="T8" fmla="*/ 54 w 80"/>
              <a:gd name="T9" fmla="*/ 4 h 94"/>
              <a:gd name="T10" fmla="*/ 60 w 80"/>
              <a:gd name="T11" fmla="*/ 6 h 94"/>
              <a:gd name="T12" fmla="*/ 66 w 80"/>
              <a:gd name="T13" fmla="*/ 8 h 94"/>
              <a:gd name="T14" fmla="*/ 73 w 80"/>
              <a:gd name="T15" fmla="*/ 8 h 94"/>
              <a:gd name="T16" fmla="*/ 80 w 80"/>
              <a:gd name="T17" fmla="*/ 7 h 94"/>
              <a:gd name="T18" fmla="*/ 80 w 80"/>
              <a:gd name="T19" fmla="*/ 38 h 94"/>
              <a:gd name="T20" fmla="*/ 75 w 80"/>
              <a:gd name="T21" fmla="*/ 44 h 94"/>
              <a:gd name="T22" fmla="*/ 69 w 80"/>
              <a:gd name="T23" fmla="*/ 51 h 94"/>
              <a:gd name="T24" fmla="*/ 64 w 80"/>
              <a:gd name="T25" fmla="*/ 59 h 94"/>
              <a:gd name="T26" fmla="*/ 58 w 80"/>
              <a:gd name="T27" fmla="*/ 68 h 94"/>
              <a:gd name="T28" fmla="*/ 51 w 80"/>
              <a:gd name="T29" fmla="*/ 84 h 94"/>
              <a:gd name="T30" fmla="*/ 47 w 80"/>
              <a:gd name="T31" fmla="*/ 94 h 94"/>
              <a:gd name="T32" fmla="*/ 43 w 80"/>
              <a:gd name="T33" fmla="*/ 93 h 94"/>
              <a:gd name="T34" fmla="*/ 40 w 80"/>
              <a:gd name="T35" fmla="*/ 92 h 94"/>
              <a:gd name="T36" fmla="*/ 37 w 80"/>
              <a:gd name="T37" fmla="*/ 91 h 94"/>
              <a:gd name="T38" fmla="*/ 34 w 80"/>
              <a:gd name="T39" fmla="*/ 89 h 94"/>
              <a:gd name="T40" fmla="*/ 29 w 80"/>
              <a:gd name="T41" fmla="*/ 84 h 94"/>
              <a:gd name="T42" fmla="*/ 23 w 80"/>
              <a:gd name="T43" fmla="*/ 78 h 94"/>
              <a:gd name="T44" fmla="*/ 19 w 80"/>
              <a:gd name="T45" fmla="*/ 72 h 94"/>
              <a:gd name="T46" fmla="*/ 13 w 80"/>
              <a:gd name="T47" fmla="*/ 65 h 94"/>
              <a:gd name="T48" fmla="*/ 7 w 80"/>
              <a:gd name="T49" fmla="*/ 60 h 94"/>
              <a:gd name="T50" fmla="*/ 0 w 80"/>
              <a:gd name="T51" fmla="*/ 56 h 94"/>
              <a:gd name="T52" fmla="*/ 8 w 80"/>
              <a:gd name="T53" fmla="*/ 41 h 94"/>
              <a:gd name="T54" fmla="*/ 13 w 80"/>
              <a:gd name="T55" fmla="*/ 29 h 94"/>
              <a:gd name="T56" fmla="*/ 19 w 80"/>
              <a:gd name="T57" fmla="*/ 17 h 94"/>
              <a:gd name="T58" fmla="*/ 27 w 80"/>
              <a:gd name="T59" fmla="*/ 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38" name="Freeform 471">
            <a:extLst>
              <a:ext uri="{FF2B5EF4-FFF2-40B4-BE49-F238E27FC236}">
                <a16:creationId xmlns="" xmlns:a16="http://schemas.microsoft.com/office/drawing/2014/main" id="{228D0A39-FF4C-4C52-8141-A1D4062EA3D3}"/>
              </a:ext>
            </a:extLst>
          </p:cNvPr>
          <p:cNvSpPr>
            <a:spLocks/>
          </p:cNvSpPr>
          <p:nvPr>
            <p:custDataLst>
              <p:tags r:id="rId308"/>
            </p:custDataLst>
          </p:nvPr>
        </p:nvSpPr>
        <p:spPr bwMode="auto">
          <a:xfrm>
            <a:off x="4850402" y="5409786"/>
            <a:ext cx="75419" cy="59076"/>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accent2"/>
          </a:solidFill>
          <a:ln w="9525" cmpd="sng">
            <a:solidFill>
              <a:srgbClr val="FFFFFF"/>
            </a:solidFill>
            <a:prstDash val="solid"/>
            <a:round/>
            <a:headEnd/>
            <a:tailEnd/>
          </a:ln>
        </p:spPr>
        <p:txBody>
          <a:bodyPr/>
          <a:lstStyle/>
          <a:p>
            <a:endParaRPr lang="en-GB" dirty="0"/>
          </a:p>
        </p:txBody>
      </p:sp>
      <p:sp>
        <p:nvSpPr>
          <p:cNvPr id="439" name="Freeform 472">
            <a:extLst>
              <a:ext uri="{FF2B5EF4-FFF2-40B4-BE49-F238E27FC236}">
                <a16:creationId xmlns="" xmlns:a16="http://schemas.microsoft.com/office/drawing/2014/main" id="{1F82B353-4C2C-41D9-852F-A71226E3CE1D}"/>
              </a:ext>
            </a:extLst>
          </p:cNvPr>
          <p:cNvSpPr>
            <a:spLocks/>
          </p:cNvSpPr>
          <p:nvPr>
            <p:custDataLst>
              <p:tags r:id="rId309"/>
            </p:custDataLst>
          </p:nvPr>
        </p:nvSpPr>
        <p:spPr bwMode="auto">
          <a:xfrm>
            <a:off x="4571928" y="2634896"/>
            <a:ext cx="160509" cy="86972"/>
          </a:xfrm>
          <a:custGeom>
            <a:avLst/>
            <a:gdLst>
              <a:gd name="T0" fmla="*/ 192 w 312"/>
              <a:gd name="T1" fmla="*/ 155 h 155"/>
              <a:gd name="T2" fmla="*/ 194 w 312"/>
              <a:gd name="T3" fmla="*/ 151 h 155"/>
              <a:gd name="T4" fmla="*/ 197 w 312"/>
              <a:gd name="T5" fmla="*/ 148 h 155"/>
              <a:gd name="T6" fmla="*/ 200 w 312"/>
              <a:gd name="T7" fmla="*/ 145 h 155"/>
              <a:gd name="T8" fmla="*/ 203 w 312"/>
              <a:gd name="T9" fmla="*/ 142 h 155"/>
              <a:gd name="T10" fmla="*/ 211 w 312"/>
              <a:gd name="T11" fmla="*/ 137 h 155"/>
              <a:gd name="T12" fmla="*/ 220 w 312"/>
              <a:gd name="T13" fmla="*/ 132 h 155"/>
              <a:gd name="T14" fmla="*/ 238 w 312"/>
              <a:gd name="T15" fmla="*/ 123 h 155"/>
              <a:gd name="T16" fmla="*/ 253 w 312"/>
              <a:gd name="T17" fmla="*/ 117 h 155"/>
              <a:gd name="T18" fmla="*/ 255 w 312"/>
              <a:gd name="T19" fmla="*/ 109 h 155"/>
              <a:gd name="T20" fmla="*/ 260 w 312"/>
              <a:gd name="T21" fmla="*/ 97 h 155"/>
              <a:gd name="T22" fmla="*/ 264 w 312"/>
              <a:gd name="T23" fmla="*/ 91 h 155"/>
              <a:gd name="T24" fmla="*/ 267 w 312"/>
              <a:gd name="T25" fmla="*/ 86 h 155"/>
              <a:gd name="T26" fmla="*/ 269 w 312"/>
              <a:gd name="T27" fmla="*/ 82 h 155"/>
              <a:gd name="T28" fmla="*/ 272 w 312"/>
              <a:gd name="T29" fmla="*/ 81 h 155"/>
              <a:gd name="T30" fmla="*/ 312 w 312"/>
              <a:gd name="T31" fmla="*/ 44 h 155"/>
              <a:gd name="T32" fmla="*/ 312 w 312"/>
              <a:gd name="T33" fmla="*/ 39 h 155"/>
              <a:gd name="T34" fmla="*/ 310 w 312"/>
              <a:gd name="T35" fmla="*/ 35 h 155"/>
              <a:gd name="T36" fmla="*/ 306 w 312"/>
              <a:gd name="T37" fmla="*/ 32 h 155"/>
              <a:gd name="T38" fmla="*/ 302 w 312"/>
              <a:gd name="T39" fmla="*/ 30 h 155"/>
              <a:gd name="T40" fmla="*/ 291 w 312"/>
              <a:gd name="T41" fmla="*/ 28 h 155"/>
              <a:gd name="T42" fmla="*/ 280 w 312"/>
              <a:gd name="T43" fmla="*/ 27 h 155"/>
              <a:gd name="T44" fmla="*/ 268 w 312"/>
              <a:gd name="T45" fmla="*/ 27 h 155"/>
              <a:gd name="T46" fmla="*/ 259 w 312"/>
              <a:gd name="T47" fmla="*/ 27 h 155"/>
              <a:gd name="T48" fmla="*/ 256 w 312"/>
              <a:gd name="T49" fmla="*/ 26 h 155"/>
              <a:gd name="T50" fmla="*/ 253 w 312"/>
              <a:gd name="T51" fmla="*/ 25 h 155"/>
              <a:gd name="T52" fmla="*/ 252 w 312"/>
              <a:gd name="T53" fmla="*/ 23 h 155"/>
              <a:gd name="T54" fmla="*/ 253 w 312"/>
              <a:gd name="T55" fmla="*/ 20 h 155"/>
              <a:gd name="T56" fmla="*/ 232 w 312"/>
              <a:gd name="T57" fmla="*/ 19 h 155"/>
              <a:gd name="T58" fmla="*/ 216 w 312"/>
              <a:gd name="T59" fmla="*/ 17 h 155"/>
              <a:gd name="T60" fmla="*/ 202 w 312"/>
              <a:gd name="T61" fmla="*/ 13 h 155"/>
              <a:gd name="T62" fmla="*/ 189 w 312"/>
              <a:gd name="T63" fmla="*/ 9 h 155"/>
              <a:gd name="T64" fmla="*/ 177 w 312"/>
              <a:gd name="T65" fmla="*/ 6 h 155"/>
              <a:gd name="T66" fmla="*/ 163 w 312"/>
              <a:gd name="T67" fmla="*/ 3 h 155"/>
              <a:gd name="T68" fmla="*/ 146 w 312"/>
              <a:gd name="T69" fmla="*/ 1 h 155"/>
              <a:gd name="T70" fmla="*/ 126 w 312"/>
              <a:gd name="T71" fmla="*/ 0 h 155"/>
              <a:gd name="T72" fmla="*/ 110 w 312"/>
              <a:gd name="T73" fmla="*/ 1 h 155"/>
              <a:gd name="T74" fmla="*/ 74 w 312"/>
              <a:gd name="T75" fmla="*/ 4 h 155"/>
              <a:gd name="T76" fmla="*/ 53 w 312"/>
              <a:gd name="T77" fmla="*/ 6 h 155"/>
              <a:gd name="T78" fmla="*/ 34 w 312"/>
              <a:gd name="T79" fmla="*/ 8 h 155"/>
              <a:gd name="T80" fmla="*/ 18 w 312"/>
              <a:gd name="T81" fmla="*/ 10 h 155"/>
              <a:gd name="T82" fmla="*/ 7 w 312"/>
              <a:gd name="T83" fmla="*/ 12 h 155"/>
              <a:gd name="T84" fmla="*/ 9 w 312"/>
              <a:gd name="T85" fmla="*/ 17 h 155"/>
              <a:gd name="T86" fmla="*/ 11 w 312"/>
              <a:gd name="T87" fmla="*/ 19 h 155"/>
              <a:gd name="T88" fmla="*/ 13 w 312"/>
              <a:gd name="T89" fmla="*/ 19 h 155"/>
              <a:gd name="T90" fmla="*/ 15 w 312"/>
              <a:gd name="T91" fmla="*/ 20 h 155"/>
              <a:gd name="T92" fmla="*/ 18 w 312"/>
              <a:gd name="T93" fmla="*/ 20 h 155"/>
              <a:gd name="T94" fmla="*/ 19 w 312"/>
              <a:gd name="T95" fmla="*/ 20 h 155"/>
              <a:gd name="T96" fmla="*/ 20 w 312"/>
              <a:gd name="T97" fmla="*/ 22 h 155"/>
              <a:gd name="T98" fmla="*/ 20 w 312"/>
              <a:gd name="T99" fmla="*/ 26 h 155"/>
              <a:gd name="T100" fmla="*/ 20 w 312"/>
              <a:gd name="T101" fmla="*/ 30 h 155"/>
              <a:gd name="T102" fmla="*/ 19 w 312"/>
              <a:gd name="T103" fmla="*/ 35 h 155"/>
              <a:gd name="T104" fmla="*/ 18 w 312"/>
              <a:gd name="T105" fmla="*/ 39 h 155"/>
              <a:gd name="T106" fmla="*/ 15 w 312"/>
              <a:gd name="T107" fmla="*/ 42 h 155"/>
              <a:gd name="T108" fmla="*/ 12 w 312"/>
              <a:gd name="T109" fmla="*/ 45 h 155"/>
              <a:gd name="T110" fmla="*/ 9 w 312"/>
              <a:gd name="T111" fmla="*/ 48 h 155"/>
              <a:gd name="T112" fmla="*/ 4 w 312"/>
              <a:gd name="T113" fmla="*/ 49 h 155"/>
              <a:gd name="T114" fmla="*/ 0 w 312"/>
              <a:gd name="T115" fmla="*/ 50 h 155"/>
              <a:gd name="T116" fmla="*/ 74 w 312"/>
              <a:gd name="T117" fmla="*/ 68 h 155"/>
              <a:gd name="T118" fmla="*/ 87 w 312"/>
              <a:gd name="T119" fmla="*/ 111 h 155"/>
              <a:gd name="T120" fmla="*/ 166 w 312"/>
              <a:gd name="T121" fmla="*/ 123 h 155"/>
              <a:gd name="T122" fmla="*/ 192 w 312"/>
              <a:gd name="T123"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40" name="Freeform 473">
            <a:extLst>
              <a:ext uri="{FF2B5EF4-FFF2-40B4-BE49-F238E27FC236}">
                <a16:creationId xmlns="" xmlns:a16="http://schemas.microsoft.com/office/drawing/2014/main" id="{16DC6796-DA61-462F-A25E-29E81782AF96}"/>
              </a:ext>
            </a:extLst>
          </p:cNvPr>
          <p:cNvSpPr>
            <a:spLocks/>
          </p:cNvSpPr>
          <p:nvPr>
            <p:custDataLst>
              <p:tags r:id="rId310"/>
            </p:custDataLst>
          </p:nvPr>
        </p:nvSpPr>
        <p:spPr bwMode="auto">
          <a:xfrm>
            <a:off x="4214165" y="2826891"/>
            <a:ext cx="23206" cy="62357"/>
          </a:xfrm>
          <a:custGeom>
            <a:avLst/>
            <a:gdLst>
              <a:gd name="T0" fmla="*/ 0 w 46"/>
              <a:gd name="T1" fmla="*/ 25 h 50"/>
              <a:gd name="T2" fmla="*/ 2 w 46"/>
              <a:gd name="T3" fmla="*/ 18 h 50"/>
              <a:gd name="T4" fmla="*/ 1 w 46"/>
              <a:gd name="T5" fmla="*/ 14 h 50"/>
              <a:gd name="T6" fmla="*/ 2 w 46"/>
              <a:gd name="T7" fmla="*/ 13 h 50"/>
              <a:gd name="T8" fmla="*/ 3 w 46"/>
              <a:gd name="T9" fmla="*/ 13 h 50"/>
              <a:gd name="T10" fmla="*/ 6 w 46"/>
              <a:gd name="T11" fmla="*/ 12 h 50"/>
              <a:gd name="T12" fmla="*/ 13 w 46"/>
              <a:gd name="T13" fmla="*/ 12 h 50"/>
              <a:gd name="T14" fmla="*/ 46 w 46"/>
              <a:gd name="T15" fmla="*/ 0 h 50"/>
              <a:gd name="T16" fmla="*/ 46 w 46"/>
              <a:gd name="T17" fmla="*/ 50 h 50"/>
              <a:gd name="T18" fmla="*/ 40 w 46"/>
              <a:gd name="T19" fmla="*/ 49 h 50"/>
              <a:gd name="T20" fmla="*/ 33 w 46"/>
              <a:gd name="T21" fmla="*/ 45 h 50"/>
              <a:gd name="T22" fmla="*/ 25 w 46"/>
              <a:gd name="T23" fmla="*/ 41 h 50"/>
              <a:gd name="T24" fmla="*/ 17 w 46"/>
              <a:gd name="T25" fmla="*/ 37 h 50"/>
              <a:gd name="T26" fmla="*/ 5 w 46"/>
              <a:gd name="T27" fmla="*/ 28 h 50"/>
              <a:gd name="T28" fmla="*/ 0 w 46"/>
              <a:gd name="T29"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41" name="Freeform 474">
            <a:extLst>
              <a:ext uri="{FF2B5EF4-FFF2-40B4-BE49-F238E27FC236}">
                <a16:creationId xmlns="" xmlns:a16="http://schemas.microsoft.com/office/drawing/2014/main" id="{FFC8014C-397B-446A-B5B2-9EFA6C7AD8CE}"/>
              </a:ext>
            </a:extLst>
          </p:cNvPr>
          <p:cNvSpPr>
            <a:spLocks/>
          </p:cNvSpPr>
          <p:nvPr>
            <p:custDataLst>
              <p:tags r:id="rId311"/>
            </p:custDataLst>
          </p:nvPr>
        </p:nvSpPr>
        <p:spPr bwMode="auto">
          <a:xfrm>
            <a:off x="5063126" y="4774728"/>
            <a:ext cx="85089" cy="249428"/>
          </a:xfrm>
          <a:custGeom>
            <a:avLst/>
            <a:gdLst>
              <a:gd name="T0" fmla="*/ 10 w 166"/>
              <a:gd name="T1" fmla="*/ 282 h 456"/>
              <a:gd name="T2" fmla="*/ 19 w 166"/>
              <a:gd name="T3" fmla="*/ 290 h 456"/>
              <a:gd name="T4" fmla="*/ 37 w 166"/>
              <a:gd name="T5" fmla="*/ 300 h 456"/>
              <a:gd name="T6" fmla="*/ 58 w 166"/>
              <a:gd name="T7" fmla="*/ 306 h 456"/>
              <a:gd name="T8" fmla="*/ 70 w 166"/>
              <a:gd name="T9" fmla="*/ 312 h 456"/>
              <a:gd name="T10" fmla="*/ 80 w 166"/>
              <a:gd name="T11" fmla="*/ 320 h 456"/>
              <a:gd name="T12" fmla="*/ 86 w 166"/>
              <a:gd name="T13" fmla="*/ 331 h 456"/>
              <a:gd name="T14" fmla="*/ 86 w 166"/>
              <a:gd name="T15" fmla="*/ 347 h 456"/>
              <a:gd name="T16" fmla="*/ 78 w 166"/>
              <a:gd name="T17" fmla="*/ 363 h 456"/>
              <a:gd name="T18" fmla="*/ 68 w 166"/>
              <a:gd name="T19" fmla="*/ 375 h 456"/>
              <a:gd name="T20" fmla="*/ 62 w 166"/>
              <a:gd name="T21" fmla="*/ 388 h 456"/>
              <a:gd name="T22" fmla="*/ 60 w 166"/>
              <a:gd name="T23" fmla="*/ 400 h 456"/>
              <a:gd name="T24" fmla="*/ 64 w 166"/>
              <a:gd name="T25" fmla="*/ 411 h 456"/>
              <a:gd name="T26" fmla="*/ 76 w 166"/>
              <a:gd name="T27" fmla="*/ 424 h 456"/>
              <a:gd name="T28" fmla="*/ 104 w 166"/>
              <a:gd name="T29" fmla="*/ 445 h 456"/>
              <a:gd name="T30" fmla="*/ 120 w 166"/>
              <a:gd name="T31" fmla="*/ 443 h 456"/>
              <a:gd name="T32" fmla="*/ 120 w 166"/>
              <a:gd name="T33" fmla="*/ 423 h 456"/>
              <a:gd name="T34" fmla="*/ 131 w 166"/>
              <a:gd name="T35" fmla="*/ 413 h 456"/>
              <a:gd name="T36" fmla="*/ 145 w 166"/>
              <a:gd name="T37" fmla="*/ 407 h 456"/>
              <a:gd name="T38" fmla="*/ 153 w 166"/>
              <a:gd name="T39" fmla="*/ 402 h 456"/>
              <a:gd name="T40" fmla="*/ 160 w 166"/>
              <a:gd name="T41" fmla="*/ 393 h 456"/>
              <a:gd name="T42" fmla="*/ 166 w 166"/>
              <a:gd name="T43" fmla="*/ 375 h 456"/>
              <a:gd name="T44" fmla="*/ 165 w 166"/>
              <a:gd name="T45" fmla="*/ 350 h 456"/>
              <a:gd name="T46" fmla="*/ 158 w 166"/>
              <a:gd name="T47" fmla="*/ 328 h 456"/>
              <a:gd name="T48" fmla="*/ 148 w 166"/>
              <a:gd name="T49" fmla="*/ 307 h 456"/>
              <a:gd name="T50" fmla="*/ 141 w 166"/>
              <a:gd name="T51" fmla="*/ 284 h 456"/>
              <a:gd name="T52" fmla="*/ 135 w 166"/>
              <a:gd name="T53" fmla="*/ 269 h 456"/>
              <a:gd name="T54" fmla="*/ 118 w 166"/>
              <a:gd name="T55" fmla="*/ 251 h 456"/>
              <a:gd name="T56" fmla="*/ 97 w 166"/>
              <a:gd name="T57" fmla="*/ 224 h 456"/>
              <a:gd name="T58" fmla="*/ 85 w 166"/>
              <a:gd name="T59" fmla="*/ 206 h 456"/>
              <a:gd name="T60" fmla="*/ 80 w 166"/>
              <a:gd name="T61" fmla="*/ 195 h 456"/>
              <a:gd name="T62" fmla="*/ 81 w 166"/>
              <a:gd name="T63" fmla="*/ 177 h 456"/>
              <a:gd name="T64" fmla="*/ 88 w 166"/>
              <a:gd name="T65" fmla="*/ 147 h 456"/>
              <a:gd name="T66" fmla="*/ 96 w 166"/>
              <a:gd name="T67" fmla="*/ 129 h 456"/>
              <a:gd name="T68" fmla="*/ 98 w 166"/>
              <a:gd name="T69" fmla="*/ 113 h 456"/>
              <a:gd name="T70" fmla="*/ 95 w 166"/>
              <a:gd name="T71" fmla="*/ 82 h 456"/>
              <a:gd name="T72" fmla="*/ 92 w 166"/>
              <a:gd name="T73" fmla="*/ 45 h 456"/>
              <a:gd name="T74" fmla="*/ 89 w 166"/>
              <a:gd name="T75" fmla="*/ 18 h 456"/>
              <a:gd name="T76" fmla="*/ 71 w 166"/>
              <a:gd name="T77" fmla="*/ 8 h 456"/>
              <a:gd name="T78" fmla="*/ 33 w 166"/>
              <a:gd name="T79" fmla="*/ 4 h 456"/>
              <a:gd name="T80" fmla="*/ 12 w 166"/>
              <a:gd name="T81" fmla="*/ 10 h 456"/>
              <a:gd name="T82" fmla="*/ 22 w 166"/>
              <a:gd name="T83" fmla="*/ 25 h 456"/>
              <a:gd name="T84" fmla="*/ 33 w 166"/>
              <a:gd name="T85" fmla="*/ 30 h 456"/>
              <a:gd name="T86" fmla="*/ 40 w 166"/>
              <a:gd name="T87" fmla="*/ 44 h 456"/>
              <a:gd name="T88" fmla="*/ 40 w 166"/>
              <a:gd name="T89" fmla="*/ 64 h 456"/>
              <a:gd name="T90" fmla="*/ 40 w 166"/>
              <a:gd name="T91" fmla="*/ 78 h 456"/>
              <a:gd name="T92" fmla="*/ 36 w 166"/>
              <a:gd name="T93" fmla="*/ 85 h 456"/>
              <a:gd name="T94" fmla="*/ 29 w 166"/>
              <a:gd name="T95" fmla="*/ 95 h 456"/>
              <a:gd name="T96" fmla="*/ 15 w 166"/>
              <a:gd name="T97" fmla="*/ 109 h 456"/>
              <a:gd name="T98" fmla="*/ 3 w 166"/>
              <a:gd name="T99" fmla="*/ 122 h 456"/>
              <a:gd name="T100" fmla="*/ 7 w 166"/>
              <a:gd name="T101" fmla="*/ 277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chemeClr val="accent2"/>
          </a:solidFill>
          <a:ln w="9525" cmpd="sng">
            <a:solidFill>
              <a:srgbClr val="FFFFFF"/>
            </a:solidFill>
            <a:prstDash val="solid"/>
            <a:round/>
            <a:headEnd/>
            <a:tailEnd/>
          </a:ln>
        </p:spPr>
        <p:txBody>
          <a:bodyPr/>
          <a:lstStyle/>
          <a:p>
            <a:endParaRPr lang="en-GB" dirty="0"/>
          </a:p>
        </p:txBody>
      </p:sp>
      <p:sp>
        <p:nvSpPr>
          <p:cNvPr id="442" name="Freeform 475">
            <a:extLst>
              <a:ext uri="{FF2B5EF4-FFF2-40B4-BE49-F238E27FC236}">
                <a16:creationId xmlns="" xmlns:a16="http://schemas.microsoft.com/office/drawing/2014/main" id="{8A5C4114-ACD3-4971-9251-99FC41A0EEB6}"/>
              </a:ext>
            </a:extLst>
          </p:cNvPr>
          <p:cNvSpPr>
            <a:spLocks/>
          </p:cNvSpPr>
          <p:nvPr>
            <p:custDataLst>
              <p:tags r:id="rId312"/>
            </p:custDataLst>
          </p:nvPr>
        </p:nvSpPr>
        <p:spPr bwMode="auto">
          <a:xfrm>
            <a:off x="4444293" y="3297850"/>
            <a:ext cx="17404" cy="59076"/>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43" name="Freeform 476">
            <a:extLst>
              <a:ext uri="{FF2B5EF4-FFF2-40B4-BE49-F238E27FC236}">
                <a16:creationId xmlns="" xmlns:a16="http://schemas.microsoft.com/office/drawing/2014/main" id="{5BFDC207-D533-4657-9295-74B79529F4DE}"/>
              </a:ext>
            </a:extLst>
          </p:cNvPr>
          <p:cNvSpPr>
            <a:spLocks/>
          </p:cNvSpPr>
          <p:nvPr>
            <p:custDataLst>
              <p:tags r:id="rId313"/>
            </p:custDataLst>
          </p:nvPr>
        </p:nvSpPr>
        <p:spPr bwMode="auto">
          <a:xfrm>
            <a:off x="4832997" y="4973287"/>
            <a:ext cx="230129" cy="224813"/>
          </a:xfrm>
          <a:custGeom>
            <a:avLst/>
            <a:gdLst>
              <a:gd name="T0" fmla="*/ 284 w 438"/>
              <a:gd name="T1" fmla="*/ 8 h 406"/>
              <a:gd name="T2" fmla="*/ 320 w 438"/>
              <a:gd name="T3" fmla="*/ 27 h 406"/>
              <a:gd name="T4" fmla="*/ 363 w 438"/>
              <a:gd name="T5" fmla="*/ 47 h 406"/>
              <a:gd name="T6" fmla="*/ 395 w 438"/>
              <a:gd name="T7" fmla="*/ 58 h 406"/>
              <a:gd name="T8" fmla="*/ 416 w 438"/>
              <a:gd name="T9" fmla="*/ 61 h 406"/>
              <a:gd name="T10" fmla="*/ 425 w 438"/>
              <a:gd name="T11" fmla="*/ 81 h 406"/>
              <a:gd name="T12" fmla="*/ 429 w 438"/>
              <a:gd name="T13" fmla="*/ 120 h 406"/>
              <a:gd name="T14" fmla="*/ 434 w 438"/>
              <a:gd name="T15" fmla="*/ 157 h 406"/>
              <a:gd name="T16" fmla="*/ 438 w 438"/>
              <a:gd name="T17" fmla="*/ 195 h 406"/>
              <a:gd name="T18" fmla="*/ 438 w 438"/>
              <a:gd name="T19" fmla="*/ 223 h 406"/>
              <a:gd name="T20" fmla="*/ 435 w 438"/>
              <a:gd name="T21" fmla="*/ 237 h 406"/>
              <a:gd name="T22" fmla="*/ 425 w 438"/>
              <a:gd name="T23" fmla="*/ 259 h 406"/>
              <a:gd name="T24" fmla="*/ 407 w 438"/>
              <a:gd name="T25" fmla="*/ 287 h 406"/>
              <a:gd name="T26" fmla="*/ 391 w 438"/>
              <a:gd name="T27" fmla="*/ 307 h 406"/>
              <a:gd name="T28" fmla="*/ 381 w 438"/>
              <a:gd name="T29" fmla="*/ 320 h 406"/>
              <a:gd name="T30" fmla="*/ 374 w 438"/>
              <a:gd name="T31" fmla="*/ 332 h 406"/>
              <a:gd name="T32" fmla="*/ 372 w 438"/>
              <a:gd name="T33" fmla="*/ 352 h 406"/>
              <a:gd name="T34" fmla="*/ 359 w 438"/>
              <a:gd name="T35" fmla="*/ 372 h 406"/>
              <a:gd name="T36" fmla="*/ 321 w 438"/>
              <a:gd name="T37" fmla="*/ 401 h 406"/>
              <a:gd name="T38" fmla="*/ 205 w 438"/>
              <a:gd name="T39" fmla="*/ 388 h 406"/>
              <a:gd name="T40" fmla="*/ 182 w 438"/>
              <a:gd name="T41" fmla="*/ 379 h 406"/>
              <a:gd name="T42" fmla="*/ 165 w 438"/>
              <a:gd name="T43" fmla="*/ 370 h 406"/>
              <a:gd name="T44" fmla="*/ 150 w 438"/>
              <a:gd name="T45" fmla="*/ 359 h 406"/>
              <a:gd name="T46" fmla="*/ 139 w 438"/>
              <a:gd name="T47" fmla="*/ 346 h 406"/>
              <a:gd name="T48" fmla="*/ 124 w 438"/>
              <a:gd name="T49" fmla="*/ 322 h 406"/>
              <a:gd name="T50" fmla="*/ 108 w 438"/>
              <a:gd name="T51" fmla="*/ 296 h 406"/>
              <a:gd name="T52" fmla="*/ 94 w 438"/>
              <a:gd name="T53" fmla="*/ 279 h 406"/>
              <a:gd name="T54" fmla="*/ 72 w 438"/>
              <a:gd name="T55" fmla="*/ 259 h 406"/>
              <a:gd name="T56" fmla="*/ 44 w 438"/>
              <a:gd name="T57" fmla="*/ 234 h 406"/>
              <a:gd name="T58" fmla="*/ 24 w 438"/>
              <a:gd name="T59" fmla="*/ 213 h 406"/>
              <a:gd name="T60" fmla="*/ 13 w 438"/>
              <a:gd name="T61" fmla="*/ 195 h 406"/>
              <a:gd name="T62" fmla="*/ 4 w 438"/>
              <a:gd name="T63" fmla="*/ 176 h 406"/>
              <a:gd name="T64" fmla="*/ 0 w 438"/>
              <a:gd name="T65" fmla="*/ 154 h 406"/>
              <a:gd name="T66" fmla="*/ 18 w 438"/>
              <a:gd name="T67" fmla="*/ 141 h 406"/>
              <a:gd name="T68" fmla="*/ 40 w 438"/>
              <a:gd name="T69" fmla="*/ 141 h 406"/>
              <a:gd name="T70" fmla="*/ 53 w 438"/>
              <a:gd name="T71" fmla="*/ 141 h 406"/>
              <a:gd name="T72" fmla="*/ 63 w 438"/>
              <a:gd name="T73" fmla="*/ 138 h 406"/>
              <a:gd name="T74" fmla="*/ 77 w 438"/>
              <a:gd name="T75" fmla="*/ 131 h 406"/>
              <a:gd name="T76" fmla="*/ 99 w 438"/>
              <a:gd name="T77" fmla="*/ 108 h 406"/>
              <a:gd name="T78" fmla="*/ 117 w 438"/>
              <a:gd name="T79" fmla="*/ 87 h 406"/>
              <a:gd name="T80" fmla="*/ 130 w 438"/>
              <a:gd name="T81" fmla="*/ 80 h 406"/>
              <a:gd name="T82" fmla="*/ 150 w 438"/>
              <a:gd name="T83" fmla="*/ 71 h 406"/>
              <a:gd name="T84" fmla="*/ 179 w 438"/>
              <a:gd name="T85" fmla="*/ 60 h 406"/>
              <a:gd name="T86" fmla="*/ 203 w 438"/>
              <a:gd name="T87" fmla="*/ 50 h 406"/>
              <a:gd name="T88" fmla="*/ 211 w 438"/>
              <a:gd name="T89" fmla="*/ 43 h 406"/>
              <a:gd name="T90" fmla="*/ 210 w 438"/>
              <a:gd name="T91" fmla="*/ 38 h 406"/>
              <a:gd name="T92" fmla="*/ 211 w 438"/>
              <a:gd name="T93" fmla="*/ 30 h 406"/>
              <a:gd name="T94" fmla="*/ 213 w 438"/>
              <a:gd name="T95" fmla="*/ 17 h 406"/>
              <a:gd name="T96" fmla="*/ 217 w 438"/>
              <a:gd name="T97" fmla="*/ 12 h 406"/>
              <a:gd name="T98" fmla="*/ 225 w 438"/>
              <a:gd name="T99" fmla="*/ 12 h 406"/>
              <a:gd name="T100" fmla="*/ 232 w 438"/>
              <a:gd name="T101" fmla="*/ 9 h 406"/>
              <a:gd name="T102" fmla="*/ 236 w 438"/>
              <a:gd name="T103" fmla="*/ 4 h 406"/>
              <a:gd name="T104" fmla="*/ 244 w 438"/>
              <a:gd name="T105" fmla="*/ 2 h 406"/>
              <a:gd name="T106" fmla="*/ 251 w 438"/>
              <a:gd name="T107" fmla="*/ 3 h 406"/>
              <a:gd name="T108" fmla="*/ 264 w 438"/>
              <a:gd name="T109" fmla="*/ 1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chemeClr val="accent2"/>
          </a:solidFill>
          <a:ln w="9525" cmpd="sng">
            <a:solidFill>
              <a:srgbClr val="FFFFFF"/>
            </a:solidFill>
            <a:prstDash val="solid"/>
            <a:round/>
            <a:headEnd/>
            <a:tailEnd/>
          </a:ln>
        </p:spPr>
        <p:txBody>
          <a:bodyPr/>
          <a:lstStyle/>
          <a:p>
            <a:endParaRPr lang="en-GB" dirty="0"/>
          </a:p>
        </p:txBody>
      </p:sp>
      <p:sp>
        <p:nvSpPr>
          <p:cNvPr id="444" name="Freeform 477">
            <a:extLst>
              <a:ext uri="{FF2B5EF4-FFF2-40B4-BE49-F238E27FC236}">
                <a16:creationId xmlns="" xmlns:a16="http://schemas.microsoft.com/office/drawing/2014/main" id="{009BC06A-D5E3-4F59-A1A3-2EFAFC2E3685}"/>
              </a:ext>
            </a:extLst>
          </p:cNvPr>
          <p:cNvSpPr>
            <a:spLocks/>
          </p:cNvSpPr>
          <p:nvPr>
            <p:custDataLst>
              <p:tags r:id="rId314"/>
            </p:custDataLst>
          </p:nvPr>
        </p:nvSpPr>
        <p:spPr bwMode="auto">
          <a:xfrm>
            <a:off x="4726636" y="4741909"/>
            <a:ext cx="357762" cy="310145"/>
          </a:xfrm>
          <a:custGeom>
            <a:avLst/>
            <a:gdLst>
              <a:gd name="T0" fmla="*/ 513 w 678"/>
              <a:gd name="T1" fmla="*/ 8 h 574"/>
              <a:gd name="T2" fmla="*/ 552 w 678"/>
              <a:gd name="T3" fmla="*/ 26 h 574"/>
              <a:gd name="T4" fmla="*/ 645 w 678"/>
              <a:gd name="T5" fmla="*/ 63 h 574"/>
              <a:gd name="T6" fmla="*/ 660 w 678"/>
              <a:gd name="T7" fmla="*/ 88 h 574"/>
              <a:gd name="T8" fmla="*/ 678 w 678"/>
              <a:gd name="T9" fmla="*/ 94 h 574"/>
              <a:gd name="T10" fmla="*/ 678 w 678"/>
              <a:gd name="T11" fmla="*/ 127 h 574"/>
              <a:gd name="T12" fmla="*/ 677 w 678"/>
              <a:gd name="T13" fmla="*/ 144 h 574"/>
              <a:gd name="T14" fmla="*/ 667 w 678"/>
              <a:gd name="T15" fmla="*/ 158 h 574"/>
              <a:gd name="T16" fmla="*/ 647 w 678"/>
              <a:gd name="T17" fmla="*/ 178 h 574"/>
              <a:gd name="T18" fmla="*/ 638 w 678"/>
              <a:gd name="T19" fmla="*/ 346 h 574"/>
              <a:gd name="T20" fmla="*/ 461 w 678"/>
              <a:gd name="T21" fmla="*/ 388 h 574"/>
              <a:gd name="T22" fmla="*/ 461 w 678"/>
              <a:gd name="T23" fmla="*/ 415 h 574"/>
              <a:gd name="T24" fmla="*/ 455 w 678"/>
              <a:gd name="T25" fmla="*/ 435 h 574"/>
              <a:gd name="T26" fmla="*/ 444 w 678"/>
              <a:gd name="T27" fmla="*/ 435 h 574"/>
              <a:gd name="T28" fmla="*/ 434 w 678"/>
              <a:gd name="T29" fmla="*/ 440 h 574"/>
              <a:gd name="T30" fmla="*/ 425 w 678"/>
              <a:gd name="T31" fmla="*/ 445 h 574"/>
              <a:gd name="T32" fmla="*/ 414 w 678"/>
              <a:gd name="T33" fmla="*/ 447 h 574"/>
              <a:gd name="T34" fmla="*/ 411 w 678"/>
              <a:gd name="T35" fmla="*/ 463 h 574"/>
              <a:gd name="T36" fmla="*/ 410 w 678"/>
              <a:gd name="T37" fmla="*/ 474 h 574"/>
              <a:gd name="T38" fmla="*/ 403 w 678"/>
              <a:gd name="T39" fmla="*/ 483 h 574"/>
              <a:gd name="T40" fmla="*/ 365 w 678"/>
              <a:gd name="T41" fmla="*/ 498 h 574"/>
              <a:gd name="T42" fmla="*/ 330 w 678"/>
              <a:gd name="T43" fmla="*/ 513 h 574"/>
              <a:gd name="T44" fmla="*/ 313 w 678"/>
              <a:gd name="T45" fmla="*/ 525 h 574"/>
              <a:gd name="T46" fmla="*/ 277 w 678"/>
              <a:gd name="T47" fmla="*/ 564 h 574"/>
              <a:gd name="T48" fmla="*/ 258 w 678"/>
              <a:gd name="T49" fmla="*/ 573 h 574"/>
              <a:gd name="T50" fmla="*/ 238 w 678"/>
              <a:gd name="T51" fmla="*/ 574 h 574"/>
              <a:gd name="T52" fmla="*/ 193 w 678"/>
              <a:gd name="T53" fmla="*/ 574 h 574"/>
              <a:gd name="T54" fmla="*/ 186 w 678"/>
              <a:gd name="T55" fmla="*/ 559 h 574"/>
              <a:gd name="T56" fmla="*/ 165 w 678"/>
              <a:gd name="T57" fmla="*/ 547 h 574"/>
              <a:gd name="T58" fmla="*/ 133 w 678"/>
              <a:gd name="T59" fmla="*/ 545 h 574"/>
              <a:gd name="T60" fmla="*/ 93 w 678"/>
              <a:gd name="T61" fmla="*/ 556 h 574"/>
              <a:gd name="T62" fmla="*/ 33 w 678"/>
              <a:gd name="T63" fmla="*/ 527 h 574"/>
              <a:gd name="T64" fmla="*/ 0 w 678"/>
              <a:gd name="T65" fmla="*/ 285 h 574"/>
              <a:gd name="T66" fmla="*/ 73 w 678"/>
              <a:gd name="T67" fmla="*/ 286 h 574"/>
              <a:gd name="T68" fmla="*/ 103 w 678"/>
              <a:gd name="T69" fmla="*/ 282 h 574"/>
              <a:gd name="T70" fmla="*/ 119 w 678"/>
              <a:gd name="T71" fmla="*/ 275 h 574"/>
              <a:gd name="T72" fmla="*/ 129 w 678"/>
              <a:gd name="T73" fmla="*/ 256 h 574"/>
              <a:gd name="T74" fmla="*/ 131 w 678"/>
              <a:gd name="T75" fmla="*/ 229 h 574"/>
              <a:gd name="T76" fmla="*/ 126 w 678"/>
              <a:gd name="T77" fmla="*/ 185 h 574"/>
              <a:gd name="T78" fmla="*/ 130 w 678"/>
              <a:gd name="T79" fmla="*/ 165 h 574"/>
              <a:gd name="T80" fmla="*/ 140 w 678"/>
              <a:gd name="T81" fmla="*/ 171 h 574"/>
              <a:gd name="T82" fmla="*/ 174 w 678"/>
              <a:gd name="T83" fmla="*/ 175 h 574"/>
              <a:gd name="T84" fmla="*/ 188 w 678"/>
              <a:gd name="T85" fmla="*/ 186 h 574"/>
              <a:gd name="T86" fmla="*/ 195 w 678"/>
              <a:gd name="T87" fmla="*/ 201 h 574"/>
              <a:gd name="T88" fmla="*/ 208 w 678"/>
              <a:gd name="T89" fmla="*/ 210 h 574"/>
              <a:gd name="T90" fmla="*/ 241 w 678"/>
              <a:gd name="T91" fmla="*/ 217 h 574"/>
              <a:gd name="T92" fmla="*/ 269 w 678"/>
              <a:gd name="T93" fmla="*/ 214 h 574"/>
              <a:gd name="T94" fmla="*/ 301 w 678"/>
              <a:gd name="T95" fmla="*/ 199 h 574"/>
              <a:gd name="T96" fmla="*/ 319 w 678"/>
              <a:gd name="T97" fmla="*/ 196 h 574"/>
              <a:gd name="T98" fmla="*/ 331 w 678"/>
              <a:gd name="T99" fmla="*/ 193 h 574"/>
              <a:gd name="T100" fmla="*/ 343 w 678"/>
              <a:gd name="T101" fmla="*/ 190 h 574"/>
              <a:gd name="T102" fmla="*/ 357 w 678"/>
              <a:gd name="T103" fmla="*/ 182 h 574"/>
              <a:gd name="T104" fmla="*/ 368 w 678"/>
              <a:gd name="T105" fmla="*/ 168 h 574"/>
              <a:gd name="T106" fmla="*/ 383 w 678"/>
              <a:gd name="T107" fmla="*/ 126 h 574"/>
              <a:gd name="T108" fmla="*/ 403 w 678"/>
              <a:gd name="T109" fmla="*/ 47 h 574"/>
              <a:gd name="T110" fmla="*/ 414 w 678"/>
              <a:gd name="T111" fmla="*/ 10 h 574"/>
              <a:gd name="T112" fmla="*/ 431 w 678"/>
              <a:gd name="T113" fmla="*/ 6 h 574"/>
              <a:gd name="T114" fmla="*/ 453 w 678"/>
              <a:gd name="T115" fmla="*/ 8 h 574"/>
              <a:gd name="T116" fmla="*/ 482 w 678"/>
              <a:gd name="T117" fmla="*/ 1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chemeClr val="accent2"/>
          </a:solidFill>
          <a:ln w="9525" cmpd="sng">
            <a:solidFill>
              <a:srgbClr val="FFFFFF"/>
            </a:solidFill>
            <a:prstDash val="solid"/>
            <a:round/>
            <a:headEnd/>
            <a:tailEnd/>
          </a:ln>
        </p:spPr>
        <p:txBody>
          <a:bodyPr/>
          <a:lstStyle/>
          <a:p>
            <a:endParaRPr lang="en-GB" dirty="0"/>
          </a:p>
        </p:txBody>
      </p:sp>
      <p:sp>
        <p:nvSpPr>
          <p:cNvPr id="445" name="Freeform 478">
            <a:extLst>
              <a:ext uri="{FF2B5EF4-FFF2-40B4-BE49-F238E27FC236}">
                <a16:creationId xmlns="" xmlns:a16="http://schemas.microsoft.com/office/drawing/2014/main" id="{2EF9F9F3-E64E-4B4A-87FD-03203B3700CC}"/>
              </a:ext>
            </a:extLst>
          </p:cNvPr>
          <p:cNvSpPr>
            <a:spLocks/>
          </p:cNvSpPr>
          <p:nvPr>
            <p:custDataLst>
              <p:tags r:id="rId315"/>
            </p:custDataLst>
          </p:nvPr>
        </p:nvSpPr>
        <p:spPr bwMode="auto">
          <a:xfrm>
            <a:off x="4405616" y="5024156"/>
            <a:ext cx="427381" cy="393834"/>
          </a:xfrm>
          <a:custGeom>
            <a:avLst/>
            <a:gdLst>
              <a:gd name="T0" fmla="*/ 797 w 810"/>
              <a:gd name="T1" fmla="*/ 42 h 727"/>
              <a:gd name="T2" fmla="*/ 766 w 810"/>
              <a:gd name="T3" fmla="*/ 26 h 727"/>
              <a:gd name="T4" fmla="*/ 718 w 810"/>
              <a:gd name="T5" fmla="*/ 33 h 727"/>
              <a:gd name="T6" fmla="*/ 634 w 810"/>
              <a:gd name="T7" fmla="*/ 44 h 727"/>
              <a:gd name="T8" fmla="*/ 604 w 810"/>
              <a:gd name="T9" fmla="*/ 55 h 727"/>
              <a:gd name="T10" fmla="*/ 280 w 810"/>
              <a:gd name="T11" fmla="*/ 40 h 727"/>
              <a:gd name="T12" fmla="*/ 232 w 810"/>
              <a:gd name="T13" fmla="*/ 37 h 727"/>
              <a:gd name="T14" fmla="*/ 172 w 810"/>
              <a:gd name="T15" fmla="*/ 17 h 727"/>
              <a:gd name="T16" fmla="*/ 116 w 810"/>
              <a:gd name="T17" fmla="*/ 0 h 727"/>
              <a:gd name="T18" fmla="*/ 83 w 810"/>
              <a:gd name="T19" fmla="*/ 5 h 727"/>
              <a:gd name="T20" fmla="*/ 53 w 810"/>
              <a:gd name="T21" fmla="*/ 24 h 727"/>
              <a:gd name="T22" fmla="*/ 0 w 810"/>
              <a:gd name="T23" fmla="*/ 55 h 727"/>
              <a:gd name="T24" fmla="*/ 7 w 810"/>
              <a:gd name="T25" fmla="*/ 68 h 727"/>
              <a:gd name="T26" fmla="*/ 26 w 810"/>
              <a:gd name="T27" fmla="*/ 74 h 727"/>
              <a:gd name="T28" fmla="*/ 36 w 810"/>
              <a:gd name="T29" fmla="*/ 129 h 727"/>
              <a:gd name="T30" fmla="*/ 60 w 810"/>
              <a:gd name="T31" fmla="*/ 192 h 727"/>
              <a:gd name="T32" fmla="*/ 109 w 810"/>
              <a:gd name="T33" fmla="*/ 276 h 727"/>
              <a:gd name="T34" fmla="*/ 133 w 810"/>
              <a:gd name="T35" fmla="*/ 300 h 727"/>
              <a:gd name="T36" fmla="*/ 159 w 810"/>
              <a:gd name="T37" fmla="*/ 302 h 727"/>
              <a:gd name="T38" fmla="*/ 159 w 810"/>
              <a:gd name="T39" fmla="*/ 332 h 727"/>
              <a:gd name="T40" fmla="*/ 152 w 810"/>
              <a:gd name="T41" fmla="*/ 359 h 727"/>
              <a:gd name="T42" fmla="*/ 146 w 810"/>
              <a:gd name="T43" fmla="*/ 394 h 727"/>
              <a:gd name="T44" fmla="*/ 150 w 810"/>
              <a:gd name="T45" fmla="*/ 425 h 727"/>
              <a:gd name="T46" fmla="*/ 173 w 810"/>
              <a:gd name="T47" fmla="*/ 484 h 727"/>
              <a:gd name="T48" fmla="*/ 179 w 810"/>
              <a:gd name="T49" fmla="*/ 518 h 727"/>
              <a:gd name="T50" fmla="*/ 187 w 810"/>
              <a:gd name="T51" fmla="*/ 606 h 727"/>
              <a:gd name="T52" fmla="*/ 204 w 810"/>
              <a:gd name="T53" fmla="*/ 647 h 727"/>
              <a:gd name="T54" fmla="*/ 231 w 810"/>
              <a:gd name="T55" fmla="*/ 690 h 727"/>
              <a:gd name="T56" fmla="*/ 245 w 810"/>
              <a:gd name="T57" fmla="*/ 700 h 727"/>
              <a:gd name="T58" fmla="*/ 259 w 810"/>
              <a:gd name="T59" fmla="*/ 715 h 727"/>
              <a:gd name="T60" fmla="*/ 265 w 810"/>
              <a:gd name="T61" fmla="*/ 678 h 727"/>
              <a:gd name="T62" fmla="*/ 308 w 810"/>
              <a:gd name="T63" fmla="*/ 696 h 727"/>
              <a:gd name="T64" fmla="*/ 328 w 810"/>
              <a:gd name="T65" fmla="*/ 713 h 727"/>
              <a:gd name="T66" fmla="*/ 372 w 810"/>
              <a:gd name="T67" fmla="*/ 726 h 727"/>
              <a:gd name="T68" fmla="*/ 407 w 810"/>
              <a:gd name="T69" fmla="*/ 723 h 727"/>
              <a:gd name="T70" fmla="*/ 429 w 810"/>
              <a:gd name="T71" fmla="*/ 710 h 727"/>
              <a:gd name="T72" fmla="*/ 452 w 810"/>
              <a:gd name="T73" fmla="*/ 675 h 727"/>
              <a:gd name="T74" fmla="*/ 463 w 810"/>
              <a:gd name="T75" fmla="*/ 529 h 727"/>
              <a:gd name="T76" fmla="*/ 465 w 810"/>
              <a:gd name="T77" fmla="*/ 480 h 727"/>
              <a:gd name="T78" fmla="*/ 471 w 810"/>
              <a:gd name="T79" fmla="*/ 469 h 727"/>
              <a:gd name="T80" fmla="*/ 463 w 810"/>
              <a:gd name="T81" fmla="*/ 426 h 727"/>
              <a:gd name="T82" fmla="*/ 469 w 810"/>
              <a:gd name="T83" fmla="*/ 368 h 727"/>
              <a:gd name="T84" fmla="*/ 500 w 810"/>
              <a:gd name="T85" fmla="*/ 330 h 727"/>
              <a:gd name="T86" fmla="*/ 525 w 810"/>
              <a:gd name="T87" fmla="*/ 320 h 727"/>
              <a:gd name="T88" fmla="*/ 538 w 810"/>
              <a:gd name="T89" fmla="*/ 232 h 727"/>
              <a:gd name="T90" fmla="*/ 551 w 810"/>
              <a:gd name="T91" fmla="*/ 148 h 727"/>
              <a:gd name="T92" fmla="*/ 541 w 810"/>
              <a:gd name="T93" fmla="*/ 124 h 727"/>
              <a:gd name="T94" fmla="*/ 531 w 810"/>
              <a:gd name="T95" fmla="*/ 99 h 727"/>
              <a:gd name="T96" fmla="*/ 539 w 810"/>
              <a:gd name="T97" fmla="*/ 86 h 727"/>
              <a:gd name="T98" fmla="*/ 617 w 810"/>
              <a:gd name="T99" fmla="*/ 80 h 727"/>
              <a:gd name="T100" fmla="*/ 708 w 810"/>
              <a:gd name="T101" fmla="*/ 63 h 727"/>
              <a:gd name="T102" fmla="*/ 803 w 810"/>
              <a:gd name="T103" fmla="*/ 61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chemeClr val="accent2"/>
          </a:solidFill>
          <a:ln w="9525" cmpd="sng">
            <a:solidFill>
              <a:srgbClr val="FFFFFF"/>
            </a:solidFill>
            <a:prstDash val="solid"/>
            <a:round/>
            <a:headEnd/>
            <a:tailEnd/>
          </a:ln>
        </p:spPr>
        <p:txBody>
          <a:bodyPr/>
          <a:lstStyle/>
          <a:p>
            <a:endParaRPr lang="en-GB" dirty="0"/>
          </a:p>
        </p:txBody>
      </p:sp>
      <p:sp>
        <p:nvSpPr>
          <p:cNvPr id="446" name="Freeform 479">
            <a:extLst>
              <a:ext uri="{FF2B5EF4-FFF2-40B4-BE49-F238E27FC236}">
                <a16:creationId xmlns="" xmlns:a16="http://schemas.microsoft.com/office/drawing/2014/main" id="{1E75BE18-0546-472C-80FB-E61A5418F9C3}"/>
              </a:ext>
            </a:extLst>
          </p:cNvPr>
          <p:cNvSpPr>
            <a:spLocks/>
          </p:cNvSpPr>
          <p:nvPr>
            <p:custDataLst>
              <p:tags r:id="rId316"/>
            </p:custDataLst>
          </p:nvPr>
        </p:nvSpPr>
        <p:spPr bwMode="auto">
          <a:xfrm>
            <a:off x="3527647" y="3918139"/>
            <a:ext cx="197253" cy="146048"/>
          </a:xfrm>
          <a:custGeom>
            <a:avLst/>
            <a:gdLst>
              <a:gd name="T0" fmla="*/ 203 w 365"/>
              <a:gd name="T1" fmla="*/ 250 h 271"/>
              <a:gd name="T2" fmla="*/ 163 w 365"/>
              <a:gd name="T3" fmla="*/ 246 h 271"/>
              <a:gd name="T4" fmla="*/ 121 w 365"/>
              <a:gd name="T5" fmla="*/ 247 h 271"/>
              <a:gd name="T6" fmla="*/ 92 w 365"/>
              <a:gd name="T7" fmla="*/ 250 h 271"/>
              <a:gd name="T8" fmla="*/ 74 w 365"/>
              <a:gd name="T9" fmla="*/ 255 h 271"/>
              <a:gd name="T10" fmla="*/ 26 w 365"/>
              <a:gd name="T11" fmla="*/ 271 h 271"/>
              <a:gd name="T12" fmla="*/ 20 w 365"/>
              <a:gd name="T13" fmla="*/ 270 h 271"/>
              <a:gd name="T14" fmla="*/ 17 w 365"/>
              <a:gd name="T15" fmla="*/ 266 h 271"/>
              <a:gd name="T16" fmla="*/ 18 w 365"/>
              <a:gd name="T17" fmla="*/ 254 h 271"/>
              <a:gd name="T18" fmla="*/ 26 w 365"/>
              <a:gd name="T19" fmla="*/ 228 h 271"/>
              <a:gd name="T20" fmla="*/ 61 w 365"/>
              <a:gd name="T21" fmla="*/ 226 h 271"/>
              <a:gd name="T22" fmla="*/ 89 w 365"/>
              <a:gd name="T23" fmla="*/ 222 h 271"/>
              <a:gd name="T24" fmla="*/ 115 w 365"/>
              <a:gd name="T25" fmla="*/ 218 h 271"/>
              <a:gd name="T26" fmla="*/ 146 w 365"/>
              <a:gd name="T27" fmla="*/ 216 h 271"/>
              <a:gd name="T28" fmla="*/ 182 w 365"/>
              <a:gd name="T29" fmla="*/ 218 h 271"/>
              <a:gd name="T30" fmla="*/ 199 w 365"/>
              <a:gd name="T31" fmla="*/ 218 h 271"/>
              <a:gd name="T32" fmla="*/ 219 w 365"/>
              <a:gd name="T33" fmla="*/ 216 h 271"/>
              <a:gd name="T34" fmla="*/ 215 w 365"/>
              <a:gd name="T35" fmla="*/ 208 h 271"/>
              <a:gd name="T36" fmla="*/ 210 w 365"/>
              <a:gd name="T37" fmla="*/ 201 h 271"/>
              <a:gd name="T38" fmla="*/ 195 w 365"/>
              <a:gd name="T39" fmla="*/ 194 h 271"/>
              <a:gd name="T40" fmla="*/ 175 w 365"/>
              <a:gd name="T41" fmla="*/ 191 h 271"/>
              <a:gd name="T42" fmla="*/ 152 w 365"/>
              <a:gd name="T43" fmla="*/ 190 h 271"/>
              <a:gd name="T44" fmla="*/ 93 w 365"/>
              <a:gd name="T45" fmla="*/ 192 h 271"/>
              <a:gd name="T46" fmla="*/ 64 w 365"/>
              <a:gd name="T47" fmla="*/ 196 h 271"/>
              <a:gd name="T48" fmla="*/ 33 w 365"/>
              <a:gd name="T49" fmla="*/ 203 h 271"/>
              <a:gd name="T50" fmla="*/ 38 w 365"/>
              <a:gd name="T51" fmla="*/ 183 h 271"/>
              <a:gd name="T52" fmla="*/ 39 w 365"/>
              <a:gd name="T53" fmla="*/ 172 h 271"/>
              <a:gd name="T54" fmla="*/ 26 w 365"/>
              <a:gd name="T55" fmla="*/ 164 h 271"/>
              <a:gd name="T56" fmla="*/ 13 w 365"/>
              <a:gd name="T57" fmla="*/ 160 h 271"/>
              <a:gd name="T58" fmla="*/ 11 w 365"/>
              <a:gd name="T59" fmla="*/ 147 h 271"/>
              <a:gd name="T60" fmla="*/ 6 w 365"/>
              <a:gd name="T61" fmla="*/ 143 h 271"/>
              <a:gd name="T62" fmla="*/ 2 w 365"/>
              <a:gd name="T63" fmla="*/ 141 h 271"/>
              <a:gd name="T64" fmla="*/ 0 w 365"/>
              <a:gd name="T65" fmla="*/ 135 h 271"/>
              <a:gd name="T66" fmla="*/ 5 w 365"/>
              <a:gd name="T67" fmla="*/ 115 h 271"/>
              <a:gd name="T68" fmla="*/ 17 w 365"/>
              <a:gd name="T69" fmla="*/ 92 h 271"/>
              <a:gd name="T70" fmla="*/ 30 w 365"/>
              <a:gd name="T71" fmla="*/ 69 h 271"/>
              <a:gd name="T72" fmla="*/ 39 w 365"/>
              <a:gd name="T73" fmla="*/ 49 h 271"/>
              <a:gd name="T74" fmla="*/ 48 w 365"/>
              <a:gd name="T75" fmla="*/ 42 h 271"/>
              <a:gd name="T76" fmla="*/ 49 w 365"/>
              <a:gd name="T77" fmla="*/ 48 h 271"/>
              <a:gd name="T78" fmla="*/ 52 w 365"/>
              <a:gd name="T79" fmla="*/ 36 h 271"/>
              <a:gd name="T80" fmla="*/ 75 w 365"/>
              <a:gd name="T81" fmla="*/ 31 h 271"/>
              <a:gd name="T82" fmla="*/ 114 w 365"/>
              <a:gd name="T83" fmla="*/ 18 h 271"/>
              <a:gd name="T84" fmla="*/ 165 w 365"/>
              <a:gd name="T85" fmla="*/ 0 h 271"/>
              <a:gd name="T86" fmla="*/ 184 w 365"/>
              <a:gd name="T87" fmla="*/ 15 h 271"/>
              <a:gd name="T88" fmla="*/ 202 w 365"/>
              <a:gd name="T89" fmla="*/ 24 h 271"/>
              <a:gd name="T90" fmla="*/ 220 w 365"/>
              <a:gd name="T91" fmla="*/ 29 h 271"/>
              <a:gd name="T92" fmla="*/ 239 w 365"/>
              <a:gd name="T93" fmla="*/ 30 h 271"/>
              <a:gd name="T94" fmla="*/ 241 w 365"/>
              <a:gd name="T95" fmla="*/ 52 h 271"/>
              <a:gd name="T96" fmla="*/ 247 w 365"/>
              <a:gd name="T97" fmla="*/ 69 h 271"/>
              <a:gd name="T98" fmla="*/ 254 w 365"/>
              <a:gd name="T99" fmla="*/ 84 h 271"/>
              <a:gd name="T100" fmla="*/ 264 w 365"/>
              <a:gd name="T101" fmla="*/ 95 h 271"/>
              <a:gd name="T102" fmla="*/ 305 w 365"/>
              <a:gd name="T103" fmla="*/ 129 h 271"/>
              <a:gd name="T104" fmla="*/ 352 w 365"/>
              <a:gd name="T105" fmla="*/ 234 h 271"/>
              <a:gd name="T106" fmla="*/ 359 w 365"/>
              <a:gd name="T107" fmla="*/ 257 h 271"/>
              <a:gd name="T108" fmla="*/ 365 w 365"/>
              <a:gd name="T109" fmla="*/ 271 h 271"/>
              <a:gd name="T110" fmla="*/ 321 w 365"/>
              <a:gd name="T111" fmla="*/ 259 h 271"/>
              <a:gd name="T112" fmla="*/ 275 w 365"/>
              <a:gd name="T113" fmla="*/ 252 h 271"/>
              <a:gd name="T114" fmla="*/ 248 w 365"/>
              <a:gd name="T115" fmla="*/ 251 h 271"/>
              <a:gd name="T116" fmla="*/ 219 w 365"/>
              <a:gd name="T117" fmla="*/ 252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47" name="Freeform 480">
            <a:extLst>
              <a:ext uri="{FF2B5EF4-FFF2-40B4-BE49-F238E27FC236}">
                <a16:creationId xmlns="" xmlns:a16="http://schemas.microsoft.com/office/drawing/2014/main" id="{3ED07DBE-C3F4-4A63-A93D-A913F43FB89C}"/>
              </a:ext>
            </a:extLst>
          </p:cNvPr>
          <p:cNvSpPr>
            <a:spLocks/>
          </p:cNvSpPr>
          <p:nvPr>
            <p:custDataLst>
              <p:tags r:id="rId317"/>
            </p:custDataLst>
          </p:nvPr>
        </p:nvSpPr>
        <p:spPr bwMode="auto">
          <a:xfrm>
            <a:off x="4956764" y="4499044"/>
            <a:ext cx="328755" cy="346247"/>
          </a:xfrm>
          <a:custGeom>
            <a:avLst/>
            <a:gdLst>
              <a:gd name="T0" fmla="*/ 146 w 624"/>
              <a:gd name="T1" fmla="*/ 12 h 640"/>
              <a:gd name="T2" fmla="*/ 239 w 624"/>
              <a:gd name="T3" fmla="*/ 12 h 640"/>
              <a:gd name="T4" fmla="*/ 287 w 624"/>
              <a:gd name="T5" fmla="*/ 5 h 640"/>
              <a:gd name="T6" fmla="*/ 326 w 624"/>
              <a:gd name="T7" fmla="*/ 22 h 640"/>
              <a:gd name="T8" fmla="*/ 396 w 624"/>
              <a:gd name="T9" fmla="*/ 66 h 640"/>
              <a:gd name="T10" fmla="*/ 465 w 624"/>
              <a:gd name="T11" fmla="*/ 111 h 640"/>
              <a:gd name="T12" fmla="*/ 469 w 624"/>
              <a:gd name="T13" fmla="*/ 131 h 640"/>
              <a:gd name="T14" fmla="*/ 480 w 624"/>
              <a:gd name="T15" fmla="*/ 153 h 640"/>
              <a:gd name="T16" fmla="*/ 497 w 624"/>
              <a:gd name="T17" fmla="*/ 170 h 640"/>
              <a:gd name="T18" fmla="*/ 519 w 624"/>
              <a:gd name="T19" fmla="*/ 183 h 640"/>
              <a:gd name="T20" fmla="*/ 543 w 624"/>
              <a:gd name="T21" fmla="*/ 190 h 640"/>
              <a:gd name="T22" fmla="*/ 554 w 624"/>
              <a:gd name="T23" fmla="*/ 195 h 640"/>
              <a:gd name="T24" fmla="*/ 565 w 624"/>
              <a:gd name="T25" fmla="*/ 205 h 640"/>
              <a:gd name="T26" fmla="*/ 561 w 624"/>
              <a:gd name="T27" fmla="*/ 227 h 640"/>
              <a:gd name="T28" fmla="*/ 537 w 624"/>
              <a:gd name="T29" fmla="*/ 252 h 640"/>
              <a:gd name="T30" fmla="*/ 525 w 624"/>
              <a:gd name="T31" fmla="*/ 271 h 640"/>
              <a:gd name="T32" fmla="*/ 533 w 624"/>
              <a:gd name="T33" fmla="*/ 287 h 640"/>
              <a:gd name="T34" fmla="*/ 547 w 624"/>
              <a:gd name="T35" fmla="*/ 299 h 640"/>
              <a:gd name="T36" fmla="*/ 552 w 624"/>
              <a:gd name="T37" fmla="*/ 425 h 640"/>
              <a:gd name="T38" fmla="*/ 550 w 624"/>
              <a:gd name="T39" fmla="*/ 439 h 640"/>
              <a:gd name="T40" fmla="*/ 558 w 624"/>
              <a:gd name="T41" fmla="*/ 462 h 640"/>
              <a:gd name="T42" fmla="*/ 558 w 624"/>
              <a:gd name="T43" fmla="*/ 489 h 640"/>
              <a:gd name="T44" fmla="*/ 561 w 624"/>
              <a:gd name="T45" fmla="*/ 515 h 640"/>
              <a:gd name="T46" fmla="*/ 594 w 624"/>
              <a:gd name="T47" fmla="*/ 549 h 640"/>
              <a:gd name="T48" fmla="*/ 616 w 624"/>
              <a:gd name="T49" fmla="*/ 579 h 640"/>
              <a:gd name="T50" fmla="*/ 575 w 624"/>
              <a:gd name="T51" fmla="*/ 600 h 640"/>
              <a:gd name="T52" fmla="*/ 491 w 624"/>
              <a:gd name="T53" fmla="*/ 631 h 640"/>
              <a:gd name="T54" fmla="*/ 443 w 624"/>
              <a:gd name="T55" fmla="*/ 638 h 640"/>
              <a:gd name="T56" fmla="*/ 392 w 624"/>
              <a:gd name="T57" fmla="*/ 628 h 640"/>
              <a:gd name="T58" fmla="*/ 339 w 624"/>
              <a:gd name="T59" fmla="*/ 633 h 640"/>
              <a:gd name="T60" fmla="*/ 306 w 624"/>
              <a:gd name="T61" fmla="*/ 628 h 640"/>
              <a:gd name="T62" fmla="*/ 299 w 624"/>
              <a:gd name="T63" fmla="*/ 614 h 640"/>
              <a:gd name="T64" fmla="*/ 294 w 624"/>
              <a:gd name="T65" fmla="*/ 573 h 640"/>
              <a:gd name="T66" fmla="*/ 288 w 624"/>
              <a:gd name="T67" fmla="*/ 529 h 640"/>
              <a:gd name="T68" fmla="*/ 253 w 624"/>
              <a:gd name="T69" fmla="*/ 517 h 640"/>
              <a:gd name="T70" fmla="*/ 185 w 624"/>
              <a:gd name="T71" fmla="*/ 502 h 640"/>
              <a:gd name="T72" fmla="*/ 90 w 624"/>
              <a:gd name="T73" fmla="*/ 459 h 640"/>
              <a:gd name="T74" fmla="*/ 68 w 624"/>
              <a:gd name="T75" fmla="*/ 446 h 640"/>
              <a:gd name="T76" fmla="*/ 66 w 624"/>
              <a:gd name="T77" fmla="*/ 428 h 640"/>
              <a:gd name="T78" fmla="*/ 65 w 624"/>
              <a:gd name="T79" fmla="*/ 402 h 640"/>
              <a:gd name="T80" fmla="*/ 53 w 624"/>
              <a:gd name="T81" fmla="*/ 377 h 640"/>
              <a:gd name="T82" fmla="*/ 41 w 624"/>
              <a:gd name="T83" fmla="*/ 357 h 640"/>
              <a:gd name="T84" fmla="*/ 27 w 624"/>
              <a:gd name="T85" fmla="*/ 347 h 640"/>
              <a:gd name="T86" fmla="*/ 12 w 624"/>
              <a:gd name="T87" fmla="*/ 332 h 640"/>
              <a:gd name="T88" fmla="*/ 5 w 624"/>
              <a:gd name="T89" fmla="*/ 308 h 640"/>
              <a:gd name="T90" fmla="*/ 0 w 624"/>
              <a:gd name="T91" fmla="*/ 262 h 640"/>
              <a:gd name="T92" fmla="*/ 0 w 624"/>
              <a:gd name="T93" fmla="*/ 234 h 640"/>
              <a:gd name="T94" fmla="*/ 10 w 624"/>
              <a:gd name="T95" fmla="*/ 212 h 640"/>
              <a:gd name="T96" fmla="*/ 38 w 624"/>
              <a:gd name="T97" fmla="*/ 195 h 640"/>
              <a:gd name="T98" fmla="*/ 61 w 624"/>
              <a:gd name="T99" fmla="*/ 173 h 640"/>
              <a:gd name="T100" fmla="*/ 77 w 624"/>
              <a:gd name="T101" fmla="*/ 77 h 640"/>
              <a:gd name="T102" fmla="*/ 84 w 624"/>
              <a:gd name="T103" fmla="*/ 43 h 640"/>
              <a:gd name="T104" fmla="*/ 82 w 624"/>
              <a:gd name="T105" fmla="*/ 8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48" name="Freeform 481">
            <a:extLst>
              <a:ext uri="{FF2B5EF4-FFF2-40B4-BE49-F238E27FC236}">
                <a16:creationId xmlns="" xmlns:a16="http://schemas.microsoft.com/office/drawing/2014/main" id="{FAA4ECA2-1B35-49D1-AB25-28E430972410}"/>
              </a:ext>
            </a:extLst>
          </p:cNvPr>
          <p:cNvSpPr>
            <a:spLocks/>
          </p:cNvSpPr>
          <p:nvPr>
            <p:custDataLst>
              <p:tags r:id="rId318"/>
            </p:custDataLst>
          </p:nvPr>
        </p:nvSpPr>
        <p:spPr bwMode="auto">
          <a:xfrm>
            <a:off x="8079936" y="2963091"/>
            <a:ext cx="23206" cy="59076"/>
          </a:xfrm>
          <a:custGeom>
            <a:avLst/>
            <a:gdLst>
              <a:gd name="T0" fmla="*/ 13 w 52"/>
              <a:gd name="T1" fmla="*/ 50 h 50"/>
              <a:gd name="T2" fmla="*/ 0 w 52"/>
              <a:gd name="T3" fmla="*/ 32 h 50"/>
              <a:gd name="T4" fmla="*/ 2 w 52"/>
              <a:gd name="T5" fmla="*/ 25 h 50"/>
              <a:gd name="T6" fmla="*/ 6 w 52"/>
              <a:gd name="T7" fmla="*/ 18 h 50"/>
              <a:gd name="T8" fmla="*/ 12 w 52"/>
              <a:gd name="T9" fmla="*/ 13 h 50"/>
              <a:gd name="T10" fmla="*/ 18 w 52"/>
              <a:gd name="T11" fmla="*/ 9 h 50"/>
              <a:gd name="T12" fmla="*/ 26 w 52"/>
              <a:gd name="T13" fmla="*/ 5 h 50"/>
              <a:gd name="T14" fmla="*/ 34 w 52"/>
              <a:gd name="T15" fmla="*/ 3 h 50"/>
              <a:gd name="T16" fmla="*/ 43 w 52"/>
              <a:gd name="T17" fmla="*/ 1 h 50"/>
              <a:gd name="T18" fmla="*/ 52 w 52"/>
              <a:gd name="T19" fmla="*/ 0 h 50"/>
              <a:gd name="T20" fmla="*/ 40 w 52"/>
              <a:gd name="T21" fmla="*/ 11 h 50"/>
              <a:gd name="T22" fmla="*/ 27 w 52"/>
              <a:gd name="T23" fmla="*/ 22 h 50"/>
              <a:gd name="T24" fmla="*/ 22 w 52"/>
              <a:gd name="T25" fmla="*/ 30 h 50"/>
              <a:gd name="T26" fmla="*/ 17 w 52"/>
              <a:gd name="T27" fmla="*/ 36 h 50"/>
              <a:gd name="T28" fmla="*/ 14 w 52"/>
              <a:gd name="T29" fmla="*/ 43 h 50"/>
              <a:gd name="T30" fmla="*/ 13 w 52"/>
              <a:gd name="T3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49" name="Freeform 482">
            <a:extLst>
              <a:ext uri="{FF2B5EF4-FFF2-40B4-BE49-F238E27FC236}">
                <a16:creationId xmlns="" xmlns:a16="http://schemas.microsoft.com/office/drawing/2014/main" id="{F6AFD76D-9C3D-4C35-8C5D-08100250E8B5}"/>
              </a:ext>
            </a:extLst>
          </p:cNvPr>
          <p:cNvSpPr>
            <a:spLocks/>
          </p:cNvSpPr>
          <p:nvPr>
            <p:custDataLst>
              <p:tags r:id="rId319"/>
            </p:custDataLst>
          </p:nvPr>
        </p:nvSpPr>
        <p:spPr bwMode="auto">
          <a:xfrm>
            <a:off x="7907823" y="2964733"/>
            <a:ext cx="172113" cy="129637"/>
          </a:xfrm>
          <a:custGeom>
            <a:avLst/>
            <a:gdLst>
              <a:gd name="T0" fmla="*/ 76 w 320"/>
              <a:gd name="T1" fmla="*/ 231 h 234"/>
              <a:gd name="T2" fmla="*/ 61 w 320"/>
              <a:gd name="T3" fmla="*/ 226 h 234"/>
              <a:gd name="T4" fmla="*/ 66 w 320"/>
              <a:gd name="T5" fmla="*/ 222 h 234"/>
              <a:gd name="T6" fmla="*/ 77 w 320"/>
              <a:gd name="T7" fmla="*/ 217 h 234"/>
              <a:gd name="T8" fmla="*/ 64 w 320"/>
              <a:gd name="T9" fmla="*/ 204 h 234"/>
              <a:gd name="T10" fmla="*/ 43 w 320"/>
              <a:gd name="T11" fmla="*/ 189 h 234"/>
              <a:gd name="T12" fmla="*/ 36 w 320"/>
              <a:gd name="T13" fmla="*/ 179 h 234"/>
              <a:gd name="T14" fmla="*/ 34 w 320"/>
              <a:gd name="T15" fmla="*/ 171 h 234"/>
              <a:gd name="T16" fmla="*/ 34 w 320"/>
              <a:gd name="T17" fmla="*/ 164 h 234"/>
              <a:gd name="T18" fmla="*/ 36 w 320"/>
              <a:gd name="T19" fmla="*/ 157 h 234"/>
              <a:gd name="T20" fmla="*/ 43 w 320"/>
              <a:gd name="T21" fmla="*/ 149 h 234"/>
              <a:gd name="T22" fmla="*/ 56 w 320"/>
              <a:gd name="T23" fmla="*/ 141 h 234"/>
              <a:gd name="T24" fmla="*/ 73 w 320"/>
              <a:gd name="T25" fmla="*/ 137 h 234"/>
              <a:gd name="T26" fmla="*/ 80 w 320"/>
              <a:gd name="T27" fmla="*/ 126 h 234"/>
              <a:gd name="T28" fmla="*/ 67 w 320"/>
              <a:gd name="T29" fmla="*/ 111 h 234"/>
              <a:gd name="T30" fmla="*/ 61 w 320"/>
              <a:gd name="T31" fmla="*/ 102 h 234"/>
              <a:gd name="T32" fmla="*/ 60 w 320"/>
              <a:gd name="T33" fmla="*/ 86 h 234"/>
              <a:gd name="T34" fmla="*/ 55 w 320"/>
              <a:gd name="T35" fmla="*/ 70 h 234"/>
              <a:gd name="T36" fmla="*/ 46 w 320"/>
              <a:gd name="T37" fmla="*/ 46 h 234"/>
              <a:gd name="T38" fmla="*/ 33 w 320"/>
              <a:gd name="T39" fmla="*/ 31 h 234"/>
              <a:gd name="T40" fmla="*/ 20 w 320"/>
              <a:gd name="T41" fmla="*/ 25 h 234"/>
              <a:gd name="T42" fmla="*/ 7 w 320"/>
              <a:gd name="T43" fmla="*/ 10 h 234"/>
              <a:gd name="T44" fmla="*/ 9 w 320"/>
              <a:gd name="T45" fmla="*/ 0 h 234"/>
              <a:gd name="T46" fmla="*/ 24 w 320"/>
              <a:gd name="T47" fmla="*/ 0 h 234"/>
              <a:gd name="T48" fmla="*/ 38 w 320"/>
              <a:gd name="T49" fmla="*/ 3 h 234"/>
              <a:gd name="T50" fmla="*/ 56 w 320"/>
              <a:gd name="T51" fmla="*/ 16 h 234"/>
              <a:gd name="T52" fmla="*/ 78 w 320"/>
              <a:gd name="T53" fmla="*/ 35 h 234"/>
              <a:gd name="T54" fmla="*/ 96 w 320"/>
              <a:gd name="T55" fmla="*/ 48 h 234"/>
              <a:gd name="T56" fmla="*/ 119 w 320"/>
              <a:gd name="T57" fmla="*/ 58 h 234"/>
              <a:gd name="T58" fmla="*/ 152 w 320"/>
              <a:gd name="T59" fmla="*/ 70 h 234"/>
              <a:gd name="T60" fmla="*/ 181 w 320"/>
              <a:gd name="T61" fmla="*/ 79 h 234"/>
              <a:gd name="T62" fmla="*/ 214 w 320"/>
              <a:gd name="T63" fmla="*/ 85 h 234"/>
              <a:gd name="T64" fmla="*/ 236 w 320"/>
              <a:gd name="T65" fmla="*/ 77 h 234"/>
              <a:gd name="T66" fmla="*/ 257 w 320"/>
              <a:gd name="T67" fmla="*/ 83 h 234"/>
              <a:gd name="T68" fmla="*/ 284 w 320"/>
              <a:gd name="T69" fmla="*/ 107 h 234"/>
              <a:gd name="T70" fmla="*/ 305 w 320"/>
              <a:gd name="T71" fmla="*/ 119 h 234"/>
              <a:gd name="T72" fmla="*/ 297 w 320"/>
              <a:gd name="T73" fmla="*/ 133 h 234"/>
              <a:gd name="T74" fmla="*/ 268 w 320"/>
              <a:gd name="T75" fmla="*/ 144 h 234"/>
              <a:gd name="T76" fmla="*/ 249 w 320"/>
              <a:gd name="T77" fmla="*/ 148 h 234"/>
              <a:gd name="T78" fmla="*/ 237 w 320"/>
              <a:gd name="T79" fmla="*/ 159 h 234"/>
              <a:gd name="T80" fmla="*/ 232 w 320"/>
              <a:gd name="T81" fmla="*/ 176 h 234"/>
              <a:gd name="T82" fmla="*/ 231 w 320"/>
              <a:gd name="T83" fmla="*/ 187 h 234"/>
              <a:gd name="T84" fmla="*/ 222 w 320"/>
              <a:gd name="T85" fmla="*/ 192 h 234"/>
              <a:gd name="T86" fmla="*/ 204 w 320"/>
              <a:gd name="T87" fmla="*/ 189 h 234"/>
              <a:gd name="T88" fmla="*/ 186 w 320"/>
              <a:gd name="T89" fmla="*/ 181 h 234"/>
              <a:gd name="T90" fmla="*/ 168 w 320"/>
              <a:gd name="T91" fmla="*/ 170 h 234"/>
              <a:gd name="T92" fmla="*/ 155 w 320"/>
              <a:gd name="T93" fmla="*/ 164 h 234"/>
              <a:gd name="T94" fmla="*/ 145 w 320"/>
              <a:gd name="T95" fmla="*/ 161 h 234"/>
              <a:gd name="T96" fmla="*/ 131 w 320"/>
              <a:gd name="T97" fmla="*/ 162 h 234"/>
              <a:gd name="T98" fmla="*/ 114 w 320"/>
              <a:gd name="T99" fmla="*/ 167 h 234"/>
              <a:gd name="T100" fmla="*/ 100 w 320"/>
              <a:gd name="T101" fmla="*/ 173 h 234"/>
              <a:gd name="T102" fmla="*/ 87 w 320"/>
              <a:gd name="T103" fmla="*/ 178 h 234"/>
              <a:gd name="T104" fmla="*/ 85 w 320"/>
              <a:gd name="T105" fmla="*/ 183 h 234"/>
              <a:gd name="T106" fmla="*/ 96 w 320"/>
              <a:gd name="T107" fmla="*/ 191 h 234"/>
              <a:gd name="T108" fmla="*/ 116 w 320"/>
              <a:gd name="T109" fmla="*/ 200 h 234"/>
              <a:gd name="T110" fmla="*/ 126 w 320"/>
              <a:gd name="T111" fmla="*/ 212 h 234"/>
              <a:gd name="T112" fmla="*/ 113 w 320"/>
              <a:gd name="T113" fmla="*/ 224 h 234"/>
              <a:gd name="T114" fmla="*/ 102 w 320"/>
              <a:gd name="T115" fmla="*/ 231 h 234"/>
              <a:gd name="T116" fmla="*/ 91 w 320"/>
              <a:gd name="T117"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50" name="Freeform 483">
            <a:extLst>
              <a:ext uri="{FF2B5EF4-FFF2-40B4-BE49-F238E27FC236}">
                <a16:creationId xmlns="" xmlns:a16="http://schemas.microsoft.com/office/drawing/2014/main" id="{EA57F77D-942E-48F8-A530-1F939464C70C}"/>
              </a:ext>
            </a:extLst>
          </p:cNvPr>
          <p:cNvSpPr>
            <a:spLocks/>
          </p:cNvSpPr>
          <p:nvPr>
            <p:custDataLst>
              <p:tags r:id="rId320"/>
            </p:custDataLst>
          </p:nvPr>
        </p:nvSpPr>
        <p:spPr bwMode="auto">
          <a:xfrm>
            <a:off x="7871080" y="3330670"/>
            <a:ext cx="63817" cy="59076"/>
          </a:xfrm>
          <a:custGeom>
            <a:avLst/>
            <a:gdLst>
              <a:gd name="T0" fmla="*/ 33 w 125"/>
              <a:gd name="T1" fmla="*/ 19 h 93"/>
              <a:gd name="T2" fmla="*/ 43 w 125"/>
              <a:gd name="T3" fmla="*/ 19 h 93"/>
              <a:gd name="T4" fmla="*/ 52 w 125"/>
              <a:gd name="T5" fmla="*/ 19 h 93"/>
              <a:gd name="T6" fmla="*/ 55 w 125"/>
              <a:gd name="T7" fmla="*/ 19 h 93"/>
              <a:gd name="T8" fmla="*/ 58 w 125"/>
              <a:gd name="T9" fmla="*/ 17 h 93"/>
              <a:gd name="T10" fmla="*/ 61 w 125"/>
              <a:gd name="T11" fmla="*/ 15 h 93"/>
              <a:gd name="T12" fmla="*/ 65 w 125"/>
              <a:gd name="T13" fmla="*/ 11 h 93"/>
              <a:gd name="T14" fmla="*/ 68 w 125"/>
              <a:gd name="T15" fmla="*/ 8 h 93"/>
              <a:gd name="T16" fmla="*/ 70 w 125"/>
              <a:gd name="T17" fmla="*/ 5 h 93"/>
              <a:gd name="T18" fmla="*/ 72 w 125"/>
              <a:gd name="T19" fmla="*/ 3 h 93"/>
              <a:gd name="T20" fmla="*/ 72 w 125"/>
              <a:gd name="T21" fmla="*/ 0 h 93"/>
              <a:gd name="T22" fmla="*/ 118 w 125"/>
              <a:gd name="T23" fmla="*/ 0 h 93"/>
              <a:gd name="T24" fmla="*/ 122 w 125"/>
              <a:gd name="T25" fmla="*/ 15 h 93"/>
              <a:gd name="T26" fmla="*/ 125 w 125"/>
              <a:gd name="T27" fmla="*/ 25 h 93"/>
              <a:gd name="T28" fmla="*/ 124 w 125"/>
              <a:gd name="T29" fmla="*/ 29 h 93"/>
              <a:gd name="T30" fmla="*/ 122 w 125"/>
              <a:gd name="T31" fmla="*/ 33 h 93"/>
              <a:gd name="T32" fmla="*/ 119 w 125"/>
              <a:gd name="T33" fmla="*/ 35 h 93"/>
              <a:gd name="T34" fmla="*/ 117 w 125"/>
              <a:gd name="T35" fmla="*/ 37 h 93"/>
              <a:gd name="T36" fmla="*/ 111 w 125"/>
              <a:gd name="T37" fmla="*/ 40 h 93"/>
              <a:gd name="T38" fmla="*/ 104 w 125"/>
              <a:gd name="T39" fmla="*/ 41 h 93"/>
              <a:gd name="T40" fmla="*/ 88 w 125"/>
              <a:gd name="T41" fmla="*/ 41 h 93"/>
              <a:gd name="T42" fmla="*/ 72 w 125"/>
              <a:gd name="T43" fmla="*/ 43 h 93"/>
              <a:gd name="T44" fmla="*/ 70 w 125"/>
              <a:gd name="T45" fmla="*/ 47 h 93"/>
              <a:gd name="T46" fmla="*/ 69 w 125"/>
              <a:gd name="T47" fmla="*/ 53 h 93"/>
              <a:gd name="T48" fmla="*/ 67 w 125"/>
              <a:gd name="T49" fmla="*/ 61 h 93"/>
              <a:gd name="T50" fmla="*/ 67 w 125"/>
              <a:gd name="T51" fmla="*/ 71 h 93"/>
              <a:gd name="T52" fmla="*/ 66 w 125"/>
              <a:gd name="T53" fmla="*/ 86 h 93"/>
              <a:gd name="T54" fmla="*/ 66 w 125"/>
              <a:gd name="T55" fmla="*/ 93 h 93"/>
              <a:gd name="T56" fmla="*/ 49 w 125"/>
              <a:gd name="T57" fmla="*/ 85 h 93"/>
              <a:gd name="T58" fmla="*/ 27 w 125"/>
              <a:gd name="T59" fmla="*/ 73 h 93"/>
              <a:gd name="T60" fmla="*/ 16 w 125"/>
              <a:gd name="T61" fmla="*/ 65 h 93"/>
              <a:gd name="T62" fmla="*/ 7 w 125"/>
              <a:gd name="T63" fmla="*/ 58 h 93"/>
              <a:gd name="T64" fmla="*/ 4 w 125"/>
              <a:gd name="T65" fmla="*/ 54 h 93"/>
              <a:gd name="T66" fmla="*/ 2 w 125"/>
              <a:gd name="T67" fmla="*/ 50 h 93"/>
              <a:gd name="T68" fmla="*/ 0 w 125"/>
              <a:gd name="T69" fmla="*/ 47 h 93"/>
              <a:gd name="T70" fmla="*/ 0 w 125"/>
              <a:gd name="T71" fmla="*/ 43 h 93"/>
              <a:gd name="T72" fmla="*/ 7 w 125"/>
              <a:gd name="T73" fmla="*/ 43 h 93"/>
              <a:gd name="T74" fmla="*/ 15 w 125"/>
              <a:gd name="T75" fmla="*/ 41 h 93"/>
              <a:gd name="T76" fmla="*/ 20 w 125"/>
              <a:gd name="T77" fmla="*/ 39 h 93"/>
              <a:gd name="T78" fmla="*/ 23 w 125"/>
              <a:gd name="T79" fmla="*/ 36 h 93"/>
              <a:gd name="T80" fmla="*/ 28 w 125"/>
              <a:gd name="T81" fmla="*/ 28 h 93"/>
              <a:gd name="T82" fmla="*/ 33 w 125"/>
              <a:gd name="T83"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51" name="Freeform 484">
            <a:extLst>
              <a:ext uri="{FF2B5EF4-FFF2-40B4-BE49-F238E27FC236}">
                <a16:creationId xmlns="" xmlns:a16="http://schemas.microsoft.com/office/drawing/2014/main" id="{4E851E54-D0B8-4672-B98F-264D5631702C}"/>
              </a:ext>
            </a:extLst>
          </p:cNvPr>
          <p:cNvSpPr>
            <a:spLocks/>
          </p:cNvSpPr>
          <p:nvPr>
            <p:custDataLst>
              <p:tags r:id="rId321"/>
            </p:custDataLst>
          </p:nvPr>
        </p:nvSpPr>
        <p:spPr bwMode="auto">
          <a:xfrm>
            <a:off x="7805329" y="3345439"/>
            <a:ext cx="73486" cy="86971"/>
          </a:xfrm>
          <a:custGeom>
            <a:avLst/>
            <a:gdLst>
              <a:gd name="T0" fmla="*/ 20 w 133"/>
              <a:gd name="T1" fmla="*/ 12 h 154"/>
              <a:gd name="T2" fmla="*/ 24 w 133"/>
              <a:gd name="T3" fmla="*/ 10 h 154"/>
              <a:gd name="T4" fmla="*/ 31 w 133"/>
              <a:gd name="T5" fmla="*/ 6 h 154"/>
              <a:gd name="T6" fmla="*/ 34 w 133"/>
              <a:gd name="T7" fmla="*/ 4 h 154"/>
              <a:gd name="T8" fmla="*/ 37 w 133"/>
              <a:gd name="T9" fmla="*/ 2 h 154"/>
              <a:gd name="T10" fmla="*/ 42 w 133"/>
              <a:gd name="T11" fmla="*/ 1 h 154"/>
              <a:gd name="T12" fmla="*/ 46 w 133"/>
              <a:gd name="T13" fmla="*/ 0 h 154"/>
              <a:gd name="T14" fmla="*/ 59 w 133"/>
              <a:gd name="T15" fmla="*/ 1 h 154"/>
              <a:gd name="T16" fmla="*/ 70 w 133"/>
              <a:gd name="T17" fmla="*/ 4 h 154"/>
              <a:gd name="T18" fmla="*/ 81 w 133"/>
              <a:gd name="T19" fmla="*/ 8 h 154"/>
              <a:gd name="T20" fmla="*/ 90 w 133"/>
              <a:gd name="T21" fmla="*/ 14 h 154"/>
              <a:gd name="T22" fmla="*/ 99 w 133"/>
              <a:gd name="T23" fmla="*/ 21 h 154"/>
              <a:gd name="T24" fmla="*/ 105 w 133"/>
              <a:gd name="T25" fmla="*/ 30 h 154"/>
              <a:gd name="T26" fmla="*/ 112 w 133"/>
              <a:gd name="T27" fmla="*/ 40 h 154"/>
              <a:gd name="T28" fmla="*/ 116 w 133"/>
              <a:gd name="T29" fmla="*/ 50 h 154"/>
              <a:gd name="T30" fmla="*/ 121 w 133"/>
              <a:gd name="T31" fmla="*/ 60 h 154"/>
              <a:gd name="T32" fmla="*/ 124 w 133"/>
              <a:gd name="T33" fmla="*/ 71 h 154"/>
              <a:gd name="T34" fmla="*/ 127 w 133"/>
              <a:gd name="T35" fmla="*/ 82 h 154"/>
              <a:gd name="T36" fmla="*/ 130 w 133"/>
              <a:gd name="T37" fmla="*/ 94 h 154"/>
              <a:gd name="T38" fmla="*/ 132 w 133"/>
              <a:gd name="T39" fmla="*/ 116 h 154"/>
              <a:gd name="T40" fmla="*/ 133 w 133"/>
              <a:gd name="T41" fmla="*/ 135 h 154"/>
              <a:gd name="T42" fmla="*/ 132 w 133"/>
              <a:gd name="T43" fmla="*/ 138 h 154"/>
              <a:gd name="T44" fmla="*/ 130 w 133"/>
              <a:gd name="T45" fmla="*/ 141 h 154"/>
              <a:gd name="T46" fmla="*/ 125 w 133"/>
              <a:gd name="T47" fmla="*/ 144 h 154"/>
              <a:gd name="T48" fmla="*/ 121 w 133"/>
              <a:gd name="T49" fmla="*/ 147 h 154"/>
              <a:gd name="T50" fmla="*/ 115 w 133"/>
              <a:gd name="T51" fmla="*/ 150 h 154"/>
              <a:gd name="T52" fmla="*/ 110 w 133"/>
              <a:gd name="T53" fmla="*/ 153 h 154"/>
              <a:gd name="T54" fmla="*/ 104 w 133"/>
              <a:gd name="T55" fmla="*/ 154 h 154"/>
              <a:gd name="T56" fmla="*/ 99 w 133"/>
              <a:gd name="T57" fmla="*/ 154 h 154"/>
              <a:gd name="T58" fmla="*/ 93 w 133"/>
              <a:gd name="T59" fmla="*/ 153 h 154"/>
              <a:gd name="T60" fmla="*/ 87 w 133"/>
              <a:gd name="T61" fmla="*/ 149 h 154"/>
              <a:gd name="T62" fmla="*/ 79 w 133"/>
              <a:gd name="T63" fmla="*/ 141 h 154"/>
              <a:gd name="T64" fmla="*/ 71 w 133"/>
              <a:gd name="T65" fmla="*/ 134 h 154"/>
              <a:gd name="T66" fmla="*/ 64 w 133"/>
              <a:gd name="T67" fmla="*/ 126 h 154"/>
              <a:gd name="T68" fmla="*/ 58 w 133"/>
              <a:gd name="T69" fmla="*/ 118 h 154"/>
              <a:gd name="T70" fmla="*/ 54 w 133"/>
              <a:gd name="T71" fmla="*/ 111 h 154"/>
              <a:gd name="T72" fmla="*/ 53 w 133"/>
              <a:gd name="T73" fmla="*/ 105 h 154"/>
              <a:gd name="T74" fmla="*/ 54 w 133"/>
              <a:gd name="T75" fmla="*/ 98 h 154"/>
              <a:gd name="T76" fmla="*/ 56 w 133"/>
              <a:gd name="T77" fmla="*/ 83 h 154"/>
              <a:gd name="T78" fmla="*/ 58 w 133"/>
              <a:gd name="T79" fmla="*/ 68 h 154"/>
              <a:gd name="T80" fmla="*/ 59 w 133"/>
              <a:gd name="T81" fmla="*/ 62 h 154"/>
              <a:gd name="T82" fmla="*/ 47 w 133"/>
              <a:gd name="T83" fmla="*/ 61 h 154"/>
              <a:gd name="T84" fmla="*/ 36 w 133"/>
              <a:gd name="T85" fmla="*/ 59 h 154"/>
              <a:gd name="T86" fmla="*/ 25 w 133"/>
              <a:gd name="T87" fmla="*/ 56 h 154"/>
              <a:gd name="T88" fmla="*/ 17 w 133"/>
              <a:gd name="T89" fmla="*/ 52 h 154"/>
              <a:gd name="T90" fmla="*/ 13 w 133"/>
              <a:gd name="T91" fmla="*/ 49 h 154"/>
              <a:gd name="T92" fmla="*/ 10 w 133"/>
              <a:gd name="T93" fmla="*/ 46 h 154"/>
              <a:gd name="T94" fmla="*/ 7 w 133"/>
              <a:gd name="T95" fmla="*/ 43 h 154"/>
              <a:gd name="T96" fmla="*/ 4 w 133"/>
              <a:gd name="T97" fmla="*/ 39 h 154"/>
              <a:gd name="T98" fmla="*/ 2 w 133"/>
              <a:gd name="T99" fmla="*/ 34 h 154"/>
              <a:gd name="T100" fmla="*/ 1 w 133"/>
              <a:gd name="T101" fmla="*/ 29 h 154"/>
              <a:gd name="T102" fmla="*/ 0 w 133"/>
              <a:gd name="T103" fmla="*/ 24 h 154"/>
              <a:gd name="T104" fmla="*/ 0 w 133"/>
              <a:gd name="T105" fmla="*/ 18 h 154"/>
              <a:gd name="T106" fmla="*/ 7 w 133"/>
              <a:gd name="T107" fmla="*/ 15 h 154"/>
              <a:gd name="T108" fmla="*/ 20 w 133"/>
              <a:gd name="T109" fmla="*/ 1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52" name="Freeform 485">
            <a:extLst>
              <a:ext uri="{FF2B5EF4-FFF2-40B4-BE49-F238E27FC236}">
                <a16:creationId xmlns="" xmlns:a16="http://schemas.microsoft.com/office/drawing/2014/main" id="{C558D7F0-B6AA-4731-A760-EAF41EAC1EB5}"/>
              </a:ext>
            </a:extLst>
          </p:cNvPr>
          <p:cNvSpPr>
            <a:spLocks/>
          </p:cNvSpPr>
          <p:nvPr>
            <p:custDataLst>
              <p:tags r:id="rId322"/>
            </p:custDataLst>
          </p:nvPr>
        </p:nvSpPr>
        <p:spPr bwMode="auto">
          <a:xfrm>
            <a:off x="7824668" y="3099293"/>
            <a:ext cx="255268" cy="252710"/>
          </a:xfrm>
          <a:custGeom>
            <a:avLst/>
            <a:gdLst>
              <a:gd name="T0" fmla="*/ 134 w 485"/>
              <a:gd name="T1" fmla="*/ 351 h 468"/>
              <a:gd name="T2" fmla="*/ 167 w 485"/>
              <a:gd name="T3" fmla="*/ 339 h 468"/>
              <a:gd name="T4" fmla="*/ 200 w 485"/>
              <a:gd name="T5" fmla="*/ 339 h 468"/>
              <a:gd name="T6" fmla="*/ 226 w 485"/>
              <a:gd name="T7" fmla="*/ 348 h 468"/>
              <a:gd name="T8" fmla="*/ 224 w 485"/>
              <a:gd name="T9" fmla="*/ 327 h 468"/>
              <a:gd name="T10" fmla="*/ 220 w 485"/>
              <a:gd name="T11" fmla="*/ 316 h 468"/>
              <a:gd name="T12" fmla="*/ 233 w 485"/>
              <a:gd name="T13" fmla="*/ 303 h 468"/>
              <a:gd name="T14" fmla="*/ 239 w 485"/>
              <a:gd name="T15" fmla="*/ 276 h 468"/>
              <a:gd name="T16" fmla="*/ 242 w 485"/>
              <a:gd name="T17" fmla="*/ 246 h 468"/>
              <a:gd name="T18" fmla="*/ 268 w 485"/>
              <a:gd name="T19" fmla="*/ 255 h 468"/>
              <a:gd name="T20" fmla="*/ 300 w 485"/>
              <a:gd name="T21" fmla="*/ 238 h 468"/>
              <a:gd name="T22" fmla="*/ 316 w 485"/>
              <a:gd name="T23" fmla="*/ 217 h 468"/>
              <a:gd name="T24" fmla="*/ 293 w 485"/>
              <a:gd name="T25" fmla="*/ 194 h 468"/>
              <a:gd name="T26" fmla="*/ 318 w 485"/>
              <a:gd name="T27" fmla="*/ 199 h 468"/>
              <a:gd name="T28" fmla="*/ 343 w 485"/>
              <a:gd name="T29" fmla="*/ 202 h 468"/>
              <a:gd name="T30" fmla="*/ 346 w 485"/>
              <a:gd name="T31" fmla="*/ 185 h 468"/>
              <a:gd name="T32" fmla="*/ 295 w 485"/>
              <a:gd name="T33" fmla="*/ 96 h 468"/>
              <a:gd name="T34" fmla="*/ 285 w 485"/>
              <a:gd name="T35" fmla="*/ 53 h 468"/>
              <a:gd name="T36" fmla="*/ 291 w 485"/>
              <a:gd name="T37" fmla="*/ 19 h 468"/>
              <a:gd name="T38" fmla="*/ 316 w 485"/>
              <a:gd name="T39" fmla="*/ 1 h 468"/>
              <a:gd name="T40" fmla="*/ 336 w 485"/>
              <a:gd name="T41" fmla="*/ 18 h 468"/>
              <a:gd name="T42" fmla="*/ 377 w 485"/>
              <a:gd name="T43" fmla="*/ 45 h 468"/>
              <a:gd name="T44" fmla="*/ 415 w 485"/>
              <a:gd name="T45" fmla="*/ 72 h 468"/>
              <a:gd name="T46" fmla="*/ 426 w 485"/>
              <a:gd name="T47" fmla="*/ 98 h 468"/>
              <a:gd name="T48" fmla="*/ 436 w 485"/>
              <a:gd name="T49" fmla="*/ 137 h 468"/>
              <a:gd name="T50" fmla="*/ 445 w 485"/>
              <a:gd name="T51" fmla="*/ 173 h 468"/>
              <a:gd name="T52" fmla="*/ 428 w 485"/>
              <a:gd name="T53" fmla="*/ 179 h 468"/>
              <a:gd name="T54" fmla="*/ 412 w 485"/>
              <a:gd name="T55" fmla="*/ 185 h 468"/>
              <a:gd name="T56" fmla="*/ 426 w 485"/>
              <a:gd name="T57" fmla="*/ 199 h 468"/>
              <a:gd name="T58" fmla="*/ 445 w 485"/>
              <a:gd name="T59" fmla="*/ 203 h 468"/>
              <a:gd name="T60" fmla="*/ 455 w 485"/>
              <a:gd name="T61" fmla="*/ 262 h 468"/>
              <a:gd name="T62" fmla="*/ 475 w 485"/>
              <a:gd name="T63" fmla="*/ 312 h 468"/>
              <a:gd name="T64" fmla="*/ 480 w 485"/>
              <a:gd name="T65" fmla="*/ 381 h 468"/>
              <a:gd name="T66" fmla="*/ 463 w 485"/>
              <a:gd name="T67" fmla="*/ 364 h 468"/>
              <a:gd name="T68" fmla="*/ 453 w 485"/>
              <a:gd name="T69" fmla="*/ 356 h 468"/>
              <a:gd name="T70" fmla="*/ 436 w 485"/>
              <a:gd name="T71" fmla="*/ 363 h 468"/>
              <a:gd name="T72" fmla="*/ 429 w 485"/>
              <a:gd name="T73" fmla="*/ 399 h 468"/>
              <a:gd name="T74" fmla="*/ 408 w 485"/>
              <a:gd name="T75" fmla="*/ 389 h 468"/>
              <a:gd name="T76" fmla="*/ 389 w 485"/>
              <a:gd name="T77" fmla="*/ 382 h 468"/>
              <a:gd name="T78" fmla="*/ 376 w 485"/>
              <a:gd name="T79" fmla="*/ 402 h 468"/>
              <a:gd name="T80" fmla="*/ 345 w 485"/>
              <a:gd name="T81" fmla="*/ 413 h 468"/>
              <a:gd name="T82" fmla="*/ 334 w 485"/>
              <a:gd name="T83" fmla="*/ 400 h 468"/>
              <a:gd name="T84" fmla="*/ 312 w 485"/>
              <a:gd name="T85" fmla="*/ 395 h 468"/>
              <a:gd name="T86" fmla="*/ 303 w 485"/>
              <a:gd name="T87" fmla="*/ 426 h 468"/>
              <a:gd name="T88" fmla="*/ 299 w 485"/>
              <a:gd name="T89" fmla="*/ 450 h 468"/>
              <a:gd name="T90" fmla="*/ 307 w 485"/>
              <a:gd name="T91" fmla="*/ 466 h 468"/>
              <a:gd name="T92" fmla="*/ 272 w 485"/>
              <a:gd name="T93" fmla="*/ 468 h 468"/>
              <a:gd name="T94" fmla="*/ 258 w 485"/>
              <a:gd name="T95" fmla="*/ 465 h 468"/>
              <a:gd name="T96" fmla="*/ 244 w 485"/>
              <a:gd name="T97" fmla="*/ 440 h 468"/>
              <a:gd name="T98" fmla="*/ 229 w 485"/>
              <a:gd name="T99" fmla="*/ 418 h 468"/>
              <a:gd name="T100" fmla="*/ 204 w 485"/>
              <a:gd name="T101" fmla="*/ 406 h 468"/>
              <a:gd name="T102" fmla="*/ 190 w 485"/>
              <a:gd name="T103" fmla="*/ 394 h 468"/>
              <a:gd name="T104" fmla="*/ 136 w 485"/>
              <a:gd name="T105" fmla="*/ 417 h 468"/>
              <a:gd name="T106" fmla="*/ 90 w 485"/>
              <a:gd name="T107" fmla="*/ 435 h 468"/>
              <a:gd name="T108" fmla="*/ 65 w 485"/>
              <a:gd name="T109" fmla="*/ 459 h 468"/>
              <a:gd name="T110" fmla="*/ 27 w 485"/>
              <a:gd name="T111" fmla="*/ 461 h 468"/>
              <a:gd name="T112" fmla="*/ 7 w 485"/>
              <a:gd name="T113" fmla="*/ 438 h 468"/>
              <a:gd name="T114" fmla="*/ 0 w 485"/>
              <a:gd name="T115" fmla="*/ 417 h 468"/>
              <a:gd name="T116" fmla="*/ 7 w 485"/>
              <a:gd name="T117" fmla="*/ 413 h 468"/>
              <a:gd name="T118" fmla="*/ 27 w 485"/>
              <a:gd name="T119" fmla="*/ 414 h 468"/>
              <a:gd name="T120" fmla="*/ 48 w 485"/>
              <a:gd name="T121" fmla="*/ 405 h 468"/>
              <a:gd name="T122" fmla="*/ 72 w 485"/>
              <a:gd name="T123" fmla="*/ 369 h 468"/>
              <a:gd name="T124" fmla="*/ 93 w 485"/>
              <a:gd name="T125" fmla="*/ 352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53" name="Freeform 486">
            <a:extLst>
              <a:ext uri="{FF2B5EF4-FFF2-40B4-BE49-F238E27FC236}">
                <a16:creationId xmlns="" xmlns:a16="http://schemas.microsoft.com/office/drawing/2014/main" id="{902A18AD-2103-4BA7-9554-88804E6806B2}"/>
              </a:ext>
            </a:extLst>
          </p:cNvPr>
          <p:cNvSpPr>
            <a:spLocks/>
          </p:cNvSpPr>
          <p:nvPr>
            <p:custDataLst>
              <p:tags r:id="rId323"/>
            </p:custDataLst>
          </p:nvPr>
        </p:nvSpPr>
        <p:spPr bwMode="auto">
          <a:xfrm>
            <a:off x="4881344" y="1952250"/>
            <a:ext cx="131502" cy="62357"/>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54" name="Freeform 487">
            <a:extLst>
              <a:ext uri="{FF2B5EF4-FFF2-40B4-BE49-F238E27FC236}">
                <a16:creationId xmlns="" xmlns:a16="http://schemas.microsoft.com/office/drawing/2014/main" id="{7BFD58B7-4AB4-4D83-AF89-3D5D6F1723CE}"/>
              </a:ext>
            </a:extLst>
          </p:cNvPr>
          <p:cNvSpPr>
            <a:spLocks/>
          </p:cNvSpPr>
          <p:nvPr>
            <p:custDataLst>
              <p:tags r:id="rId324"/>
            </p:custDataLst>
          </p:nvPr>
        </p:nvSpPr>
        <p:spPr bwMode="auto">
          <a:xfrm>
            <a:off x="5055390" y="1934201"/>
            <a:ext cx="77355" cy="59076"/>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55" name="Freeform 488">
            <a:extLst>
              <a:ext uri="{FF2B5EF4-FFF2-40B4-BE49-F238E27FC236}">
                <a16:creationId xmlns="" xmlns:a16="http://schemas.microsoft.com/office/drawing/2014/main" id="{DA4522B1-AD26-410C-9556-6C25B5D41C83}"/>
              </a:ext>
            </a:extLst>
          </p:cNvPr>
          <p:cNvSpPr>
            <a:spLocks/>
          </p:cNvSpPr>
          <p:nvPr>
            <p:custDataLst>
              <p:tags r:id="rId325"/>
            </p:custDataLst>
          </p:nvPr>
        </p:nvSpPr>
        <p:spPr bwMode="auto">
          <a:xfrm>
            <a:off x="5099869" y="1942405"/>
            <a:ext cx="158576" cy="59076"/>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56" name="Freeform 489">
            <a:extLst>
              <a:ext uri="{FF2B5EF4-FFF2-40B4-BE49-F238E27FC236}">
                <a16:creationId xmlns="" xmlns:a16="http://schemas.microsoft.com/office/drawing/2014/main" id="{CD7F1CAB-0DE7-48A8-B054-0F3BA61312FB}"/>
              </a:ext>
            </a:extLst>
          </p:cNvPr>
          <p:cNvSpPr>
            <a:spLocks/>
          </p:cNvSpPr>
          <p:nvPr>
            <p:custDataLst>
              <p:tags r:id="rId326"/>
            </p:custDataLst>
          </p:nvPr>
        </p:nvSpPr>
        <p:spPr bwMode="auto">
          <a:xfrm>
            <a:off x="5749643" y="2134400"/>
            <a:ext cx="50280" cy="59076"/>
          </a:xfrm>
          <a:custGeom>
            <a:avLst/>
            <a:gdLst>
              <a:gd name="T0" fmla="*/ 93 w 100"/>
              <a:gd name="T1" fmla="*/ 0 h 42"/>
              <a:gd name="T2" fmla="*/ 97 w 100"/>
              <a:gd name="T3" fmla="*/ 7 h 42"/>
              <a:gd name="T4" fmla="*/ 100 w 100"/>
              <a:gd name="T5" fmla="*/ 18 h 42"/>
              <a:gd name="T6" fmla="*/ 92 w 100"/>
              <a:gd name="T7" fmla="*/ 24 h 42"/>
              <a:gd name="T8" fmla="*/ 86 w 100"/>
              <a:gd name="T9" fmla="*/ 29 h 42"/>
              <a:gd name="T10" fmla="*/ 79 w 100"/>
              <a:gd name="T11" fmla="*/ 34 h 42"/>
              <a:gd name="T12" fmla="*/ 72 w 100"/>
              <a:gd name="T13" fmla="*/ 37 h 42"/>
              <a:gd name="T14" fmla="*/ 65 w 100"/>
              <a:gd name="T15" fmla="*/ 39 h 42"/>
              <a:gd name="T16" fmla="*/ 57 w 100"/>
              <a:gd name="T17" fmla="*/ 41 h 42"/>
              <a:gd name="T18" fmla="*/ 49 w 100"/>
              <a:gd name="T19" fmla="*/ 42 h 42"/>
              <a:gd name="T20" fmla="*/ 40 w 100"/>
              <a:gd name="T21" fmla="*/ 42 h 42"/>
              <a:gd name="T22" fmla="*/ 27 w 100"/>
              <a:gd name="T23" fmla="*/ 41 h 42"/>
              <a:gd name="T24" fmla="*/ 12 w 100"/>
              <a:gd name="T25" fmla="*/ 39 h 42"/>
              <a:gd name="T26" fmla="*/ 1 w 100"/>
              <a:gd name="T27" fmla="*/ 37 h 42"/>
              <a:gd name="T28" fmla="*/ 0 w 100"/>
              <a:gd name="T29" fmla="*/ 36 h 42"/>
              <a:gd name="T30" fmla="*/ 6 w 100"/>
              <a:gd name="T31" fmla="*/ 36 h 42"/>
              <a:gd name="T32" fmla="*/ 12 w 100"/>
              <a:gd name="T33" fmla="*/ 35 h 42"/>
              <a:gd name="T34" fmla="*/ 18 w 100"/>
              <a:gd name="T35" fmla="*/ 33 h 42"/>
              <a:gd name="T36" fmla="*/ 23 w 100"/>
              <a:gd name="T37" fmla="*/ 30 h 42"/>
              <a:gd name="T38" fmla="*/ 33 w 100"/>
              <a:gd name="T39" fmla="*/ 25 h 42"/>
              <a:gd name="T40" fmla="*/ 44 w 100"/>
              <a:gd name="T41" fmla="*/ 18 h 42"/>
              <a:gd name="T42" fmla="*/ 55 w 100"/>
              <a:gd name="T43" fmla="*/ 11 h 42"/>
              <a:gd name="T44" fmla="*/ 66 w 100"/>
              <a:gd name="T45" fmla="*/ 5 h 42"/>
              <a:gd name="T46" fmla="*/ 72 w 100"/>
              <a:gd name="T47" fmla="*/ 3 h 42"/>
              <a:gd name="T48" fmla="*/ 79 w 100"/>
              <a:gd name="T49" fmla="*/ 1 h 42"/>
              <a:gd name="T50" fmla="*/ 86 w 100"/>
              <a:gd name="T51" fmla="*/ 0 h 42"/>
              <a:gd name="T52" fmla="*/ 93 w 100"/>
              <a:gd name="T5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57" name="Freeform 490">
            <a:extLst>
              <a:ext uri="{FF2B5EF4-FFF2-40B4-BE49-F238E27FC236}">
                <a16:creationId xmlns="" xmlns:a16="http://schemas.microsoft.com/office/drawing/2014/main" id="{3854539D-91E6-44CF-949B-3697CF22365D}"/>
              </a:ext>
            </a:extLst>
          </p:cNvPr>
          <p:cNvSpPr>
            <a:spLocks/>
          </p:cNvSpPr>
          <p:nvPr>
            <p:custDataLst>
              <p:tags r:id="rId327"/>
            </p:custDataLst>
          </p:nvPr>
        </p:nvSpPr>
        <p:spPr bwMode="auto">
          <a:xfrm>
            <a:off x="5639414" y="1988352"/>
            <a:ext cx="19338" cy="60716"/>
          </a:xfrm>
          <a:custGeom>
            <a:avLst/>
            <a:gdLst>
              <a:gd name="T0" fmla="*/ 40 w 40"/>
              <a:gd name="T1" fmla="*/ 5 h 5"/>
              <a:gd name="T2" fmla="*/ 0 w 40"/>
              <a:gd name="T3" fmla="*/ 5 h 5"/>
              <a:gd name="T4" fmla="*/ 5 w 40"/>
              <a:gd name="T5" fmla="*/ 3 h 5"/>
              <a:gd name="T6" fmla="*/ 9 w 40"/>
              <a:gd name="T7" fmla="*/ 1 h 5"/>
              <a:gd name="T8" fmla="*/ 15 w 40"/>
              <a:gd name="T9" fmla="*/ 0 h 5"/>
              <a:gd name="T10" fmla="*/ 20 w 40"/>
              <a:gd name="T11" fmla="*/ 0 h 5"/>
              <a:gd name="T12" fmla="*/ 25 w 40"/>
              <a:gd name="T13" fmla="*/ 0 h 5"/>
              <a:gd name="T14" fmla="*/ 30 w 40"/>
              <a:gd name="T15" fmla="*/ 1 h 5"/>
              <a:gd name="T16" fmla="*/ 35 w 40"/>
              <a:gd name="T17" fmla="*/ 3 h 5"/>
              <a:gd name="T18" fmla="*/ 40 w 40"/>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58" name="Freeform 491">
            <a:extLst>
              <a:ext uri="{FF2B5EF4-FFF2-40B4-BE49-F238E27FC236}">
                <a16:creationId xmlns="" xmlns:a16="http://schemas.microsoft.com/office/drawing/2014/main" id="{63785004-EA52-4172-B6B5-9CFF1D4DDFF8}"/>
              </a:ext>
            </a:extLst>
          </p:cNvPr>
          <p:cNvSpPr>
            <a:spLocks/>
          </p:cNvSpPr>
          <p:nvPr>
            <p:custDataLst>
              <p:tags r:id="rId328"/>
            </p:custDataLst>
          </p:nvPr>
        </p:nvSpPr>
        <p:spPr bwMode="auto">
          <a:xfrm>
            <a:off x="5666489" y="1945686"/>
            <a:ext cx="17404" cy="62357"/>
          </a:xfrm>
          <a:custGeom>
            <a:avLst/>
            <a:gdLst>
              <a:gd name="T0" fmla="*/ 0 w 33"/>
              <a:gd name="T1" fmla="*/ 19 h 31"/>
              <a:gd name="T2" fmla="*/ 20 w 33"/>
              <a:gd name="T3" fmla="*/ 0 h 31"/>
              <a:gd name="T4" fmla="*/ 20 w 33"/>
              <a:gd name="T5" fmla="*/ 4 h 31"/>
              <a:gd name="T6" fmla="*/ 22 w 33"/>
              <a:gd name="T7" fmla="*/ 10 h 31"/>
              <a:gd name="T8" fmla="*/ 25 w 33"/>
              <a:gd name="T9" fmla="*/ 14 h 31"/>
              <a:gd name="T10" fmla="*/ 27 w 33"/>
              <a:gd name="T11" fmla="*/ 18 h 31"/>
              <a:gd name="T12" fmla="*/ 31 w 33"/>
              <a:gd name="T13" fmla="*/ 26 h 31"/>
              <a:gd name="T14" fmla="*/ 33 w 33"/>
              <a:gd name="T15" fmla="*/ 31 h 31"/>
              <a:gd name="T16" fmla="*/ 0 w 33"/>
              <a:gd name="T17" fmla="*/ 31 h 31"/>
              <a:gd name="T18" fmla="*/ 0 w 33"/>
              <a:gd name="T19" fmla="*/ 25 h 31"/>
              <a:gd name="T20" fmla="*/ 0 w 33"/>
              <a:gd name="T21"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59" name="Freeform 492">
            <a:extLst>
              <a:ext uri="{FF2B5EF4-FFF2-40B4-BE49-F238E27FC236}">
                <a16:creationId xmlns="" xmlns:a16="http://schemas.microsoft.com/office/drawing/2014/main" id="{2CF99119-6D27-460C-A679-315BB539195D}"/>
              </a:ext>
            </a:extLst>
          </p:cNvPr>
          <p:cNvSpPr>
            <a:spLocks/>
          </p:cNvSpPr>
          <p:nvPr>
            <p:custDataLst>
              <p:tags r:id="rId329"/>
            </p:custDataLst>
          </p:nvPr>
        </p:nvSpPr>
        <p:spPr bwMode="auto">
          <a:xfrm>
            <a:off x="5842468" y="2065478"/>
            <a:ext cx="21273" cy="59076"/>
          </a:xfrm>
          <a:custGeom>
            <a:avLst/>
            <a:gdLst>
              <a:gd name="T0" fmla="*/ 41 w 41"/>
              <a:gd name="T1" fmla="*/ 0 h 43"/>
              <a:gd name="T2" fmla="*/ 41 w 41"/>
              <a:gd name="T3" fmla="*/ 43 h 43"/>
              <a:gd name="T4" fmla="*/ 31 w 41"/>
              <a:gd name="T5" fmla="*/ 42 h 43"/>
              <a:gd name="T6" fmla="*/ 24 w 41"/>
              <a:gd name="T7" fmla="*/ 40 h 43"/>
              <a:gd name="T8" fmla="*/ 18 w 41"/>
              <a:gd name="T9" fmla="*/ 37 h 43"/>
              <a:gd name="T10" fmla="*/ 13 w 41"/>
              <a:gd name="T11" fmla="*/ 33 h 43"/>
              <a:gd name="T12" fmla="*/ 5 w 41"/>
              <a:gd name="T13" fmla="*/ 25 h 43"/>
              <a:gd name="T14" fmla="*/ 0 w 41"/>
              <a:gd name="T15" fmla="*/ 19 h 43"/>
              <a:gd name="T16" fmla="*/ 12 w 41"/>
              <a:gd name="T17" fmla="*/ 13 h 43"/>
              <a:gd name="T18" fmla="*/ 25 w 41"/>
              <a:gd name="T19" fmla="*/ 7 h 43"/>
              <a:gd name="T20" fmla="*/ 36 w 41"/>
              <a:gd name="T21" fmla="*/ 2 h 43"/>
              <a:gd name="T22" fmla="*/ 41 w 41"/>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60" name="Freeform 493">
            <a:extLst>
              <a:ext uri="{FF2B5EF4-FFF2-40B4-BE49-F238E27FC236}">
                <a16:creationId xmlns="" xmlns:a16="http://schemas.microsoft.com/office/drawing/2014/main" id="{DD157DE9-187A-4C78-8618-98529AC6EEC6}"/>
              </a:ext>
            </a:extLst>
          </p:cNvPr>
          <p:cNvSpPr>
            <a:spLocks/>
          </p:cNvSpPr>
          <p:nvPr>
            <p:custDataLst>
              <p:tags r:id="rId330"/>
            </p:custDataLst>
          </p:nvPr>
        </p:nvSpPr>
        <p:spPr bwMode="auto">
          <a:xfrm>
            <a:off x="5908219" y="1945686"/>
            <a:ext cx="114098" cy="62357"/>
          </a:xfrm>
          <a:custGeom>
            <a:avLst/>
            <a:gdLst>
              <a:gd name="T0" fmla="*/ 61 w 213"/>
              <a:gd name="T1" fmla="*/ 0 h 62"/>
              <a:gd name="T2" fmla="*/ 83 w 213"/>
              <a:gd name="T3" fmla="*/ 0 h 62"/>
              <a:gd name="T4" fmla="*/ 105 w 213"/>
              <a:gd name="T5" fmla="*/ 1 h 62"/>
              <a:gd name="T6" fmla="*/ 127 w 213"/>
              <a:gd name="T7" fmla="*/ 3 h 62"/>
              <a:gd name="T8" fmla="*/ 146 w 213"/>
              <a:gd name="T9" fmla="*/ 7 h 62"/>
              <a:gd name="T10" fmla="*/ 166 w 213"/>
              <a:gd name="T11" fmla="*/ 11 h 62"/>
              <a:gd name="T12" fmla="*/ 184 w 213"/>
              <a:gd name="T13" fmla="*/ 16 h 62"/>
              <a:gd name="T14" fmla="*/ 191 w 213"/>
              <a:gd name="T15" fmla="*/ 19 h 62"/>
              <a:gd name="T16" fmla="*/ 199 w 213"/>
              <a:gd name="T17" fmla="*/ 23 h 62"/>
              <a:gd name="T18" fmla="*/ 207 w 213"/>
              <a:gd name="T19" fmla="*/ 27 h 62"/>
              <a:gd name="T20" fmla="*/ 213 w 213"/>
              <a:gd name="T21" fmla="*/ 31 h 62"/>
              <a:gd name="T22" fmla="*/ 211 w 213"/>
              <a:gd name="T23" fmla="*/ 35 h 62"/>
              <a:gd name="T24" fmla="*/ 207 w 213"/>
              <a:gd name="T25" fmla="*/ 38 h 62"/>
              <a:gd name="T26" fmla="*/ 201 w 213"/>
              <a:gd name="T27" fmla="*/ 41 h 62"/>
              <a:gd name="T28" fmla="*/ 195 w 213"/>
              <a:gd name="T29" fmla="*/ 44 h 62"/>
              <a:gd name="T30" fmla="*/ 177 w 213"/>
              <a:gd name="T31" fmla="*/ 49 h 62"/>
              <a:gd name="T32" fmla="*/ 156 w 213"/>
              <a:gd name="T33" fmla="*/ 53 h 62"/>
              <a:gd name="T34" fmla="*/ 135 w 213"/>
              <a:gd name="T35" fmla="*/ 57 h 62"/>
              <a:gd name="T36" fmla="*/ 114 w 213"/>
              <a:gd name="T37" fmla="*/ 59 h 62"/>
              <a:gd name="T38" fmla="*/ 95 w 213"/>
              <a:gd name="T39" fmla="*/ 62 h 62"/>
              <a:gd name="T40" fmla="*/ 80 w 213"/>
              <a:gd name="T41" fmla="*/ 62 h 62"/>
              <a:gd name="T42" fmla="*/ 62 w 213"/>
              <a:gd name="T43" fmla="*/ 62 h 62"/>
              <a:gd name="T44" fmla="*/ 43 w 213"/>
              <a:gd name="T45" fmla="*/ 59 h 62"/>
              <a:gd name="T46" fmla="*/ 33 w 213"/>
              <a:gd name="T47" fmla="*/ 59 h 62"/>
              <a:gd name="T48" fmla="*/ 23 w 213"/>
              <a:gd name="T49" fmla="*/ 59 h 62"/>
              <a:gd name="T50" fmla="*/ 12 w 213"/>
              <a:gd name="T51" fmla="*/ 60 h 62"/>
              <a:gd name="T52" fmla="*/ 0 w 213"/>
              <a:gd name="T53" fmla="*/ 62 h 62"/>
              <a:gd name="T54" fmla="*/ 6 w 213"/>
              <a:gd name="T55" fmla="*/ 50 h 62"/>
              <a:gd name="T56" fmla="*/ 11 w 213"/>
              <a:gd name="T57" fmla="*/ 39 h 62"/>
              <a:gd name="T58" fmla="*/ 17 w 213"/>
              <a:gd name="T59" fmla="*/ 29 h 62"/>
              <a:gd name="T60" fmla="*/ 23 w 213"/>
              <a:gd name="T61" fmla="*/ 20 h 62"/>
              <a:gd name="T62" fmla="*/ 27 w 213"/>
              <a:gd name="T63" fmla="*/ 16 h 62"/>
              <a:gd name="T64" fmla="*/ 30 w 213"/>
              <a:gd name="T65" fmla="*/ 12 h 62"/>
              <a:gd name="T66" fmla="*/ 34 w 213"/>
              <a:gd name="T67" fmla="*/ 9 h 62"/>
              <a:gd name="T68" fmla="*/ 39 w 213"/>
              <a:gd name="T69" fmla="*/ 6 h 62"/>
              <a:gd name="T70" fmla="*/ 43 w 213"/>
              <a:gd name="T71" fmla="*/ 3 h 62"/>
              <a:gd name="T72" fmla="*/ 49 w 213"/>
              <a:gd name="T73" fmla="*/ 1 h 62"/>
              <a:gd name="T74" fmla="*/ 54 w 213"/>
              <a:gd name="T75" fmla="*/ 0 h 62"/>
              <a:gd name="T76" fmla="*/ 61 w 213"/>
              <a:gd name="T7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61" name="Freeform 494">
            <a:extLst>
              <a:ext uri="{FF2B5EF4-FFF2-40B4-BE49-F238E27FC236}">
                <a16:creationId xmlns="" xmlns:a16="http://schemas.microsoft.com/office/drawing/2014/main" id="{F9FD99DC-1952-400C-8023-05A80017DEE8}"/>
              </a:ext>
            </a:extLst>
          </p:cNvPr>
          <p:cNvSpPr>
            <a:spLocks/>
          </p:cNvSpPr>
          <p:nvPr>
            <p:custDataLst>
              <p:tags r:id="rId331"/>
            </p:custDataLst>
          </p:nvPr>
        </p:nvSpPr>
        <p:spPr bwMode="auto">
          <a:xfrm>
            <a:off x="5981706" y="1971942"/>
            <a:ext cx="125702" cy="62357"/>
          </a:xfrm>
          <a:custGeom>
            <a:avLst/>
            <a:gdLst>
              <a:gd name="T0" fmla="*/ 41 w 239"/>
              <a:gd name="T1" fmla="*/ 0 h 56"/>
              <a:gd name="T2" fmla="*/ 30 w 239"/>
              <a:gd name="T3" fmla="*/ 3 h 56"/>
              <a:gd name="T4" fmla="*/ 23 w 239"/>
              <a:gd name="T5" fmla="*/ 5 h 56"/>
              <a:gd name="T6" fmla="*/ 19 w 239"/>
              <a:gd name="T7" fmla="*/ 7 h 56"/>
              <a:gd name="T8" fmla="*/ 15 w 239"/>
              <a:gd name="T9" fmla="*/ 9 h 56"/>
              <a:gd name="T10" fmla="*/ 13 w 239"/>
              <a:gd name="T11" fmla="*/ 13 h 56"/>
              <a:gd name="T12" fmla="*/ 10 w 239"/>
              <a:gd name="T13" fmla="*/ 15 h 56"/>
              <a:gd name="T14" fmla="*/ 7 w 239"/>
              <a:gd name="T15" fmla="*/ 17 h 56"/>
              <a:gd name="T16" fmla="*/ 0 w 239"/>
              <a:gd name="T17" fmla="*/ 19 h 56"/>
              <a:gd name="T18" fmla="*/ 2 w 239"/>
              <a:gd name="T19" fmla="*/ 24 h 56"/>
              <a:gd name="T20" fmla="*/ 5 w 239"/>
              <a:gd name="T21" fmla="*/ 27 h 56"/>
              <a:gd name="T22" fmla="*/ 7 w 239"/>
              <a:gd name="T23" fmla="*/ 30 h 56"/>
              <a:gd name="T24" fmla="*/ 10 w 239"/>
              <a:gd name="T25" fmla="*/ 33 h 56"/>
              <a:gd name="T26" fmla="*/ 17 w 239"/>
              <a:gd name="T27" fmla="*/ 36 h 56"/>
              <a:gd name="T28" fmla="*/ 24 w 239"/>
              <a:gd name="T29" fmla="*/ 38 h 56"/>
              <a:gd name="T30" fmla="*/ 41 w 239"/>
              <a:gd name="T31" fmla="*/ 38 h 56"/>
              <a:gd name="T32" fmla="*/ 54 w 239"/>
              <a:gd name="T33" fmla="*/ 38 h 56"/>
              <a:gd name="T34" fmla="*/ 153 w 239"/>
              <a:gd name="T35" fmla="*/ 38 h 56"/>
              <a:gd name="T36" fmla="*/ 155 w 239"/>
              <a:gd name="T37" fmla="*/ 41 h 56"/>
              <a:gd name="T38" fmla="*/ 156 w 239"/>
              <a:gd name="T39" fmla="*/ 44 h 56"/>
              <a:gd name="T40" fmla="*/ 159 w 239"/>
              <a:gd name="T41" fmla="*/ 46 h 56"/>
              <a:gd name="T42" fmla="*/ 162 w 239"/>
              <a:gd name="T43" fmla="*/ 48 h 56"/>
              <a:gd name="T44" fmla="*/ 167 w 239"/>
              <a:gd name="T45" fmla="*/ 51 h 56"/>
              <a:gd name="T46" fmla="*/ 174 w 239"/>
              <a:gd name="T47" fmla="*/ 54 h 56"/>
              <a:gd name="T48" fmla="*/ 188 w 239"/>
              <a:gd name="T49" fmla="*/ 56 h 56"/>
              <a:gd name="T50" fmla="*/ 200 w 239"/>
              <a:gd name="T51" fmla="*/ 56 h 56"/>
              <a:gd name="T52" fmla="*/ 204 w 239"/>
              <a:gd name="T53" fmla="*/ 55 h 56"/>
              <a:gd name="T54" fmla="*/ 210 w 239"/>
              <a:gd name="T55" fmla="*/ 54 h 56"/>
              <a:gd name="T56" fmla="*/ 214 w 239"/>
              <a:gd name="T57" fmla="*/ 52 h 56"/>
              <a:gd name="T58" fmla="*/ 220 w 239"/>
              <a:gd name="T59" fmla="*/ 49 h 56"/>
              <a:gd name="T60" fmla="*/ 230 w 239"/>
              <a:gd name="T61" fmla="*/ 43 h 56"/>
              <a:gd name="T62" fmla="*/ 239 w 239"/>
              <a:gd name="T63" fmla="*/ 38 h 56"/>
              <a:gd name="T64" fmla="*/ 232 w 239"/>
              <a:gd name="T65" fmla="*/ 37 h 56"/>
              <a:gd name="T66" fmla="*/ 225 w 239"/>
              <a:gd name="T67" fmla="*/ 36 h 56"/>
              <a:gd name="T68" fmla="*/ 219 w 239"/>
              <a:gd name="T69" fmla="*/ 34 h 56"/>
              <a:gd name="T70" fmla="*/ 213 w 239"/>
              <a:gd name="T71" fmla="*/ 32 h 56"/>
              <a:gd name="T72" fmla="*/ 201 w 239"/>
              <a:gd name="T73" fmla="*/ 26 h 56"/>
              <a:gd name="T74" fmla="*/ 190 w 239"/>
              <a:gd name="T75" fmla="*/ 19 h 56"/>
              <a:gd name="T76" fmla="*/ 178 w 239"/>
              <a:gd name="T77" fmla="*/ 13 h 56"/>
              <a:gd name="T78" fmla="*/ 167 w 239"/>
              <a:gd name="T79" fmla="*/ 6 h 56"/>
              <a:gd name="T80" fmla="*/ 160 w 239"/>
              <a:gd name="T81" fmla="*/ 4 h 56"/>
              <a:gd name="T82" fmla="*/ 154 w 239"/>
              <a:gd name="T83" fmla="*/ 2 h 56"/>
              <a:gd name="T84" fmla="*/ 147 w 239"/>
              <a:gd name="T85" fmla="*/ 1 h 56"/>
              <a:gd name="T86" fmla="*/ 140 w 239"/>
              <a:gd name="T87" fmla="*/ 0 h 56"/>
              <a:gd name="T88" fmla="*/ 134 w 239"/>
              <a:gd name="T89" fmla="*/ 1 h 56"/>
              <a:gd name="T90" fmla="*/ 127 w 239"/>
              <a:gd name="T91" fmla="*/ 4 h 56"/>
              <a:gd name="T92" fmla="*/ 124 w 239"/>
              <a:gd name="T93" fmla="*/ 6 h 56"/>
              <a:gd name="T94" fmla="*/ 122 w 239"/>
              <a:gd name="T95" fmla="*/ 8 h 56"/>
              <a:gd name="T96" fmla="*/ 121 w 239"/>
              <a:gd name="T97" fmla="*/ 10 h 56"/>
              <a:gd name="T98" fmla="*/ 120 w 239"/>
              <a:gd name="T99" fmla="*/ 13 h 56"/>
              <a:gd name="T100" fmla="*/ 100 w 239"/>
              <a:gd name="T101" fmla="*/ 8 h 56"/>
              <a:gd name="T102" fmla="*/ 80 w 239"/>
              <a:gd name="T103" fmla="*/ 4 h 56"/>
              <a:gd name="T104" fmla="*/ 61 w 239"/>
              <a:gd name="T105" fmla="*/ 1 h 56"/>
              <a:gd name="T106" fmla="*/ 41 w 239"/>
              <a:gd name="T10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62" name="Freeform 495">
            <a:extLst>
              <a:ext uri="{FF2B5EF4-FFF2-40B4-BE49-F238E27FC236}">
                <a16:creationId xmlns="" xmlns:a16="http://schemas.microsoft.com/office/drawing/2014/main" id="{439D05C3-DE43-49F9-8924-8048D511D36E}"/>
              </a:ext>
            </a:extLst>
          </p:cNvPr>
          <p:cNvSpPr>
            <a:spLocks/>
          </p:cNvSpPr>
          <p:nvPr>
            <p:custDataLst>
              <p:tags r:id="rId332"/>
            </p:custDataLst>
          </p:nvPr>
        </p:nvSpPr>
        <p:spPr bwMode="auto">
          <a:xfrm>
            <a:off x="6124810" y="1986711"/>
            <a:ext cx="100560" cy="59076"/>
          </a:xfrm>
          <a:custGeom>
            <a:avLst/>
            <a:gdLst>
              <a:gd name="T0" fmla="*/ 14 w 187"/>
              <a:gd name="T1" fmla="*/ 19 h 80"/>
              <a:gd name="T2" fmla="*/ 41 w 187"/>
              <a:gd name="T3" fmla="*/ 0 h 80"/>
              <a:gd name="T4" fmla="*/ 44 w 187"/>
              <a:gd name="T5" fmla="*/ 3 h 80"/>
              <a:gd name="T6" fmla="*/ 50 w 187"/>
              <a:gd name="T7" fmla="*/ 6 h 80"/>
              <a:gd name="T8" fmla="*/ 58 w 187"/>
              <a:gd name="T9" fmla="*/ 9 h 80"/>
              <a:gd name="T10" fmla="*/ 67 w 187"/>
              <a:gd name="T11" fmla="*/ 12 h 80"/>
              <a:gd name="T12" fmla="*/ 89 w 187"/>
              <a:gd name="T13" fmla="*/ 19 h 80"/>
              <a:gd name="T14" fmla="*/ 114 w 187"/>
              <a:gd name="T15" fmla="*/ 26 h 80"/>
              <a:gd name="T16" fmla="*/ 139 w 187"/>
              <a:gd name="T17" fmla="*/ 33 h 80"/>
              <a:gd name="T18" fmla="*/ 161 w 187"/>
              <a:gd name="T19" fmla="*/ 38 h 80"/>
              <a:gd name="T20" fmla="*/ 177 w 187"/>
              <a:gd name="T21" fmla="*/ 42 h 80"/>
              <a:gd name="T22" fmla="*/ 187 w 187"/>
              <a:gd name="T23" fmla="*/ 43 h 80"/>
              <a:gd name="T24" fmla="*/ 187 w 187"/>
              <a:gd name="T25" fmla="*/ 56 h 80"/>
              <a:gd name="T26" fmla="*/ 187 w 187"/>
              <a:gd name="T27" fmla="*/ 68 h 80"/>
              <a:gd name="T28" fmla="*/ 170 w 187"/>
              <a:gd name="T29" fmla="*/ 70 h 80"/>
              <a:gd name="T30" fmla="*/ 151 w 187"/>
              <a:gd name="T31" fmla="*/ 71 h 80"/>
              <a:gd name="T32" fmla="*/ 133 w 187"/>
              <a:gd name="T33" fmla="*/ 71 h 80"/>
              <a:gd name="T34" fmla="*/ 116 w 187"/>
              <a:gd name="T35" fmla="*/ 70 h 80"/>
              <a:gd name="T36" fmla="*/ 85 w 187"/>
              <a:gd name="T37" fmla="*/ 69 h 80"/>
              <a:gd name="T38" fmla="*/ 61 w 187"/>
              <a:gd name="T39" fmla="*/ 68 h 80"/>
              <a:gd name="T40" fmla="*/ 55 w 187"/>
              <a:gd name="T41" fmla="*/ 69 h 80"/>
              <a:gd name="T42" fmla="*/ 51 w 187"/>
              <a:gd name="T43" fmla="*/ 70 h 80"/>
              <a:gd name="T44" fmla="*/ 45 w 187"/>
              <a:gd name="T45" fmla="*/ 72 h 80"/>
              <a:gd name="T46" fmla="*/ 41 w 187"/>
              <a:gd name="T47" fmla="*/ 74 h 80"/>
              <a:gd name="T48" fmla="*/ 33 w 187"/>
              <a:gd name="T49" fmla="*/ 78 h 80"/>
              <a:gd name="T50" fmla="*/ 28 w 187"/>
              <a:gd name="T51" fmla="*/ 80 h 80"/>
              <a:gd name="T52" fmla="*/ 22 w 187"/>
              <a:gd name="T53" fmla="*/ 79 h 80"/>
              <a:gd name="T54" fmla="*/ 18 w 187"/>
              <a:gd name="T55" fmla="*/ 76 h 80"/>
              <a:gd name="T56" fmla="*/ 14 w 187"/>
              <a:gd name="T57" fmla="*/ 72 h 80"/>
              <a:gd name="T58" fmla="*/ 9 w 187"/>
              <a:gd name="T59" fmla="*/ 67 h 80"/>
              <a:gd name="T60" fmla="*/ 6 w 187"/>
              <a:gd name="T61" fmla="*/ 62 h 80"/>
              <a:gd name="T62" fmla="*/ 3 w 187"/>
              <a:gd name="T63" fmla="*/ 57 h 80"/>
              <a:gd name="T64" fmla="*/ 2 w 187"/>
              <a:gd name="T65" fmla="*/ 53 h 80"/>
              <a:gd name="T66" fmla="*/ 0 w 187"/>
              <a:gd name="T67" fmla="*/ 50 h 80"/>
              <a:gd name="T68" fmla="*/ 2 w 187"/>
              <a:gd name="T69" fmla="*/ 44 h 80"/>
              <a:gd name="T70" fmla="*/ 3 w 187"/>
              <a:gd name="T71" fmla="*/ 40 h 80"/>
              <a:gd name="T72" fmla="*/ 5 w 187"/>
              <a:gd name="T73" fmla="*/ 36 h 80"/>
              <a:gd name="T74" fmla="*/ 7 w 187"/>
              <a:gd name="T75" fmla="*/ 31 h 80"/>
              <a:gd name="T76" fmla="*/ 13 w 187"/>
              <a:gd name="T77" fmla="*/ 24 h 80"/>
              <a:gd name="T78" fmla="*/ 14 w 187"/>
              <a:gd name="T79" fmla="*/ 1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63" name="Freeform 496">
            <a:extLst>
              <a:ext uri="{FF2B5EF4-FFF2-40B4-BE49-F238E27FC236}">
                <a16:creationId xmlns="" xmlns:a16="http://schemas.microsoft.com/office/drawing/2014/main" id="{327213A5-3AB7-46FD-AB49-8FB8A5422C73}"/>
              </a:ext>
            </a:extLst>
          </p:cNvPr>
          <p:cNvSpPr>
            <a:spLocks/>
          </p:cNvSpPr>
          <p:nvPr>
            <p:custDataLst>
              <p:tags r:id="rId333"/>
            </p:custDataLst>
          </p:nvPr>
        </p:nvSpPr>
        <p:spPr bwMode="auto">
          <a:xfrm>
            <a:off x="6766849" y="2116348"/>
            <a:ext cx="96693" cy="60716"/>
          </a:xfrm>
          <a:custGeom>
            <a:avLst/>
            <a:gdLst>
              <a:gd name="T0" fmla="*/ 50 w 183"/>
              <a:gd name="T1" fmla="*/ 0 h 73"/>
              <a:gd name="T2" fmla="*/ 63 w 183"/>
              <a:gd name="T3" fmla="*/ 0 h 73"/>
              <a:gd name="T4" fmla="*/ 75 w 183"/>
              <a:gd name="T5" fmla="*/ 1 h 73"/>
              <a:gd name="T6" fmla="*/ 86 w 183"/>
              <a:gd name="T7" fmla="*/ 4 h 73"/>
              <a:gd name="T8" fmla="*/ 97 w 183"/>
              <a:gd name="T9" fmla="*/ 7 h 73"/>
              <a:gd name="T10" fmla="*/ 106 w 183"/>
              <a:gd name="T11" fmla="*/ 10 h 73"/>
              <a:gd name="T12" fmla="*/ 116 w 183"/>
              <a:gd name="T13" fmla="*/ 15 h 73"/>
              <a:gd name="T14" fmla="*/ 124 w 183"/>
              <a:gd name="T15" fmla="*/ 19 h 73"/>
              <a:gd name="T16" fmla="*/ 131 w 183"/>
              <a:gd name="T17" fmla="*/ 25 h 73"/>
              <a:gd name="T18" fmla="*/ 159 w 183"/>
              <a:gd name="T19" fmla="*/ 49 h 73"/>
              <a:gd name="T20" fmla="*/ 183 w 183"/>
              <a:gd name="T21" fmla="*/ 73 h 73"/>
              <a:gd name="T22" fmla="*/ 137 w 183"/>
              <a:gd name="T23" fmla="*/ 73 h 73"/>
              <a:gd name="T24" fmla="*/ 128 w 183"/>
              <a:gd name="T25" fmla="*/ 72 h 73"/>
              <a:gd name="T26" fmla="*/ 117 w 183"/>
              <a:gd name="T27" fmla="*/ 70 h 73"/>
              <a:gd name="T28" fmla="*/ 104 w 183"/>
              <a:gd name="T29" fmla="*/ 66 h 73"/>
              <a:gd name="T30" fmla="*/ 90 w 183"/>
              <a:gd name="T31" fmla="*/ 62 h 73"/>
              <a:gd name="T32" fmla="*/ 73 w 183"/>
              <a:gd name="T33" fmla="*/ 56 h 73"/>
              <a:gd name="T34" fmla="*/ 58 w 183"/>
              <a:gd name="T35" fmla="*/ 50 h 73"/>
              <a:gd name="T36" fmla="*/ 42 w 183"/>
              <a:gd name="T37" fmla="*/ 44 h 73"/>
              <a:gd name="T38" fmla="*/ 28 w 183"/>
              <a:gd name="T39" fmla="*/ 37 h 73"/>
              <a:gd name="T40" fmla="*/ 16 w 183"/>
              <a:gd name="T41" fmla="*/ 30 h 73"/>
              <a:gd name="T42" fmla="*/ 7 w 183"/>
              <a:gd name="T43" fmla="*/ 23 h 73"/>
              <a:gd name="T44" fmla="*/ 4 w 183"/>
              <a:gd name="T45" fmla="*/ 19 h 73"/>
              <a:gd name="T46" fmla="*/ 2 w 183"/>
              <a:gd name="T47" fmla="*/ 16 h 73"/>
              <a:gd name="T48" fmla="*/ 1 w 183"/>
              <a:gd name="T49" fmla="*/ 14 h 73"/>
              <a:gd name="T50" fmla="*/ 0 w 183"/>
              <a:gd name="T51" fmla="*/ 11 h 73"/>
              <a:gd name="T52" fmla="*/ 1 w 183"/>
              <a:gd name="T53" fmla="*/ 8 h 73"/>
              <a:gd name="T54" fmla="*/ 3 w 183"/>
              <a:gd name="T55" fmla="*/ 6 h 73"/>
              <a:gd name="T56" fmla="*/ 7 w 183"/>
              <a:gd name="T57" fmla="*/ 4 h 73"/>
              <a:gd name="T58" fmla="*/ 13 w 183"/>
              <a:gd name="T59" fmla="*/ 3 h 73"/>
              <a:gd name="T60" fmla="*/ 19 w 183"/>
              <a:gd name="T61" fmla="*/ 1 h 73"/>
              <a:gd name="T62" fmla="*/ 28 w 183"/>
              <a:gd name="T63" fmla="*/ 0 h 73"/>
              <a:gd name="T64" fmla="*/ 38 w 183"/>
              <a:gd name="T65" fmla="*/ 0 h 73"/>
              <a:gd name="T66" fmla="*/ 50 w 183"/>
              <a:gd name="T6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64" name="Freeform 497">
            <a:extLst>
              <a:ext uri="{FF2B5EF4-FFF2-40B4-BE49-F238E27FC236}">
                <a16:creationId xmlns="" xmlns:a16="http://schemas.microsoft.com/office/drawing/2014/main" id="{A7CEF16D-5B84-463E-AF01-6C83B13C7294}"/>
              </a:ext>
            </a:extLst>
          </p:cNvPr>
          <p:cNvSpPr>
            <a:spLocks/>
          </p:cNvSpPr>
          <p:nvPr>
            <p:custDataLst>
              <p:tags r:id="rId334"/>
            </p:custDataLst>
          </p:nvPr>
        </p:nvSpPr>
        <p:spPr bwMode="auto">
          <a:xfrm>
            <a:off x="6848071" y="2134400"/>
            <a:ext cx="40611" cy="59076"/>
          </a:xfrm>
          <a:custGeom>
            <a:avLst/>
            <a:gdLst>
              <a:gd name="T0" fmla="*/ 0 w 79"/>
              <a:gd name="T1" fmla="*/ 6 h 42"/>
              <a:gd name="T2" fmla="*/ 23 w 79"/>
              <a:gd name="T3" fmla="*/ 2 h 42"/>
              <a:gd name="T4" fmla="*/ 41 w 79"/>
              <a:gd name="T5" fmla="*/ 1 h 42"/>
              <a:gd name="T6" fmla="*/ 60 w 79"/>
              <a:gd name="T7" fmla="*/ 0 h 42"/>
              <a:gd name="T8" fmla="*/ 79 w 79"/>
              <a:gd name="T9" fmla="*/ 0 h 42"/>
              <a:gd name="T10" fmla="*/ 79 w 79"/>
              <a:gd name="T11" fmla="*/ 9 h 42"/>
              <a:gd name="T12" fmla="*/ 79 w 79"/>
              <a:gd name="T13" fmla="*/ 18 h 42"/>
              <a:gd name="T14" fmla="*/ 79 w 79"/>
              <a:gd name="T15" fmla="*/ 22 h 42"/>
              <a:gd name="T16" fmla="*/ 75 w 79"/>
              <a:gd name="T17" fmla="*/ 27 h 42"/>
              <a:gd name="T18" fmla="*/ 72 w 79"/>
              <a:gd name="T19" fmla="*/ 31 h 42"/>
              <a:gd name="T20" fmla="*/ 68 w 79"/>
              <a:gd name="T21" fmla="*/ 35 h 42"/>
              <a:gd name="T22" fmla="*/ 62 w 79"/>
              <a:gd name="T23" fmla="*/ 38 h 42"/>
              <a:gd name="T24" fmla="*/ 57 w 79"/>
              <a:gd name="T25" fmla="*/ 40 h 42"/>
              <a:gd name="T26" fmla="*/ 51 w 79"/>
              <a:gd name="T27" fmla="*/ 42 h 42"/>
              <a:gd name="T28" fmla="*/ 46 w 79"/>
              <a:gd name="T29" fmla="*/ 42 h 42"/>
              <a:gd name="T30" fmla="*/ 40 w 79"/>
              <a:gd name="T31" fmla="*/ 42 h 42"/>
              <a:gd name="T32" fmla="*/ 35 w 79"/>
              <a:gd name="T33" fmla="*/ 41 h 42"/>
              <a:gd name="T34" fmla="*/ 29 w 79"/>
              <a:gd name="T35" fmla="*/ 39 h 42"/>
              <a:gd name="T36" fmla="*/ 25 w 79"/>
              <a:gd name="T37" fmla="*/ 37 h 42"/>
              <a:gd name="T38" fmla="*/ 16 w 79"/>
              <a:gd name="T39" fmla="*/ 32 h 42"/>
              <a:gd name="T40" fmla="*/ 11 w 79"/>
              <a:gd name="T41" fmla="*/ 26 h 42"/>
              <a:gd name="T42" fmla="*/ 5 w 79"/>
              <a:gd name="T43" fmla="*/ 20 h 42"/>
              <a:gd name="T44" fmla="*/ 2 w 79"/>
              <a:gd name="T45" fmla="*/ 14 h 42"/>
              <a:gd name="T46" fmla="*/ 0 w 79"/>
              <a:gd name="T47" fmla="*/ 9 h 42"/>
              <a:gd name="T48" fmla="*/ 0 w 79"/>
              <a:gd name="T49"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65" name="Freeform 498">
            <a:extLst>
              <a:ext uri="{FF2B5EF4-FFF2-40B4-BE49-F238E27FC236}">
                <a16:creationId xmlns="" xmlns:a16="http://schemas.microsoft.com/office/drawing/2014/main" id="{66C61FDD-19FD-4B9E-BCBC-EA0A4D3D4485}"/>
              </a:ext>
            </a:extLst>
          </p:cNvPr>
          <p:cNvSpPr>
            <a:spLocks/>
          </p:cNvSpPr>
          <p:nvPr>
            <p:custDataLst>
              <p:tags r:id="rId335"/>
            </p:custDataLst>
          </p:nvPr>
        </p:nvSpPr>
        <p:spPr bwMode="auto">
          <a:xfrm>
            <a:off x="6884815" y="2145885"/>
            <a:ext cx="63817" cy="60716"/>
          </a:xfrm>
          <a:custGeom>
            <a:avLst/>
            <a:gdLst>
              <a:gd name="T0" fmla="*/ 113 w 113"/>
              <a:gd name="T1" fmla="*/ 39 h 52"/>
              <a:gd name="T2" fmla="*/ 112 w 113"/>
              <a:gd name="T3" fmla="*/ 42 h 52"/>
              <a:gd name="T4" fmla="*/ 109 w 113"/>
              <a:gd name="T5" fmla="*/ 45 h 52"/>
              <a:gd name="T6" fmla="*/ 106 w 113"/>
              <a:gd name="T7" fmla="*/ 47 h 52"/>
              <a:gd name="T8" fmla="*/ 103 w 113"/>
              <a:gd name="T9" fmla="*/ 49 h 52"/>
              <a:gd name="T10" fmla="*/ 94 w 113"/>
              <a:gd name="T11" fmla="*/ 51 h 52"/>
              <a:gd name="T12" fmla="*/ 85 w 113"/>
              <a:gd name="T13" fmla="*/ 52 h 52"/>
              <a:gd name="T14" fmla="*/ 66 w 113"/>
              <a:gd name="T15" fmla="*/ 52 h 52"/>
              <a:gd name="T16" fmla="*/ 53 w 113"/>
              <a:gd name="T17" fmla="*/ 51 h 52"/>
              <a:gd name="T18" fmla="*/ 47 w 113"/>
              <a:gd name="T19" fmla="*/ 51 h 52"/>
              <a:gd name="T20" fmla="*/ 39 w 113"/>
              <a:gd name="T21" fmla="*/ 48 h 52"/>
              <a:gd name="T22" fmla="*/ 30 w 113"/>
              <a:gd name="T23" fmla="*/ 45 h 52"/>
              <a:gd name="T24" fmla="*/ 21 w 113"/>
              <a:gd name="T25" fmla="*/ 41 h 52"/>
              <a:gd name="T26" fmla="*/ 13 w 113"/>
              <a:gd name="T27" fmla="*/ 36 h 52"/>
              <a:gd name="T28" fmla="*/ 6 w 113"/>
              <a:gd name="T29" fmla="*/ 31 h 52"/>
              <a:gd name="T30" fmla="*/ 4 w 113"/>
              <a:gd name="T31" fmla="*/ 28 h 52"/>
              <a:gd name="T32" fmla="*/ 2 w 113"/>
              <a:gd name="T33" fmla="*/ 25 h 52"/>
              <a:gd name="T34" fmla="*/ 1 w 113"/>
              <a:gd name="T35" fmla="*/ 22 h 52"/>
              <a:gd name="T36" fmla="*/ 0 w 113"/>
              <a:gd name="T37" fmla="*/ 20 h 52"/>
              <a:gd name="T38" fmla="*/ 1 w 113"/>
              <a:gd name="T39" fmla="*/ 15 h 52"/>
              <a:gd name="T40" fmla="*/ 1 w 113"/>
              <a:gd name="T41" fmla="*/ 11 h 52"/>
              <a:gd name="T42" fmla="*/ 3 w 113"/>
              <a:gd name="T43" fmla="*/ 8 h 52"/>
              <a:gd name="T44" fmla="*/ 5 w 113"/>
              <a:gd name="T45" fmla="*/ 5 h 52"/>
              <a:gd name="T46" fmla="*/ 7 w 113"/>
              <a:gd name="T47" fmla="*/ 3 h 52"/>
              <a:gd name="T48" fmla="*/ 10 w 113"/>
              <a:gd name="T49" fmla="*/ 2 h 52"/>
              <a:gd name="T50" fmla="*/ 14 w 113"/>
              <a:gd name="T51" fmla="*/ 1 h 52"/>
              <a:gd name="T52" fmla="*/ 17 w 113"/>
              <a:gd name="T53" fmla="*/ 0 h 52"/>
              <a:gd name="T54" fmla="*/ 26 w 113"/>
              <a:gd name="T55" fmla="*/ 0 h 52"/>
              <a:gd name="T56" fmla="*/ 36 w 113"/>
              <a:gd name="T57" fmla="*/ 2 h 52"/>
              <a:gd name="T58" fmla="*/ 46 w 113"/>
              <a:gd name="T59" fmla="*/ 5 h 52"/>
              <a:gd name="T60" fmla="*/ 57 w 113"/>
              <a:gd name="T61" fmla="*/ 9 h 52"/>
              <a:gd name="T62" fmla="*/ 77 w 113"/>
              <a:gd name="T63" fmla="*/ 18 h 52"/>
              <a:gd name="T64" fmla="*/ 95 w 113"/>
              <a:gd name="T65" fmla="*/ 29 h 52"/>
              <a:gd name="T66" fmla="*/ 108 w 113"/>
              <a:gd name="T67" fmla="*/ 36 h 52"/>
              <a:gd name="T68" fmla="*/ 113 w 113"/>
              <a:gd name="T69" fmla="*/ 3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66" name="Freeform 499">
            <a:extLst>
              <a:ext uri="{FF2B5EF4-FFF2-40B4-BE49-F238E27FC236}">
                <a16:creationId xmlns="" xmlns:a16="http://schemas.microsoft.com/office/drawing/2014/main" id="{36C17A8C-41A6-422C-A21E-6DC99D2DD192}"/>
              </a:ext>
            </a:extLst>
          </p:cNvPr>
          <p:cNvSpPr>
            <a:spLocks/>
          </p:cNvSpPr>
          <p:nvPr>
            <p:custDataLst>
              <p:tags r:id="rId336"/>
            </p:custDataLst>
          </p:nvPr>
        </p:nvSpPr>
        <p:spPr bwMode="auto">
          <a:xfrm>
            <a:off x="6606341" y="2117990"/>
            <a:ext cx="75419" cy="60715"/>
          </a:xfrm>
          <a:custGeom>
            <a:avLst/>
            <a:gdLst>
              <a:gd name="T0" fmla="*/ 0 w 139"/>
              <a:gd name="T1" fmla="*/ 8 h 40"/>
              <a:gd name="T2" fmla="*/ 8 w 139"/>
              <a:gd name="T3" fmla="*/ 9 h 40"/>
              <a:gd name="T4" fmla="*/ 19 w 139"/>
              <a:gd name="T5" fmla="*/ 8 h 40"/>
              <a:gd name="T6" fmla="*/ 30 w 139"/>
              <a:gd name="T7" fmla="*/ 7 h 40"/>
              <a:gd name="T8" fmla="*/ 42 w 139"/>
              <a:gd name="T9" fmla="*/ 5 h 40"/>
              <a:gd name="T10" fmla="*/ 53 w 139"/>
              <a:gd name="T11" fmla="*/ 2 h 40"/>
              <a:gd name="T12" fmla="*/ 64 w 139"/>
              <a:gd name="T13" fmla="*/ 1 h 40"/>
              <a:gd name="T14" fmla="*/ 73 w 139"/>
              <a:gd name="T15" fmla="*/ 0 h 40"/>
              <a:gd name="T16" fmla="*/ 80 w 139"/>
              <a:gd name="T17" fmla="*/ 2 h 40"/>
              <a:gd name="T18" fmla="*/ 139 w 139"/>
              <a:gd name="T19" fmla="*/ 39 h 40"/>
              <a:gd name="T20" fmla="*/ 133 w 139"/>
              <a:gd name="T21" fmla="*/ 40 h 40"/>
              <a:gd name="T22" fmla="*/ 125 w 139"/>
              <a:gd name="T23" fmla="*/ 39 h 40"/>
              <a:gd name="T24" fmla="*/ 116 w 139"/>
              <a:gd name="T25" fmla="*/ 38 h 40"/>
              <a:gd name="T26" fmla="*/ 106 w 139"/>
              <a:gd name="T27" fmla="*/ 36 h 40"/>
              <a:gd name="T28" fmla="*/ 86 w 139"/>
              <a:gd name="T29" fmla="*/ 30 h 40"/>
              <a:gd name="T30" fmla="*/ 64 w 139"/>
              <a:gd name="T31" fmla="*/ 24 h 40"/>
              <a:gd name="T32" fmla="*/ 44 w 139"/>
              <a:gd name="T33" fmla="*/ 16 h 40"/>
              <a:gd name="T34" fmla="*/ 26 w 139"/>
              <a:gd name="T35" fmla="*/ 11 h 40"/>
              <a:gd name="T36" fmla="*/ 17 w 139"/>
              <a:gd name="T37" fmla="*/ 9 h 40"/>
              <a:gd name="T38" fmla="*/ 11 w 139"/>
              <a:gd name="T39" fmla="*/ 7 h 40"/>
              <a:gd name="T40" fmla="*/ 4 w 139"/>
              <a:gd name="T41" fmla="*/ 7 h 40"/>
              <a:gd name="T42" fmla="*/ 0 w 139"/>
              <a:gd name="T43"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67" name="Freeform 500">
            <a:extLst>
              <a:ext uri="{FF2B5EF4-FFF2-40B4-BE49-F238E27FC236}">
                <a16:creationId xmlns="" xmlns:a16="http://schemas.microsoft.com/office/drawing/2014/main" id="{6F74364B-BC5D-4FD4-87BE-709C62C6E245}"/>
              </a:ext>
            </a:extLst>
          </p:cNvPr>
          <p:cNvSpPr>
            <a:spLocks/>
          </p:cNvSpPr>
          <p:nvPr>
            <p:custDataLst>
              <p:tags r:id="rId337"/>
            </p:custDataLst>
          </p:nvPr>
        </p:nvSpPr>
        <p:spPr bwMode="auto">
          <a:xfrm>
            <a:off x="6971838" y="2057273"/>
            <a:ext cx="170179" cy="59076"/>
          </a:xfrm>
          <a:custGeom>
            <a:avLst/>
            <a:gdLst>
              <a:gd name="T0" fmla="*/ 10 w 325"/>
              <a:gd name="T1" fmla="*/ 7 h 71"/>
              <a:gd name="T2" fmla="*/ 31 w 325"/>
              <a:gd name="T3" fmla="*/ 1 h 71"/>
              <a:gd name="T4" fmla="*/ 53 w 325"/>
              <a:gd name="T5" fmla="*/ 0 h 71"/>
              <a:gd name="T6" fmla="*/ 73 w 325"/>
              <a:gd name="T7" fmla="*/ 4 h 71"/>
              <a:gd name="T8" fmla="*/ 92 w 325"/>
              <a:gd name="T9" fmla="*/ 10 h 71"/>
              <a:gd name="T10" fmla="*/ 110 w 325"/>
              <a:gd name="T11" fmla="*/ 18 h 71"/>
              <a:gd name="T12" fmla="*/ 122 w 325"/>
              <a:gd name="T13" fmla="*/ 29 h 71"/>
              <a:gd name="T14" fmla="*/ 130 w 325"/>
              <a:gd name="T15" fmla="*/ 38 h 71"/>
              <a:gd name="T16" fmla="*/ 136 w 325"/>
              <a:gd name="T17" fmla="*/ 34 h 71"/>
              <a:gd name="T18" fmla="*/ 139 w 325"/>
              <a:gd name="T19" fmla="*/ 15 h 71"/>
              <a:gd name="T20" fmla="*/ 161 w 325"/>
              <a:gd name="T21" fmla="*/ 7 h 71"/>
              <a:gd name="T22" fmla="*/ 216 w 325"/>
              <a:gd name="T23" fmla="*/ 13 h 71"/>
              <a:gd name="T24" fmla="*/ 258 w 325"/>
              <a:gd name="T25" fmla="*/ 23 h 71"/>
              <a:gd name="T26" fmla="*/ 283 w 325"/>
              <a:gd name="T27" fmla="*/ 32 h 71"/>
              <a:gd name="T28" fmla="*/ 305 w 325"/>
              <a:gd name="T29" fmla="*/ 43 h 71"/>
              <a:gd name="T30" fmla="*/ 320 w 325"/>
              <a:gd name="T31" fmla="*/ 55 h 71"/>
              <a:gd name="T32" fmla="*/ 316 w 325"/>
              <a:gd name="T33" fmla="*/ 64 h 71"/>
              <a:gd name="T34" fmla="*/ 294 w 325"/>
              <a:gd name="T35" fmla="*/ 68 h 71"/>
              <a:gd name="T36" fmla="*/ 259 w 325"/>
              <a:gd name="T37" fmla="*/ 71 h 71"/>
              <a:gd name="T38" fmla="*/ 210 w 325"/>
              <a:gd name="T39" fmla="*/ 70 h 71"/>
              <a:gd name="T40" fmla="*/ 167 w 325"/>
              <a:gd name="T41" fmla="*/ 68 h 71"/>
              <a:gd name="T42" fmla="*/ 133 w 325"/>
              <a:gd name="T43" fmla="*/ 69 h 71"/>
              <a:gd name="T44" fmla="*/ 90 w 325"/>
              <a:gd name="T45" fmla="*/ 71 h 71"/>
              <a:gd name="T46" fmla="*/ 72 w 325"/>
              <a:gd name="T47" fmla="*/ 68 h 71"/>
              <a:gd name="T48" fmla="*/ 67 w 325"/>
              <a:gd name="T49" fmla="*/ 64 h 71"/>
              <a:gd name="T50" fmla="*/ 58 w 325"/>
              <a:gd name="T51" fmla="*/ 61 h 71"/>
              <a:gd name="T52" fmla="*/ 46 w 325"/>
              <a:gd name="T53" fmla="*/ 59 h 71"/>
              <a:gd name="T54" fmla="*/ 35 w 325"/>
              <a:gd name="T55" fmla="*/ 53 h 71"/>
              <a:gd name="T56" fmla="*/ 25 w 325"/>
              <a:gd name="T57" fmla="*/ 45 h 71"/>
              <a:gd name="T58" fmla="*/ 16 w 325"/>
              <a:gd name="T59" fmla="*/ 39 h 71"/>
              <a:gd name="T60" fmla="*/ 6 w 325"/>
              <a:gd name="T61" fmla="*/ 37 h 71"/>
              <a:gd name="T62" fmla="*/ 0 w 325"/>
              <a:gd name="T63"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68" name="Freeform 501">
            <a:extLst>
              <a:ext uri="{FF2B5EF4-FFF2-40B4-BE49-F238E27FC236}">
                <a16:creationId xmlns="" xmlns:a16="http://schemas.microsoft.com/office/drawing/2014/main" id="{2BB172BB-CAF4-4F17-800C-62B523683408}"/>
              </a:ext>
            </a:extLst>
          </p:cNvPr>
          <p:cNvSpPr>
            <a:spLocks/>
          </p:cNvSpPr>
          <p:nvPr>
            <p:custDataLst>
              <p:tags r:id="rId338"/>
            </p:custDataLst>
          </p:nvPr>
        </p:nvSpPr>
        <p:spPr bwMode="auto">
          <a:xfrm>
            <a:off x="7167158" y="2065478"/>
            <a:ext cx="116031" cy="59076"/>
          </a:xfrm>
          <a:custGeom>
            <a:avLst/>
            <a:gdLst>
              <a:gd name="T0" fmla="*/ 87 w 220"/>
              <a:gd name="T1" fmla="*/ 25 h 72"/>
              <a:gd name="T2" fmla="*/ 92 w 220"/>
              <a:gd name="T3" fmla="*/ 26 h 72"/>
              <a:gd name="T4" fmla="*/ 98 w 220"/>
              <a:gd name="T5" fmla="*/ 27 h 72"/>
              <a:gd name="T6" fmla="*/ 101 w 220"/>
              <a:gd name="T7" fmla="*/ 28 h 72"/>
              <a:gd name="T8" fmla="*/ 104 w 220"/>
              <a:gd name="T9" fmla="*/ 27 h 72"/>
              <a:gd name="T10" fmla="*/ 109 w 220"/>
              <a:gd name="T11" fmla="*/ 27 h 72"/>
              <a:gd name="T12" fmla="*/ 113 w 220"/>
              <a:gd name="T13" fmla="*/ 25 h 72"/>
              <a:gd name="T14" fmla="*/ 114 w 220"/>
              <a:gd name="T15" fmla="*/ 26 h 72"/>
              <a:gd name="T16" fmla="*/ 115 w 220"/>
              <a:gd name="T17" fmla="*/ 26 h 72"/>
              <a:gd name="T18" fmla="*/ 116 w 220"/>
              <a:gd name="T19" fmla="*/ 25 h 72"/>
              <a:gd name="T20" fmla="*/ 117 w 220"/>
              <a:gd name="T21" fmla="*/ 25 h 72"/>
              <a:gd name="T22" fmla="*/ 119 w 220"/>
              <a:gd name="T23" fmla="*/ 22 h 72"/>
              <a:gd name="T24" fmla="*/ 120 w 220"/>
              <a:gd name="T25" fmla="*/ 17 h 72"/>
              <a:gd name="T26" fmla="*/ 120 w 220"/>
              <a:gd name="T27" fmla="*/ 7 h 72"/>
              <a:gd name="T28" fmla="*/ 120 w 220"/>
              <a:gd name="T29" fmla="*/ 0 h 72"/>
              <a:gd name="T30" fmla="*/ 125 w 220"/>
              <a:gd name="T31" fmla="*/ 5 h 72"/>
              <a:gd name="T32" fmla="*/ 131 w 220"/>
              <a:gd name="T33" fmla="*/ 10 h 72"/>
              <a:gd name="T34" fmla="*/ 137 w 220"/>
              <a:gd name="T35" fmla="*/ 15 h 72"/>
              <a:gd name="T36" fmla="*/ 143 w 220"/>
              <a:gd name="T37" fmla="*/ 19 h 72"/>
              <a:gd name="T38" fmla="*/ 156 w 220"/>
              <a:gd name="T39" fmla="*/ 25 h 72"/>
              <a:gd name="T40" fmla="*/ 170 w 220"/>
              <a:gd name="T41" fmla="*/ 30 h 72"/>
              <a:gd name="T42" fmla="*/ 183 w 220"/>
              <a:gd name="T43" fmla="*/ 35 h 72"/>
              <a:gd name="T44" fmla="*/ 196 w 220"/>
              <a:gd name="T45" fmla="*/ 41 h 72"/>
              <a:gd name="T46" fmla="*/ 203 w 220"/>
              <a:gd name="T47" fmla="*/ 44 h 72"/>
              <a:gd name="T48" fmla="*/ 209 w 220"/>
              <a:gd name="T49" fmla="*/ 47 h 72"/>
              <a:gd name="T50" fmla="*/ 214 w 220"/>
              <a:gd name="T51" fmla="*/ 51 h 72"/>
              <a:gd name="T52" fmla="*/ 220 w 220"/>
              <a:gd name="T53" fmla="*/ 55 h 72"/>
              <a:gd name="T54" fmla="*/ 206 w 220"/>
              <a:gd name="T55" fmla="*/ 56 h 72"/>
              <a:gd name="T56" fmla="*/ 194 w 220"/>
              <a:gd name="T57" fmla="*/ 57 h 72"/>
              <a:gd name="T58" fmla="*/ 182 w 220"/>
              <a:gd name="T59" fmla="*/ 58 h 72"/>
              <a:gd name="T60" fmla="*/ 171 w 220"/>
              <a:gd name="T61" fmla="*/ 60 h 72"/>
              <a:gd name="T62" fmla="*/ 151 w 220"/>
              <a:gd name="T63" fmla="*/ 65 h 72"/>
              <a:gd name="T64" fmla="*/ 134 w 220"/>
              <a:gd name="T65" fmla="*/ 70 h 72"/>
              <a:gd name="T66" fmla="*/ 126 w 220"/>
              <a:gd name="T67" fmla="*/ 71 h 72"/>
              <a:gd name="T68" fmla="*/ 117 w 220"/>
              <a:gd name="T69" fmla="*/ 72 h 72"/>
              <a:gd name="T70" fmla="*/ 110 w 220"/>
              <a:gd name="T71" fmla="*/ 72 h 72"/>
              <a:gd name="T72" fmla="*/ 103 w 220"/>
              <a:gd name="T73" fmla="*/ 72 h 72"/>
              <a:gd name="T74" fmla="*/ 95 w 220"/>
              <a:gd name="T75" fmla="*/ 70 h 72"/>
              <a:gd name="T76" fmla="*/ 88 w 220"/>
              <a:gd name="T77" fmla="*/ 66 h 72"/>
              <a:gd name="T78" fmla="*/ 81 w 220"/>
              <a:gd name="T79" fmla="*/ 61 h 72"/>
              <a:gd name="T80" fmla="*/ 74 w 220"/>
              <a:gd name="T81" fmla="*/ 55 h 72"/>
              <a:gd name="T82" fmla="*/ 59 w 220"/>
              <a:gd name="T83" fmla="*/ 53 h 72"/>
              <a:gd name="T84" fmla="*/ 45 w 220"/>
              <a:gd name="T85" fmla="*/ 50 h 72"/>
              <a:gd name="T86" fmla="*/ 33 w 220"/>
              <a:gd name="T87" fmla="*/ 47 h 72"/>
              <a:gd name="T88" fmla="*/ 22 w 220"/>
              <a:gd name="T89" fmla="*/ 43 h 72"/>
              <a:gd name="T90" fmla="*/ 18 w 220"/>
              <a:gd name="T91" fmla="*/ 41 h 72"/>
              <a:gd name="T92" fmla="*/ 13 w 220"/>
              <a:gd name="T93" fmla="*/ 38 h 72"/>
              <a:gd name="T94" fmla="*/ 9 w 220"/>
              <a:gd name="T95" fmla="*/ 35 h 72"/>
              <a:gd name="T96" fmla="*/ 7 w 220"/>
              <a:gd name="T97" fmla="*/ 31 h 72"/>
              <a:gd name="T98" fmla="*/ 3 w 220"/>
              <a:gd name="T99" fmla="*/ 27 h 72"/>
              <a:gd name="T100" fmla="*/ 2 w 220"/>
              <a:gd name="T101" fmla="*/ 23 h 72"/>
              <a:gd name="T102" fmla="*/ 1 w 220"/>
              <a:gd name="T103" fmla="*/ 18 h 72"/>
              <a:gd name="T104" fmla="*/ 0 w 220"/>
              <a:gd name="T105" fmla="*/ 13 h 72"/>
              <a:gd name="T106" fmla="*/ 23 w 220"/>
              <a:gd name="T107" fmla="*/ 17 h 72"/>
              <a:gd name="T108" fmla="*/ 44 w 220"/>
              <a:gd name="T109" fmla="*/ 21 h 72"/>
              <a:gd name="T110" fmla="*/ 64 w 220"/>
              <a:gd name="T111" fmla="*/ 24 h 72"/>
              <a:gd name="T112" fmla="*/ 87 w 220"/>
              <a:gd name="T113"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69" name="Freeform 502">
            <a:extLst>
              <a:ext uri="{FF2B5EF4-FFF2-40B4-BE49-F238E27FC236}">
                <a16:creationId xmlns="" xmlns:a16="http://schemas.microsoft.com/office/drawing/2014/main" id="{5175F879-F582-456C-B36F-0181252E83A1}"/>
              </a:ext>
            </a:extLst>
          </p:cNvPr>
          <p:cNvSpPr>
            <a:spLocks/>
          </p:cNvSpPr>
          <p:nvPr>
            <p:custDataLst>
              <p:tags r:id="rId339"/>
            </p:custDataLst>
          </p:nvPr>
        </p:nvSpPr>
        <p:spPr bwMode="auto">
          <a:xfrm>
            <a:off x="7118811" y="2114707"/>
            <a:ext cx="77355" cy="60715"/>
          </a:xfrm>
          <a:custGeom>
            <a:avLst/>
            <a:gdLst>
              <a:gd name="T0" fmla="*/ 146 w 146"/>
              <a:gd name="T1" fmla="*/ 25 h 30"/>
              <a:gd name="T2" fmla="*/ 140 w 146"/>
              <a:gd name="T3" fmla="*/ 16 h 30"/>
              <a:gd name="T4" fmla="*/ 137 w 146"/>
              <a:gd name="T5" fmla="*/ 9 h 30"/>
              <a:gd name="T6" fmla="*/ 133 w 146"/>
              <a:gd name="T7" fmla="*/ 4 h 30"/>
              <a:gd name="T8" fmla="*/ 128 w 146"/>
              <a:gd name="T9" fmla="*/ 1 h 30"/>
              <a:gd name="T10" fmla="*/ 126 w 146"/>
              <a:gd name="T11" fmla="*/ 1 h 30"/>
              <a:gd name="T12" fmla="*/ 124 w 146"/>
              <a:gd name="T13" fmla="*/ 1 h 30"/>
              <a:gd name="T14" fmla="*/ 120 w 146"/>
              <a:gd name="T15" fmla="*/ 2 h 30"/>
              <a:gd name="T16" fmla="*/ 118 w 146"/>
              <a:gd name="T17" fmla="*/ 3 h 30"/>
              <a:gd name="T18" fmla="*/ 113 w 146"/>
              <a:gd name="T19" fmla="*/ 9 h 30"/>
              <a:gd name="T20" fmla="*/ 105 w 146"/>
              <a:gd name="T21" fmla="*/ 19 h 30"/>
              <a:gd name="T22" fmla="*/ 72 w 146"/>
              <a:gd name="T23" fmla="*/ 19 h 30"/>
              <a:gd name="T24" fmla="*/ 63 w 146"/>
              <a:gd name="T25" fmla="*/ 18 h 30"/>
              <a:gd name="T26" fmla="*/ 55 w 146"/>
              <a:gd name="T27" fmla="*/ 17 h 30"/>
              <a:gd name="T28" fmla="*/ 47 w 146"/>
              <a:gd name="T29" fmla="*/ 14 h 30"/>
              <a:gd name="T30" fmla="*/ 40 w 146"/>
              <a:gd name="T31" fmla="*/ 12 h 30"/>
              <a:gd name="T32" fmla="*/ 29 w 146"/>
              <a:gd name="T33" fmla="*/ 6 h 30"/>
              <a:gd name="T34" fmla="*/ 19 w 146"/>
              <a:gd name="T35" fmla="*/ 0 h 30"/>
              <a:gd name="T36" fmla="*/ 14 w 146"/>
              <a:gd name="T37" fmla="*/ 9 h 30"/>
              <a:gd name="T38" fmla="*/ 10 w 146"/>
              <a:gd name="T39" fmla="*/ 15 h 30"/>
              <a:gd name="T40" fmla="*/ 4 w 146"/>
              <a:gd name="T41" fmla="*/ 20 h 30"/>
              <a:gd name="T42" fmla="*/ 0 w 146"/>
              <a:gd name="T43" fmla="*/ 25 h 30"/>
              <a:gd name="T44" fmla="*/ 33 w 146"/>
              <a:gd name="T45" fmla="*/ 25 h 30"/>
              <a:gd name="T46" fmla="*/ 57 w 146"/>
              <a:gd name="T47" fmla="*/ 25 h 30"/>
              <a:gd name="T48" fmla="*/ 77 w 146"/>
              <a:gd name="T49" fmla="*/ 25 h 30"/>
              <a:gd name="T50" fmla="*/ 99 w 146"/>
              <a:gd name="T51" fmla="*/ 25 h 30"/>
              <a:gd name="T52" fmla="*/ 110 w 146"/>
              <a:gd name="T53" fmla="*/ 26 h 30"/>
              <a:gd name="T54" fmla="*/ 123 w 146"/>
              <a:gd name="T55" fmla="*/ 29 h 30"/>
              <a:gd name="T56" fmla="*/ 128 w 146"/>
              <a:gd name="T57" fmla="*/ 30 h 30"/>
              <a:gd name="T58" fmla="*/ 135 w 146"/>
              <a:gd name="T59" fmla="*/ 30 h 30"/>
              <a:gd name="T60" fmla="*/ 140 w 146"/>
              <a:gd name="T61" fmla="*/ 28 h 30"/>
              <a:gd name="T62" fmla="*/ 146 w 146"/>
              <a:gd name="T63"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70" name="Freeform 503">
            <a:extLst>
              <a:ext uri="{FF2B5EF4-FFF2-40B4-BE49-F238E27FC236}">
                <a16:creationId xmlns="" xmlns:a16="http://schemas.microsoft.com/office/drawing/2014/main" id="{93EB89C2-867F-4B6E-BBC1-1E1A15AB826E}"/>
              </a:ext>
            </a:extLst>
          </p:cNvPr>
          <p:cNvSpPr>
            <a:spLocks/>
          </p:cNvSpPr>
          <p:nvPr>
            <p:custDataLst>
              <p:tags r:id="rId340"/>
            </p:custDataLst>
          </p:nvPr>
        </p:nvSpPr>
        <p:spPr bwMode="auto">
          <a:xfrm>
            <a:off x="7093672" y="2111426"/>
            <a:ext cx="25139" cy="60715"/>
          </a:xfrm>
          <a:custGeom>
            <a:avLst/>
            <a:gdLst>
              <a:gd name="T0" fmla="*/ 0 w 53"/>
              <a:gd name="T1" fmla="*/ 9 h 9"/>
              <a:gd name="T2" fmla="*/ 17 w 53"/>
              <a:gd name="T3" fmla="*/ 9 h 9"/>
              <a:gd name="T4" fmla="*/ 29 w 53"/>
              <a:gd name="T5" fmla="*/ 9 h 9"/>
              <a:gd name="T6" fmla="*/ 40 w 53"/>
              <a:gd name="T7" fmla="*/ 9 h 9"/>
              <a:gd name="T8" fmla="*/ 53 w 53"/>
              <a:gd name="T9" fmla="*/ 9 h 9"/>
              <a:gd name="T10" fmla="*/ 46 w 53"/>
              <a:gd name="T11" fmla="*/ 6 h 9"/>
              <a:gd name="T12" fmla="*/ 38 w 53"/>
              <a:gd name="T13" fmla="*/ 3 h 9"/>
              <a:gd name="T14" fmla="*/ 31 w 53"/>
              <a:gd name="T15" fmla="*/ 1 h 9"/>
              <a:gd name="T16" fmla="*/ 25 w 53"/>
              <a:gd name="T17" fmla="*/ 0 h 9"/>
              <a:gd name="T18" fmla="*/ 19 w 53"/>
              <a:gd name="T19" fmla="*/ 0 h 9"/>
              <a:gd name="T20" fmla="*/ 14 w 53"/>
              <a:gd name="T21" fmla="*/ 0 h 9"/>
              <a:gd name="T22" fmla="*/ 9 w 53"/>
              <a:gd name="T23" fmla="*/ 1 h 9"/>
              <a:gd name="T24" fmla="*/ 6 w 53"/>
              <a:gd name="T25"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71" name="Line 504">
            <a:extLst>
              <a:ext uri="{FF2B5EF4-FFF2-40B4-BE49-F238E27FC236}">
                <a16:creationId xmlns="" xmlns:a16="http://schemas.microsoft.com/office/drawing/2014/main" id="{17FB7CF8-F0AF-4269-A9B4-7F830D422A64}"/>
              </a:ext>
            </a:extLst>
          </p:cNvPr>
          <p:cNvSpPr>
            <a:spLocks noChangeShapeType="1"/>
          </p:cNvSpPr>
          <p:nvPr>
            <p:custDataLst>
              <p:tags r:id="rId341"/>
            </p:custDataLst>
          </p:nvPr>
        </p:nvSpPr>
        <p:spPr bwMode="auto">
          <a:xfrm flipV="1">
            <a:off x="7095605" y="2109784"/>
            <a:ext cx="0" cy="1642"/>
          </a:xfrm>
          <a:prstGeom prst="line">
            <a:avLst/>
          </a:prstGeom>
          <a:noFill/>
          <a:ln w="9525">
            <a:solidFill>
              <a:srgbClr val="FFFFFF"/>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72" name="Freeform 505">
            <a:extLst>
              <a:ext uri="{FF2B5EF4-FFF2-40B4-BE49-F238E27FC236}">
                <a16:creationId xmlns="" xmlns:a16="http://schemas.microsoft.com/office/drawing/2014/main" id="{8FABD676-103D-4D93-807A-798A0AAB6E93}"/>
              </a:ext>
            </a:extLst>
          </p:cNvPr>
          <p:cNvSpPr>
            <a:spLocks/>
          </p:cNvSpPr>
          <p:nvPr>
            <p:custDataLst>
              <p:tags r:id="rId342"/>
            </p:custDataLst>
          </p:nvPr>
        </p:nvSpPr>
        <p:spPr bwMode="auto">
          <a:xfrm>
            <a:off x="6084200" y="2035941"/>
            <a:ext cx="13537" cy="57434"/>
          </a:xfrm>
          <a:custGeom>
            <a:avLst/>
            <a:gdLst>
              <a:gd name="T0" fmla="*/ 0 w 26"/>
              <a:gd name="T1" fmla="*/ 25 h 25"/>
              <a:gd name="T2" fmla="*/ 5 w 26"/>
              <a:gd name="T3" fmla="*/ 17 h 25"/>
              <a:gd name="T4" fmla="*/ 13 w 26"/>
              <a:gd name="T5" fmla="*/ 8 h 25"/>
              <a:gd name="T6" fmla="*/ 16 w 26"/>
              <a:gd name="T7" fmla="*/ 5 h 25"/>
              <a:gd name="T8" fmla="*/ 20 w 26"/>
              <a:gd name="T9" fmla="*/ 2 h 25"/>
              <a:gd name="T10" fmla="*/ 23 w 26"/>
              <a:gd name="T11" fmla="*/ 1 h 25"/>
              <a:gd name="T12" fmla="*/ 26 w 26"/>
              <a:gd name="T13" fmla="*/ 0 h 25"/>
              <a:gd name="T14" fmla="*/ 26 w 26"/>
              <a:gd name="T15" fmla="*/ 25 h 25"/>
              <a:gd name="T16" fmla="*/ 20 w 26"/>
              <a:gd name="T17" fmla="*/ 25 h 25"/>
              <a:gd name="T18" fmla="*/ 13 w 26"/>
              <a:gd name="T19" fmla="*/ 25 h 25"/>
              <a:gd name="T20" fmla="*/ 0 w 26"/>
              <a:gd name="T2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73" name="Freeform 506">
            <a:extLst>
              <a:ext uri="{FF2B5EF4-FFF2-40B4-BE49-F238E27FC236}">
                <a16:creationId xmlns="" xmlns:a16="http://schemas.microsoft.com/office/drawing/2014/main" id="{8254BA75-96DF-4432-B9CF-CD70CFFAFB38}"/>
              </a:ext>
            </a:extLst>
          </p:cNvPr>
          <p:cNvSpPr>
            <a:spLocks/>
          </p:cNvSpPr>
          <p:nvPr>
            <p:custDataLst>
              <p:tags r:id="rId343"/>
            </p:custDataLst>
          </p:nvPr>
        </p:nvSpPr>
        <p:spPr bwMode="auto">
          <a:xfrm>
            <a:off x="6996979" y="2109784"/>
            <a:ext cx="11603" cy="59076"/>
          </a:xfrm>
          <a:custGeom>
            <a:avLst/>
            <a:gdLst>
              <a:gd name="T0" fmla="*/ 33 w 33"/>
              <a:gd name="T1" fmla="*/ 25 h 25"/>
              <a:gd name="T2" fmla="*/ 33 w 33"/>
              <a:gd name="T3" fmla="*/ 12 h 25"/>
              <a:gd name="T4" fmla="*/ 33 w 33"/>
              <a:gd name="T5" fmla="*/ 0 h 25"/>
              <a:gd name="T6" fmla="*/ 0 w 33"/>
              <a:gd name="T7" fmla="*/ 0 h 25"/>
              <a:gd name="T8" fmla="*/ 9 w 33"/>
              <a:gd name="T9" fmla="*/ 9 h 25"/>
              <a:gd name="T10" fmla="*/ 16 w 33"/>
              <a:gd name="T11" fmla="*/ 17 h 25"/>
              <a:gd name="T12" fmla="*/ 20 w 33"/>
              <a:gd name="T13" fmla="*/ 20 h 25"/>
              <a:gd name="T14" fmla="*/ 24 w 33"/>
              <a:gd name="T15" fmla="*/ 23 h 25"/>
              <a:gd name="T16" fmla="*/ 28 w 33"/>
              <a:gd name="T17" fmla="*/ 24 h 25"/>
              <a:gd name="T18" fmla="*/ 33 w 33"/>
              <a:gd name="T1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74" name="Freeform 507">
            <a:extLst>
              <a:ext uri="{FF2B5EF4-FFF2-40B4-BE49-F238E27FC236}">
                <a16:creationId xmlns="" xmlns:a16="http://schemas.microsoft.com/office/drawing/2014/main" id="{DF3633CE-2F9D-4184-A795-82F020D98513}"/>
              </a:ext>
            </a:extLst>
          </p:cNvPr>
          <p:cNvSpPr>
            <a:spLocks/>
          </p:cNvSpPr>
          <p:nvPr>
            <p:custDataLst>
              <p:tags r:id="rId344"/>
            </p:custDataLst>
          </p:nvPr>
        </p:nvSpPr>
        <p:spPr bwMode="auto">
          <a:xfrm>
            <a:off x="6940897" y="2072042"/>
            <a:ext cx="11603" cy="59076"/>
          </a:xfrm>
          <a:custGeom>
            <a:avLst/>
            <a:gdLst>
              <a:gd name="T0" fmla="*/ 0 w 20"/>
              <a:gd name="T1" fmla="*/ 0 h 18"/>
              <a:gd name="T2" fmla="*/ 13 w 20"/>
              <a:gd name="T3" fmla="*/ 18 h 18"/>
              <a:gd name="T4" fmla="*/ 16 w 20"/>
              <a:gd name="T5" fmla="*/ 11 h 18"/>
              <a:gd name="T6" fmla="*/ 20 w 20"/>
              <a:gd name="T7" fmla="*/ 0 h 18"/>
              <a:gd name="T8" fmla="*/ 0 w 20"/>
              <a:gd name="T9" fmla="*/ 0 h 18"/>
            </a:gdLst>
            <a:ahLst/>
            <a:cxnLst>
              <a:cxn ang="0">
                <a:pos x="T0" y="T1"/>
              </a:cxn>
              <a:cxn ang="0">
                <a:pos x="T2" y="T3"/>
              </a:cxn>
              <a:cxn ang="0">
                <a:pos x="T4" y="T5"/>
              </a:cxn>
              <a:cxn ang="0">
                <a:pos x="T6" y="T7"/>
              </a:cxn>
              <a:cxn ang="0">
                <a:pos x="T8" y="T9"/>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75" name="Freeform 508">
            <a:extLst>
              <a:ext uri="{FF2B5EF4-FFF2-40B4-BE49-F238E27FC236}">
                <a16:creationId xmlns="" xmlns:a16="http://schemas.microsoft.com/office/drawing/2014/main" id="{5E5D984A-5396-4D6B-AE35-EF1C18AC9325}"/>
              </a:ext>
            </a:extLst>
          </p:cNvPr>
          <p:cNvSpPr>
            <a:spLocks/>
          </p:cNvSpPr>
          <p:nvPr>
            <p:custDataLst>
              <p:tags r:id="rId345"/>
            </p:custDataLst>
          </p:nvPr>
        </p:nvSpPr>
        <p:spPr bwMode="auto">
          <a:xfrm>
            <a:off x="7550061" y="2661152"/>
            <a:ext cx="15471" cy="60716"/>
          </a:xfrm>
          <a:custGeom>
            <a:avLst/>
            <a:gdLst>
              <a:gd name="T0" fmla="*/ 0 w 33"/>
              <a:gd name="T1" fmla="*/ 31 h 31"/>
              <a:gd name="T2" fmla="*/ 0 w 33"/>
              <a:gd name="T3" fmla="*/ 0 h 31"/>
              <a:gd name="T4" fmla="*/ 9 w 33"/>
              <a:gd name="T5" fmla="*/ 0 h 31"/>
              <a:gd name="T6" fmla="*/ 16 w 33"/>
              <a:gd name="T7" fmla="*/ 0 h 31"/>
              <a:gd name="T8" fmla="*/ 24 w 33"/>
              <a:gd name="T9" fmla="*/ 0 h 31"/>
              <a:gd name="T10" fmla="*/ 33 w 33"/>
              <a:gd name="T11" fmla="*/ 0 h 31"/>
              <a:gd name="T12" fmla="*/ 30 w 33"/>
              <a:gd name="T13" fmla="*/ 2 h 31"/>
              <a:gd name="T14" fmla="*/ 29 w 33"/>
              <a:gd name="T15" fmla="*/ 5 h 31"/>
              <a:gd name="T16" fmla="*/ 28 w 33"/>
              <a:gd name="T17" fmla="*/ 9 h 31"/>
              <a:gd name="T18" fmla="*/ 28 w 33"/>
              <a:gd name="T19" fmla="*/ 13 h 31"/>
              <a:gd name="T20" fmla="*/ 28 w 33"/>
              <a:gd name="T21" fmla="*/ 17 h 31"/>
              <a:gd name="T22" fmla="*/ 29 w 33"/>
              <a:gd name="T23" fmla="*/ 21 h 31"/>
              <a:gd name="T24" fmla="*/ 30 w 33"/>
              <a:gd name="T25" fmla="*/ 26 h 31"/>
              <a:gd name="T26" fmla="*/ 33 w 33"/>
              <a:gd name="T27" fmla="*/ 31 h 31"/>
              <a:gd name="T28" fmla="*/ 0 w 33"/>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76" name="Freeform 509">
            <a:extLst>
              <a:ext uri="{FF2B5EF4-FFF2-40B4-BE49-F238E27FC236}">
                <a16:creationId xmlns="" xmlns:a16="http://schemas.microsoft.com/office/drawing/2014/main" id="{701F680E-9B4C-47D3-9FFE-A36CA5D13D79}"/>
              </a:ext>
            </a:extLst>
          </p:cNvPr>
          <p:cNvSpPr>
            <a:spLocks/>
          </p:cNvSpPr>
          <p:nvPr>
            <p:custDataLst>
              <p:tags r:id="rId346"/>
            </p:custDataLst>
          </p:nvPr>
        </p:nvSpPr>
        <p:spPr bwMode="auto">
          <a:xfrm>
            <a:off x="7907823" y="2167219"/>
            <a:ext cx="67685" cy="60715"/>
          </a:xfrm>
          <a:custGeom>
            <a:avLst/>
            <a:gdLst>
              <a:gd name="T0" fmla="*/ 3 w 129"/>
              <a:gd name="T1" fmla="*/ 44 h 56"/>
              <a:gd name="T2" fmla="*/ 1 w 129"/>
              <a:gd name="T3" fmla="*/ 42 h 56"/>
              <a:gd name="T4" fmla="*/ 1 w 129"/>
              <a:gd name="T5" fmla="*/ 40 h 56"/>
              <a:gd name="T6" fmla="*/ 0 w 129"/>
              <a:gd name="T7" fmla="*/ 37 h 56"/>
              <a:gd name="T8" fmla="*/ 1 w 129"/>
              <a:gd name="T9" fmla="*/ 33 h 56"/>
              <a:gd name="T10" fmla="*/ 2 w 129"/>
              <a:gd name="T11" fmla="*/ 25 h 56"/>
              <a:gd name="T12" fmla="*/ 3 w 129"/>
              <a:gd name="T13" fmla="*/ 18 h 56"/>
              <a:gd name="T14" fmla="*/ 9 w 129"/>
              <a:gd name="T15" fmla="*/ 13 h 56"/>
              <a:gd name="T16" fmla="*/ 16 w 129"/>
              <a:gd name="T17" fmla="*/ 9 h 56"/>
              <a:gd name="T18" fmla="*/ 21 w 129"/>
              <a:gd name="T19" fmla="*/ 6 h 56"/>
              <a:gd name="T20" fmla="*/ 27 w 129"/>
              <a:gd name="T21" fmla="*/ 5 h 56"/>
              <a:gd name="T22" fmla="*/ 39 w 129"/>
              <a:gd name="T23" fmla="*/ 3 h 56"/>
              <a:gd name="T24" fmla="*/ 57 w 129"/>
              <a:gd name="T25" fmla="*/ 0 h 56"/>
              <a:gd name="T26" fmla="*/ 60 w 129"/>
              <a:gd name="T27" fmla="*/ 5 h 56"/>
              <a:gd name="T28" fmla="*/ 64 w 129"/>
              <a:gd name="T29" fmla="*/ 8 h 56"/>
              <a:gd name="T30" fmla="*/ 69 w 129"/>
              <a:gd name="T31" fmla="*/ 11 h 56"/>
              <a:gd name="T32" fmla="*/ 73 w 129"/>
              <a:gd name="T33" fmla="*/ 14 h 56"/>
              <a:gd name="T34" fmla="*/ 83 w 129"/>
              <a:gd name="T35" fmla="*/ 18 h 56"/>
              <a:gd name="T36" fmla="*/ 93 w 129"/>
              <a:gd name="T37" fmla="*/ 21 h 56"/>
              <a:gd name="T38" fmla="*/ 103 w 129"/>
              <a:gd name="T39" fmla="*/ 25 h 56"/>
              <a:gd name="T40" fmla="*/ 113 w 129"/>
              <a:gd name="T41" fmla="*/ 29 h 56"/>
              <a:gd name="T42" fmla="*/ 117 w 129"/>
              <a:gd name="T43" fmla="*/ 32 h 56"/>
              <a:gd name="T44" fmla="*/ 121 w 129"/>
              <a:gd name="T45" fmla="*/ 35 h 56"/>
              <a:gd name="T46" fmla="*/ 126 w 129"/>
              <a:gd name="T47" fmla="*/ 38 h 56"/>
              <a:gd name="T48" fmla="*/ 129 w 129"/>
              <a:gd name="T49" fmla="*/ 44 h 56"/>
              <a:gd name="T50" fmla="*/ 119 w 129"/>
              <a:gd name="T51" fmla="*/ 48 h 56"/>
              <a:gd name="T52" fmla="*/ 109 w 129"/>
              <a:gd name="T53" fmla="*/ 51 h 56"/>
              <a:gd name="T54" fmla="*/ 99 w 129"/>
              <a:gd name="T55" fmla="*/ 53 h 56"/>
              <a:gd name="T56" fmla="*/ 90 w 129"/>
              <a:gd name="T57" fmla="*/ 54 h 56"/>
              <a:gd name="T58" fmla="*/ 70 w 129"/>
              <a:gd name="T59" fmla="*/ 56 h 56"/>
              <a:gd name="T60" fmla="*/ 49 w 129"/>
              <a:gd name="T61" fmla="*/ 56 h 56"/>
              <a:gd name="T62" fmla="*/ 40 w 129"/>
              <a:gd name="T63" fmla="*/ 55 h 56"/>
              <a:gd name="T64" fmla="*/ 31 w 129"/>
              <a:gd name="T65" fmla="*/ 54 h 56"/>
              <a:gd name="T66" fmla="*/ 23 w 129"/>
              <a:gd name="T67" fmla="*/ 52 h 56"/>
              <a:gd name="T68" fmla="*/ 16 w 129"/>
              <a:gd name="T69" fmla="*/ 50 h 56"/>
              <a:gd name="T70" fmla="*/ 6 w 129"/>
              <a:gd name="T71" fmla="*/ 46 h 56"/>
              <a:gd name="T72" fmla="*/ 3 w 129"/>
              <a:gd name="T73" fmla="*/ 4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77" name="Freeform 510">
            <a:extLst>
              <a:ext uri="{FF2B5EF4-FFF2-40B4-BE49-F238E27FC236}">
                <a16:creationId xmlns="" xmlns:a16="http://schemas.microsoft.com/office/drawing/2014/main" id="{4A986489-A441-4968-8260-40F7E7BEAFEE}"/>
              </a:ext>
            </a:extLst>
          </p:cNvPr>
          <p:cNvSpPr>
            <a:spLocks/>
          </p:cNvSpPr>
          <p:nvPr>
            <p:custDataLst>
              <p:tags r:id="rId347"/>
            </p:custDataLst>
          </p:nvPr>
        </p:nvSpPr>
        <p:spPr bwMode="auto">
          <a:xfrm>
            <a:off x="8074133" y="2531515"/>
            <a:ext cx="17405" cy="59076"/>
          </a:xfrm>
          <a:custGeom>
            <a:avLst/>
            <a:gdLst>
              <a:gd name="T0" fmla="*/ 21 w 41"/>
              <a:gd name="T1" fmla="*/ 42 h 42"/>
              <a:gd name="T2" fmla="*/ 0 w 41"/>
              <a:gd name="T3" fmla="*/ 30 h 42"/>
              <a:gd name="T4" fmla="*/ 0 w 41"/>
              <a:gd name="T5" fmla="*/ 6 h 42"/>
              <a:gd name="T6" fmla="*/ 7 w 41"/>
              <a:gd name="T7" fmla="*/ 5 h 42"/>
              <a:gd name="T8" fmla="*/ 14 w 41"/>
              <a:gd name="T9" fmla="*/ 3 h 42"/>
              <a:gd name="T10" fmla="*/ 24 w 41"/>
              <a:gd name="T11" fmla="*/ 1 h 42"/>
              <a:gd name="T12" fmla="*/ 34 w 41"/>
              <a:gd name="T13" fmla="*/ 0 h 42"/>
              <a:gd name="T14" fmla="*/ 34 w 41"/>
              <a:gd name="T15" fmla="*/ 18 h 42"/>
              <a:gd name="T16" fmla="*/ 41 w 41"/>
              <a:gd name="T17" fmla="*/ 18 h 42"/>
              <a:gd name="T18" fmla="*/ 21 w 41"/>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78" name="Freeform 511">
            <a:extLst>
              <a:ext uri="{FF2B5EF4-FFF2-40B4-BE49-F238E27FC236}">
                <a16:creationId xmlns="" xmlns:a16="http://schemas.microsoft.com/office/drawing/2014/main" id="{D9653911-6764-433F-8CE0-20744E531875}"/>
              </a:ext>
            </a:extLst>
          </p:cNvPr>
          <p:cNvSpPr>
            <a:spLocks/>
          </p:cNvSpPr>
          <p:nvPr>
            <p:custDataLst>
              <p:tags r:id="rId348"/>
            </p:custDataLst>
          </p:nvPr>
        </p:nvSpPr>
        <p:spPr bwMode="auto">
          <a:xfrm>
            <a:off x="8255916" y="2648024"/>
            <a:ext cx="52214" cy="62357"/>
          </a:xfrm>
          <a:custGeom>
            <a:avLst/>
            <a:gdLst>
              <a:gd name="T0" fmla="*/ 60 w 93"/>
              <a:gd name="T1" fmla="*/ 9 h 39"/>
              <a:gd name="T2" fmla="*/ 67 w 93"/>
              <a:gd name="T3" fmla="*/ 18 h 39"/>
              <a:gd name="T4" fmla="*/ 77 w 93"/>
              <a:gd name="T5" fmla="*/ 28 h 39"/>
              <a:gd name="T6" fmla="*/ 81 w 93"/>
              <a:gd name="T7" fmla="*/ 33 h 39"/>
              <a:gd name="T8" fmla="*/ 86 w 93"/>
              <a:gd name="T9" fmla="*/ 36 h 39"/>
              <a:gd name="T10" fmla="*/ 90 w 93"/>
              <a:gd name="T11" fmla="*/ 38 h 39"/>
              <a:gd name="T12" fmla="*/ 93 w 93"/>
              <a:gd name="T13" fmla="*/ 39 h 39"/>
              <a:gd name="T14" fmla="*/ 60 w 93"/>
              <a:gd name="T15" fmla="*/ 39 h 39"/>
              <a:gd name="T16" fmla="*/ 50 w 93"/>
              <a:gd name="T17" fmla="*/ 36 h 39"/>
              <a:gd name="T18" fmla="*/ 43 w 93"/>
              <a:gd name="T19" fmla="*/ 32 h 39"/>
              <a:gd name="T20" fmla="*/ 36 w 93"/>
              <a:gd name="T21" fmla="*/ 28 h 39"/>
              <a:gd name="T22" fmla="*/ 30 w 93"/>
              <a:gd name="T23" fmla="*/ 23 h 39"/>
              <a:gd name="T24" fmla="*/ 24 w 93"/>
              <a:gd name="T25" fmla="*/ 18 h 39"/>
              <a:gd name="T26" fmla="*/ 16 w 93"/>
              <a:gd name="T27" fmla="*/ 13 h 39"/>
              <a:gd name="T28" fmla="*/ 9 w 93"/>
              <a:gd name="T29" fmla="*/ 7 h 39"/>
              <a:gd name="T30" fmla="*/ 0 w 93"/>
              <a:gd name="T31" fmla="*/ 3 h 39"/>
              <a:gd name="T32" fmla="*/ 11 w 93"/>
              <a:gd name="T33" fmla="*/ 1 h 39"/>
              <a:gd name="T34" fmla="*/ 20 w 93"/>
              <a:gd name="T35" fmla="*/ 0 h 39"/>
              <a:gd name="T36" fmla="*/ 26 w 93"/>
              <a:gd name="T37" fmla="*/ 0 h 39"/>
              <a:gd name="T38" fmla="*/ 33 w 93"/>
              <a:gd name="T39" fmla="*/ 1 h 39"/>
              <a:gd name="T40" fmla="*/ 44 w 93"/>
              <a:gd name="T41" fmla="*/ 4 h 39"/>
              <a:gd name="T42" fmla="*/ 60 w 93"/>
              <a:gd name="T4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79" name="Freeform 512">
            <a:extLst>
              <a:ext uri="{FF2B5EF4-FFF2-40B4-BE49-F238E27FC236}">
                <a16:creationId xmlns="" xmlns:a16="http://schemas.microsoft.com/office/drawing/2014/main" id="{450B05D0-DCE8-4DF8-B763-FD388E997FD4}"/>
              </a:ext>
            </a:extLst>
          </p:cNvPr>
          <p:cNvSpPr>
            <a:spLocks/>
          </p:cNvSpPr>
          <p:nvPr>
            <p:custDataLst>
              <p:tags r:id="rId349"/>
            </p:custDataLst>
          </p:nvPr>
        </p:nvSpPr>
        <p:spPr bwMode="auto">
          <a:xfrm>
            <a:off x="8317799" y="2664433"/>
            <a:ext cx="23206" cy="60716"/>
          </a:xfrm>
          <a:custGeom>
            <a:avLst/>
            <a:gdLst>
              <a:gd name="T0" fmla="*/ 39 w 39"/>
              <a:gd name="T1" fmla="*/ 19 h 19"/>
              <a:gd name="T2" fmla="*/ 13 w 39"/>
              <a:gd name="T3" fmla="*/ 19 h 19"/>
              <a:gd name="T4" fmla="*/ 8 w 39"/>
              <a:gd name="T5" fmla="*/ 19 h 19"/>
              <a:gd name="T6" fmla="*/ 5 w 39"/>
              <a:gd name="T7" fmla="*/ 17 h 19"/>
              <a:gd name="T8" fmla="*/ 3 w 39"/>
              <a:gd name="T9" fmla="*/ 14 h 19"/>
              <a:gd name="T10" fmla="*/ 2 w 39"/>
              <a:gd name="T11" fmla="*/ 11 h 19"/>
              <a:gd name="T12" fmla="*/ 0 w 39"/>
              <a:gd name="T13" fmla="*/ 5 h 19"/>
              <a:gd name="T14" fmla="*/ 0 w 39"/>
              <a:gd name="T15" fmla="*/ 0 h 19"/>
              <a:gd name="T16" fmla="*/ 13 w 39"/>
              <a:gd name="T17" fmla="*/ 4 h 19"/>
              <a:gd name="T18" fmla="*/ 22 w 39"/>
              <a:gd name="T19" fmla="*/ 9 h 19"/>
              <a:gd name="T20" fmla="*/ 30 w 39"/>
              <a:gd name="T21" fmla="*/ 14 h 19"/>
              <a:gd name="T22" fmla="*/ 39 w 39"/>
              <a:gd name="T2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80" name="Freeform 513">
            <a:extLst>
              <a:ext uri="{FF2B5EF4-FFF2-40B4-BE49-F238E27FC236}">
                <a16:creationId xmlns="" xmlns:a16="http://schemas.microsoft.com/office/drawing/2014/main" id="{C6ED7531-A60C-4B81-BBDC-E38E0B86E824}"/>
              </a:ext>
            </a:extLst>
          </p:cNvPr>
          <p:cNvSpPr>
            <a:spLocks/>
          </p:cNvSpPr>
          <p:nvPr>
            <p:custDataLst>
              <p:tags r:id="rId350"/>
            </p:custDataLst>
          </p:nvPr>
        </p:nvSpPr>
        <p:spPr bwMode="auto">
          <a:xfrm>
            <a:off x="8153422" y="2795712"/>
            <a:ext cx="17404" cy="59076"/>
          </a:xfrm>
          <a:custGeom>
            <a:avLst/>
            <a:gdLst>
              <a:gd name="T0" fmla="*/ 0 w 26"/>
              <a:gd name="T1" fmla="*/ 36 h 36"/>
              <a:gd name="T2" fmla="*/ 3 w 26"/>
              <a:gd name="T3" fmla="*/ 31 h 36"/>
              <a:gd name="T4" fmla="*/ 10 w 26"/>
              <a:gd name="T5" fmla="*/ 20 h 36"/>
              <a:gd name="T6" fmla="*/ 18 w 26"/>
              <a:gd name="T7" fmla="*/ 8 h 36"/>
              <a:gd name="T8" fmla="*/ 26 w 26"/>
              <a:gd name="T9" fmla="*/ 0 h 36"/>
              <a:gd name="T10" fmla="*/ 26 w 26"/>
              <a:gd name="T11" fmla="*/ 9 h 36"/>
              <a:gd name="T12" fmla="*/ 26 w 26"/>
              <a:gd name="T13" fmla="*/ 18 h 36"/>
              <a:gd name="T14" fmla="*/ 25 w 26"/>
              <a:gd name="T15" fmla="*/ 22 h 36"/>
              <a:gd name="T16" fmla="*/ 24 w 26"/>
              <a:gd name="T17" fmla="*/ 26 h 36"/>
              <a:gd name="T18" fmla="*/ 21 w 26"/>
              <a:gd name="T19" fmla="*/ 29 h 36"/>
              <a:gd name="T20" fmla="*/ 17 w 26"/>
              <a:gd name="T21" fmla="*/ 32 h 36"/>
              <a:gd name="T22" fmla="*/ 14 w 26"/>
              <a:gd name="T23" fmla="*/ 34 h 36"/>
              <a:gd name="T24" fmla="*/ 10 w 26"/>
              <a:gd name="T25" fmla="*/ 35 h 36"/>
              <a:gd name="T26" fmla="*/ 4 w 26"/>
              <a:gd name="T27" fmla="*/ 36 h 36"/>
              <a:gd name="T28" fmla="*/ 0 w 26"/>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81" name="Freeform 514">
            <a:extLst>
              <a:ext uri="{FF2B5EF4-FFF2-40B4-BE49-F238E27FC236}">
                <a16:creationId xmlns="" xmlns:a16="http://schemas.microsoft.com/office/drawing/2014/main" id="{464F40D3-2ED0-48F8-9D94-B3887B46A648}"/>
              </a:ext>
            </a:extLst>
          </p:cNvPr>
          <p:cNvSpPr>
            <a:spLocks/>
          </p:cNvSpPr>
          <p:nvPr>
            <p:custDataLst>
              <p:tags r:id="rId351"/>
            </p:custDataLst>
          </p:nvPr>
        </p:nvSpPr>
        <p:spPr bwMode="auto">
          <a:xfrm>
            <a:off x="8166959" y="2825249"/>
            <a:ext cx="3867" cy="62357"/>
          </a:xfrm>
          <a:custGeom>
            <a:avLst/>
            <a:gdLst>
              <a:gd name="T0" fmla="*/ 0 w 6"/>
              <a:gd name="T1" fmla="*/ 37 h 37"/>
              <a:gd name="T2" fmla="*/ 0 w 6"/>
              <a:gd name="T3" fmla="*/ 0 h 37"/>
              <a:gd name="T4" fmla="*/ 6 w 6"/>
              <a:gd name="T5" fmla="*/ 0 h 37"/>
              <a:gd name="T6" fmla="*/ 6 w 6"/>
              <a:gd name="T7" fmla="*/ 31 h 37"/>
              <a:gd name="T8" fmla="*/ 0 w 6"/>
              <a:gd name="T9" fmla="*/ 37 h 37"/>
            </a:gdLst>
            <a:ahLst/>
            <a:cxnLst>
              <a:cxn ang="0">
                <a:pos x="T0" y="T1"/>
              </a:cxn>
              <a:cxn ang="0">
                <a:pos x="T2" y="T3"/>
              </a:cxn>
              <a:cxn ang="0">
                <a:pos x="T4" y="T5"/>
              </a:cxn>
              <a:cxn ang="0">
                <a:pos x="T6" y="T7"/>
              </a:cxn>
              <a:cxn ang="0">
                <a:pos x="T8" y="T9"/>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82" name="Freeform 515">
            <a:extLst>
              <a:ext uri="{FF2B5EF4-FFF2-40B4-BE49-F238E27FC236}">
                <a16:creationId xmlns="" xmlns:a16="http://schemas.microsoft.com/office/drawing/2014/main" id="{1413DDFF-CFD7-40AB-A870-DF269EFCF26E}"/>
              </a:ext>
            </a:extLst>
          </p:cNvPr>
          <p:cNvSpPr>
            <a:spLocks/>
          </p:cNvSpPr>
          <p:nvPr>
            <p:custDataLst>
              <p:tags r:id="rId352"/>
            </p:custDataLst>
          </p:nvPr>
        </p:nvSpPr>
        <p:spPr bwMode="auto">
          <a:xfrm>
            <a:off x="8151488" y="2910581"/>
            <a:ext cx="11603" cy="57435"/>
          </a:xfrm>
          <a:custGeom>
            <a:avLst/>
            <a:gdLst>
              <a:gd name="T0" fmla="*/ 0 w 20"/>
              <a:gd name="T1" fmla="*/ 31 h 43"/>
              <a:gd name="T2" fmla="*/ 0 w 20"/>
              <a:gd name="T3" fmla="*/ 25 h 43"/>
              <a:gd name="T4" fmla="*/ 0 w 20"/>
              <a:gd name="T5" fmla="*/ 18 h 43"/>
              <a:gd name="T6" fmla="*/ 2 w 20"/>
              <a:gd name="T7" fmla="*/ 9 h 43"/>
              <a:gd name="T8" fmla="*/ 7 w 20"/>
              <a:gd name="T9" fmla="*/ 0 h 43"/>
              <a:gd name="T10" fmla="*/ 11 w 20"/>
              <a:gd name="T11" fmla="*/ 7 h 43"/>
              <a:gd name="T12" fmla="*/ 16 w 20"/>
              <a:gd name="T13" fmla="*/ 12 h 43"/>
              <a:gd name="T14" fmla="*/ 17 w 20"/>
              <a:gd name="T15" fmla="*/ 14 h 43"/>
              <a:gd name="T16" fmla="*/ 19 w 20"/>
              <a:gd name="T17" fmla="*/ 18 h 43"/>
              <a:gd name="T18" fmla="*/ 19 w 20"/>
              <a:gd name="T19" fmla="*/ 21 h 43"/>
              <a:gd name="T20" fmla="*/ 20 w 20"/>
              <a:gd name="T21" fmla="*/ 25 h 43"/>
              <a:gd name="T22" fmla="*/ 19 w 20"/>
              <a:gd name="T23" fmla="*/ 27 h 43"/>
              <a:gd name="T24" fmla="*/ 18 w 20"/>
              <a:gd name="T25" fmla="*/ 30 h 43"/>
              <a:gd name="T26" fmla="*/ 16 w 20"/>
              <a:gd name="T27" fmla="*/ 33 h 43"/>
              <a:gd name="T28" fmla="*/ 12 w 20"/>
              <a:gd name="T29" fmla="*/ 36 h 43"/>
              <a:gd name="T30" fmla="*/ 9 w 20"/>
              <a:gd name="T31" fmla="*/ 39 h 43"/>
              <a:gd name="T32" fmla="*/ 6 w 20"/>
              <a:gd name="T33" fmla="*/ 41 h 43"/>
              <a:gd name="T34" fmla="*/ 2 w 20"/>
              <a:gd name="T35" fmla="*/ 42 h 43"/>
              <a:gd name="T36" fmla="*/ 0 w 20"/>
              <a:gd name="T37" fmla="*/ 43 h 43"/>
              <a:gd name="T38" fmla="*/ 0 w 20"/>
              <a:gd name="T39"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83" name="Freeform 516">
            <a:extLst>
              <a:ext uri="{FF2B5EF4-FFF2-40B4-BE49-F238E27FC236}">
                <a16:creationId xmlns="" xmlns:a16="http://schemas.microsoft.com/office/drawing/2014/main" id="{332C23DF-1CB1-48BC-A567-CFACF60AC455}"/>
              </a:ext>
            </a:extLst>
          </p:cNvPr>
          <p:cNvSpPr>
            <a:spLocks/>
          </p:cNvSpPr>
          <p:nvPr>
            <p:custDataLst>
              <p:tags r:id="rId353"/>
            </p:custDataLst>
          </p:nvPr>
        </p:nvSpPr>
        <p:spPr bwMode="auto">
          <a:xfrm>
            <a:off x="8124414" y="2946681"/>
            <a:ext cx="0" cy="60716"/>
          </a:xfrm>
          <a:custGeom>
            <a:avLst/>
            <a:gdLst>
              <a:gd name="T0" fmla="*/ 30 h 30"/>
              <a:gd name="T1" fmla="*/ 25 h 30"/>
              <a:gd name="T2" fmla="*/ 18 h 30"/>
              <a:gd name="T3" fmla="*/ 9 h 30"/>
              <a:gd name="T4" fmla="*/ 0 h 30"/>
            </a:gdLst>
            <a:ahLst/>
            <a:cxnLst>
              <a:cxn ang="0">
                <a:pos x="0" y="T0"/>
              </a:cxn>
              <a:cxn ang="0">
                <a:pos x="0" y="T1"/>
              </a:cxn>
              <a:cxn ang="0">
                <a:pos x="0" y="T2"/>
              </a:cxn>
              <a:cxn ang="0">
                <a:pos x="0" y="T3"/>
              </a:cxn>
              <a:cxn ang="0">
                <a:pos x="0" y="T4"/>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84" name="Freeform 517">
            <a:extLst>
              <a:ext uri="{FF2B5EF4-FFF2-40B4-BE49-F238E27FC236}">
                <a16:creationId xmlns="" xmlns:a16="http://schemas.microsoft.com/office/drawing/2014/main" id="{69846721-0301-464F-9787-313804FB84CF}"/>
              </a:ext>
            </a:extLst>
          </p:cNvPr>
          <p:cNvSpPr>
            <a:spLocks/>
          </p:cNvSpPr>
          <p:nvPr>
            <p:custDataLst>
              <p:tags r:id="rId354"/>
            </p:custDataLst>
          </p:nvPr>
        </p:nvSpPr>
        <p:spPr bwMode="auto">
          <a:xfrm>
            <a:off x="8124414" y="2946681"/>
            <a:ext cx="9670" cy="60716"/>
          </a:xfrm>
          <a:custGeom>
            <a:avLst/>
            <a:gdLst>
              <a:gd name="T0" fmla="*/ 0 w 20"/>
              <a:gd name="T1" fmla="*/ 0 h 24"/>
              <a:gd name="T2" fmla="*/ 20 w 20"/>
              <a:gd name="T3" fmla="*/ 0 h 24"/>
              <a:gd name="T4" fmla="*/ 0 w 20"/>
              <a:gd name="T5" fmla="*/ 24 h 24"/>
            </a:gdLst>
            <a:ahLst/>
            <a:cxnLst>
              <a:cxn ang="0">
                <a:pos x="T0" y="T1"/>
              </a:cxn>
              <a:cxn ang="0">
                <a:pos x="T2" y="T3"/>
              </a:cxn>
              <a:cxn ang="0">
                <a:pos x="T4" y="T5"/>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85" name="Freeform 518">
            <a:extLst>
              <a:ext uri="{FF2B5EF4-FFF2-40B4-BE49-F238E27FC236}">
                <a16:creationId xmlns="" xmlns:a16="http://schemas.microsoft.com/office/drawing/2014/main" id="{8AF1EB22-A5B9-4F59-982F-EF3F40717D86}"/>
              </a:ext>
            </a:extLst>
          </p:cNvPr>
          <p:cNvSpPr>
            <a:spLocks/>
          </p:cNvSpPr>
          <p:nvPr>
            <p:custDataLst>
              <p:tags r:id="rId355"/>
            </p:custDataLst>
          </p:nvPr>
        </p:nvSpPr>
        <p:spPr bwMode="auto">
          <a:xfrm>
            <a:off x="7824668" y="2520028"/>
            <a:ext cx="21272" cy="62357"/>
          </a:xfrm>
          <a:custGeom>
            <a:avLst/>
            <a:gdLst>
              <a:gd name="T0" fmla="*/ 0 w 46"/>
              <a:gd name="T1" fmla="*/ 0 h 19"/>
              <a:gd name="T2" fmla="*/ 9 w 46"/>
              <a:gd name="T3" fmla="*/ 3 h 19"/>
              <a:gd name="T4" fmla="*/ 14 w 46"/>
              <a:gd name="T5" fmla="*/ 5 h 19"/>
              <a:gd name="T6" fmla="*/ 19 w 46"/>
              <a:gd name="T7" fmla="*/ 8 h 19"/>
              <a:gd name="T8" fmla="*/ 23 w 46"/>
              <a:gd name="T9" fmla="*/ 10 h 19"/>
              <a:gd name="T10" fmla="*/ 26 w 46"/>
              <a:gd name="T11" fmla="*/ 12 h 19"/>
              <a:gd name="T12" fmla="*/ 32 w 46"/>
              <a:gd name="T13" fmla="*/ 14 h 19"/>
              <a:gd name="T14" fmla="*/ 37 w 46"/>
              <a:gd name="T15" fmla="*/ 17 h 19"/>
              <a:gd name="T16" fmla="*/ 46 w 46"/>
              <a:gd name="T17" fmla="*/ 19 h 19"/>
              <a:gd name="T18" fmla="*/ 33 w 46"/>
              <a:gd name="T19" fmla="*/ 19 h 19"/>
              <a:gd name="T20" fmla="*/ 24 w 46"/>
              <a:gd name="T21" fmla="*/ 19 h 19"/>
              <a:gd name="T22" fmla="*/ 18 w 46"/>
              <a:gd name="T23" fmla="*/ 18 h 19"/>
              <a:gd name="T24" fmla="*/ 13 w 46"/>
              <a:gd name="T25" fmla="*/ 17 h 19"/>
              <a:gd name="T26" fmla="*/ 10 w 46"/>
              <a:gd name="T27" fmla="*/ 14 h 19"/>
              <a:gd name="T28" fmla="*/ 7 w 46"/>
              <a:gd name="T29" fmla="*/ 11 h 19"/>
              <a:gd name="T30" fmla="*/ 4 w 46"/>
              <a:gd name="T31" fmla="*/ 7 h 19"/>
              <a:gd name="T32" fmla="*/ 0 w 46"/>
              <a:gd name="T3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86" name="Freeform 519">
            <a:extLst>
              <a:ext uri="{FF2B5EF4-FFF2-40B4-BE49-F238E27FC236}">
                <a16:creationId xmlns="" xmlns:a16="http://schemas.microsoft.com/office/drawing/2014/main" id="{68AEA71C-002C-4238-85A0-BFE4FA75AFFF}"/>
              </a:ext>
            </a:extLst>
          </p:cNvPr>
          <p:cNvSpPr>
            <a:spLocks/>
          </p:cNvSpPr>
          <p:nvPr>
            <p:custDataLst>
              <p:tags r:id="rId356"/>
            </p:custDataLst>
          </p:nvPr>
        </p:nvSpPr>
        <p:spPr bwMode="auto">
          <a:xfrm>
            <a:off x="4554523" y="2664433"/>
            <a:ext cx="58015" cy="60716"/>
          </a:xfrm>
          <a:custGeom>
            <a:avLst/>
            <a:gdLst>
              <a:gd name="T0" fmla="*/ 33 w 100"/>
              <a:gd name="T1" fmla="*/ 0 h 55"/>
              <a:gd name="T2" fmla="*/ 100 w 100"/>
              <a:gd name="T3" fmla="*/ 12 h 55"/>
              <a:gd name="T4" fmla="*/ 100 w 100"/>
              <a:gd name="T5" fmla="*/ 55 h 55"/>
              <a:gd name="T6" fmla="*/ 13 w 100"/>
              <a:gd name="T7" fmla="*/ 55 h 55"/>
              <a:gd name="T8" fmla="*/ 0 w 100"/>
              <a:gd name="T9" fmla="*/ 43 h 55"/>
              <a:gd name="T10" fmla="*/ 1 w 100"/>
              <a:gd name="T11" fmla="*/ 38 h 55"/>
              <a:gd name="T12" fmla="*/ 4 w 100"/>
              <a:gd name="T13" fmla="*/ 32 h 55"/>
              <a:gd name="T14" fmla="*/ 10 w 100"/>
              <a:gd name="T15" fmla="*/ 25 h 55"/>
              <a:gd name="T16" fmla="*/ 16 w 100"/>
              <a:gd name="T17" fmla="*/ 18 h 55"/>
              <a:gd name="T18" fmla="*/ 27 w 100"/>
              <a:gd name="T19" fmla="*/ 5 h 55"/>
              <a:gd name="T20" fmla="*/ 33 w 100"/>
              <a:gd name="T21"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87" name="Freeform 520">
            <a:extLst>
              <a:ext uri="{FF2B5EF4-FFF2-40B4-BE49-F238E27FC236}">
                <a16:creationId xmlns="" xmlns:a16="http://schemas.microsoft.com/office/drawing/2014/main" id="{8020A4A4-A49A-4301-A5A5-EB8F734039D9}"/>
              </a:ext>
            </a:extLst>
          </p:cNvPr>
          <p:cNvSpPr>
            <a:spLocks/>
          </p:cNvSpPr>
          <p:nvPr>
            <p:custDataLst>
              <p:tags r:id="rId357"/>
            </p:custDataLst>
          </p:nvPr>
        </p:nvSpPr>
        <p:spPr bwMode="auto">
          <a:xfrm>
            <a:off x="5101803" y="2242704"/>
            <a:ext cx="52213" cy="60715"/>
          </a:xfrm>
          <a:custGeom>
            <a:avLst/>
            <a:gdLst>
              <a:gd name="T0" fmla="*/ 53 w 99"/>
              <a:gd name="T1" fmla="*/ 2 h 51"/>
              <a:gd name="T2" fmla="*/ 58 w 99"/>
              <a:gd name="T3" fmla="*/ 1 h 51"/>
              <a:gd name="T4" fmla="*/ 62 w 99"/>
              <a:gd name="T5" fmla="*/ 0 h 51"/>
              <a:gd name="T6" fmla="*/ 65 w 99"/>
              <a:gd name="T7" fmla="*/ 0 h 51"/>
              <a:gd name="T8" fmla="*/ 69 w 99"/>
              <a:gd name="T9" fmla="*/ 1 h 51"/>
              <a:gd name="T10" fmla="*/ 74 w 99"/>
              <a:gd name="T11" fmla="*/ 5 h 51"/>
              <a:gd name="T12" fmla="*/ 79 w 99"/>
              <a:gd name="T13" fmla="*/ 11 h 51"/>
              <a:gd name="T14" fmla="*/ 83 w 99"/>
              <a:gd name="T15" fmla="*/ 18 h 51"/>
              <a:gd name="T16" fmla="*/ 87 w 99"/>
              <a:gd name="T17" fmla="*/ 25 h 51"/>
              <a:gd name="T18" fmla="*/ 91 w 99"/>
              <a:gd name="T19" fmla="*/ 28 h 51"/>
              <a:gd name="T20" fmla="*/ 93 w 99"/>
              <a:gd name="T21" fmla="*/ 30 h 51"/>
              <a:gd name="T22" fmla="*/ 96 w 99"/>
              <a:gd name="T23" fmla="*/ 32 h 51"/>
              <a:gd name="T24" fmla="*/ 99 w 99"/>
              <a:gd name="T25" fmla="*/ 34 h 51"/>
              <a:gd name="T26" fmla="*/ 99 w 99"/>
              <a:gd name="T27" fmla="*/ 37 h 51"/>
              <a:gd name="T28" fmla="*/ 97 w 99"/>
              <a:gd name="T29" fmla="*/ 40 h 51"/>
              <a:gd name="T30" fmla="*/ 95 w 99"/>
              <a:gd name="T31" fmla="*/ 43 h 51"/>
              <a:gd name="T32" fmla="*/ 91 w 99"/>
              <a:gd name="T33" fmla="*/ 45 h 51"/>
              <a:gd name="T34" fmla="*/ 86 w 99"/>
              <a:gd name="T35" fmla="*/ 47 h 51"/>
              <a:gd name="T36" fmla="*/ 81 w 99"/>
              <a:gd name="T37" fmla="*/ 48 h 51"/>
              <a:gd name="T38" fmla="*/ 74 w 99"/>
              <a:gd name="T39" fmla="*/ 50 h 51"/>
              <a:gd name="T40" fmla="*/ 68 w 99"/>
              <a:gd name="T41" fmla="*/ 50 h 51"/>
              <a:gd name="T42" fmla="*/ 52 w 99"/>
              <a:gd name="T43" fmla="*/ 51 h 51"/>
              <a:gd name="T44" fmla="*/ 36 w 99"/>
              <a:gd name="T45" fmla="*/ 49 h 51"/>
              <a:gd name="T46" fmla="*/ 27 w 99"/>
              <a:gd name="T47" fmla="*/ 48 h 51"/>
              <a:gd name="T48" fmla="*/ 18 w 99"/>
              <a:gd name="T49" fmla="*/ 45 h 51"/>
              <a:gd name="T50" fmla="*/ 9 w 99"/>
              <a:gd name="T51" fmla="*/ 43 h 51"/>
              <a:gd name="T52" fmla="*/ 1 w 99"/>
              <a:gd name="T53" fmla="*/ 40 h 51"/>
              <a:gd name="T54" fmla="*/ 0 w 99"/>
              <a:gd name="T55" fmla="*/ 39 h 51"/>
              <a:gd name="T56" fmla="*/ 1 w 99"/>
              <a:gd name="T57" fmla="*/ 37 h 51"/>
              <a:gd name="T58" fmla="*/ 3 w 99"/>
              <a:gd name="T59" fmla="*/ 35 h 51"/>
              <a:gd name="T60" fmla="*/ 6 w 99"/>
              <a:gd name="T61" fmla="*/ 33 h 51"/>
              <a:gd name="T62" fmla="*/ 14 w 99"/>
              <a:gd name="T63" fmla="*/ 29 h 51"/>
              <a:gd name="T64" fmla="*/ 25 w 99"/>
              <a:gd name="T65" fmla="*/ 24 h 51"/>
              <a:gd name="T66" fmla="*/ 35 w 99"/>
              <a:gd name="T67" fmla="*/ 19 h 51"/>
              <a:gd name="T68" fmla="*/ 45 w 99"/>
              <a:gd name="T69" fmla="*/ 12 h 51"/>
              <a:gd name="T70" fmla="*/ 48 w 99"/>
              <a:gd name="T71" fmla="*/ 10 h 51"/>
              <a:gd name="T72" fmla="*/ 51 w 99"/>
              <a:gd name="T73" fmla="*/ 7 h 51"/>
              <a:gd name="T74" fmla="*/ 52 w 99"/>
              <a:gd name="T75" fmla="*/ 5 h 51"/>
              <a:gd name="T76" fmla="*/ 53 w 99"/>
              <a:gd name="T77"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88" name="Freeform 521">
            <a:extLst>
              <a:ext uri="{FF2B5EF4-FFF2-40B4-BE49-F238E27FC236}">
                <a16:creationId xmlns="" xmlns:a16="http://schemas.microsoft.com/office/drawing/2014/main" id="{25581C32-3825-484F-B7D6-09CD5552D15D}"/>
              </a:ext>
            </a:extLst>
          </p:cNvPr>
          <p:cNvSpPr>
            <a:spLocks/>
          </p:cNvSpPr>
          <p:nvPr>
            <p:custDataLst>
              <p:tags r:id="rId358"/>
            </p:custDataLst>
          </p:nvPr>
        </p:nvSpPr>
        <p:spPr bwMode="auto">
          <a:xfrm>
            <a:off x="5144348" y="2049068"/>
            <a:ext cx="278474" cy="169020"/>
          </a:xfrm>
          <a:custGeom>
            <a:avLst/>
            <a:gdLst>
              <a:gd name="T0" fmla="*/ 315 w 525"/>
              <a:gd name="T1" fmla="*/ 27 h 311"/>
              <a:gd name="T2" fmla="*/ 342 w 525"/>
              <a:gd name="T3" fmla="*/ 21 h 311"/>
              <a:gd name="T4" fmla="*/ 385 w 525"/>
              <a:gd name="T5" fmla="*/ 20 h 311"/>
              <a:gd name="T6" fmla="*/ 408 w 525"/>
              <a:gd name="T7" fmla="*/ 17 h 311"/>
              <a:gd name="T8" fmla="*/ 427 w 525"/>
              <a:gd name="T9" fmla="*/ 7 h 311"/>
              <a:gd name="T10" fmla="*/ 514 w 525"/>
              <a:gd name="T11" fmla="*/ 6 h 311"/>
              <a:gd name="T12" fmla="*/ 525 w 525"/>
              <a:gd name="T13" fmla="*/ 19 h 311"/>
              <a:gd name="T14" fmla="*/ 468 w 525"/>
              <a:gd name="T15" fmla="*/ 47 h 311"/>
              <a:gd name="T16" fmla="*/ 392 w 525"/>
              <a:gd name="T17" fmla="*/ 73 h 311"/>
              <a:gd name="T18" fmla="*/ 356 w 525"/>
              <a:gd name="T19" fmla="*/ 80 h 311"/>
              <a:gd name="T20" fmla="*/ 321 w 525"/>
              <a:gd name="T21" fmla="*/ 83 h 311"/>
              <a:gd name="T22" fmla="*/ 279 w 525"/>
              <a:gd name="T23" fmla="*/ 101 h 311"/>
              <a:gd name="T24" fmla="*/ 244 w 525"/>
              <a:gd name="T25" fmla="*/ 121 h 311"/>
              <a:gd name="T26" fmla="*/ 218 w 525"/>
              <a:gd name="T27" fmla="*/ 129 h 311"/>
              <a:gd name="T28" fmla="*/ 187 w 525"/>
              <a:gd name="T29" fmla="*/ 123 h 311"/>
              <a:gd name="T30" fmla="*/ 178 w 525"/>
              <a:gd name="T31" fmla="*/ 137 h 311"/>
              <a:gd name="T32" fmla="*/ 175 w 525"/>
              <a:gd name="T33" fmla="*/ 145 h 311"/>
              <a:gd name="T34" fmla="*/ 185 w 525"/>
              <a:gd name="T35" fmla="*/ 148 h 311"/>
              <a:gd name="T36" fmla="*/ 184 w 525"/>
              <a:gd name="T37" fmla="*/ 157 h 311"/>
              <a:gd name="T38" fmla="*/ 176 w 525"/>
              <a:gd name="T39" fmla="*/ 167 h 311"/>
              <a:gd name="T40" fmla="*/ 180 w 525"/>
              <a:gd name="T41" fmla="*/ 179 h 311"/>
              <a:gd name="T42" fmla="*/ 162 w 525"/>
              <a:gd name="T43" fmla="*/ 194 h 311"/>
              <a:gd name="T44" fmla="*/ 144 w 525"/>
              <a:gd name="T45" fmla="*/ 204 h 311"/>
              <a:gd name="T46" fmla="*/ 141 w 525"/>
              <a:gd name="T47" fmla="*/ 213 h 311"/>
              <a:gd name="T48" fmla="*/ 144 w 525"/>
              <a:gd name="T49" fmla="*/ 228 h 311"/>
              <a:gd name="T50" fmla="*/ 163 w 525"/>
              <a:gd name="T51" fmla="*/ 247 h 311"/>
              <a:gd name="T52" fmla="*/ 191 w 525"/>
              <a:gd name="T53" fmla="*/ 267 h 311"/>
              <a:gd name="T54" fmla="*/ 256 w 525"/>
              <a:gd name="T55" fmla="*/ 300 h 311"/>
              <a:gd name="T56" fmla="*/ 243 w 525"/>
              <a:gd name="T57" fmla="*/ 311 h 311"/>
              <a:gd name="T58" fmla="*/ 189 w 525"/>
              <a:gd name="T59" fmla="*/ 309 h 311"/>
              <a:gd name="T60" fmla="*/ 145 w 525"/>
              <a:gd name="T61" fmla="*/ 308 h 311"/>
              <a:gd name="T62" fmla="*/ 129 w 525"/>
              <a:gd name="T63" fmla="*/ 304 h 311"/>
              <a:gd name="T64" fmla="*/ 123 w 525"/>
              <a:gd name="T65" fmla="*/ 298 h 311"/>
              <a:gd name="T66" fmla="*/ 120 w 525"/>
              <a:gd name="T67" fmla="*/ 282 h 311"/>
              <a:gd name="T68" fmla="*/ 116 w 525"/>
              <a:gd name="T69" fmla="*/ 278 h 311"/>
              <a:gd name="T70" fmla="*/ 95 w 525"/>
              <a:gd name="T71" fmla="*/ 277 h 311"/>
              <a:gd name="T72" fmla="*/ 80 w 525"/>
              <a:gd name="T73" fmla="*/ 296 h 311"/>
              <a:gd name="T74" fmla="*/ 44 w 525"/>
              <a:gd name="T75" fmla="*/ 282 h 311"/>
              <a:gd name="T76" fmla="*/ 0 w 525"/>
              <a:gd name="T77" fmla="*/ 246 h 311"/>
              <a:gd name="T78" fmla="*/ 18 w 525"/>
              <a:gd name="T79" fmla="*/ 239 h 311"/>
              <a:gd name="T80" fmla="*/ 34 w 525"/>
              <a:gd name="T81" fmla="*/ 222 h 311"/>
              <a:gd name="T82" fmla="*/ 28 w 525"/>
              <a:gd name="T83" fmla="*/ 213 h 311"/>
              <a:gd name="T84" fmla="*/ 34 w 525"/>
              <a:gd name="T85" fmla="*/ 200 h 311"/>
              <a:gd name="T86" fmla="*/ 40 w 525"/>
              <a:gd name="T87" fmla="*/ 188 h 311"/>
              <a:gd name="T88" fmla="*/ 34 w 525"/>
              <a:gd name="T89" fmla="*/ 179 h 311"/>
              <a:gd name="T90" fmla="*/ 134 w 525"/>
              <a:gd name="T91" fmla="*/ 179 h 311"/>
              <a:gd name="T92" fmla="*/ 131 w 525"/>
              <a:gd name="T93" fmla="*/ 177 h 311"/>
              <a:gd name="T94" fmla="*/ 90 w 525"/>
              <a:gd name="T95" fmla="*/ 166 h 311"/>
              <a:gd name="T96" fmla="*/ 54 w 525"/>
              <a:gd name="T97" fmla="*/ 148 h 311"/>
              <a:gd name="T98" fmla="*/ 84 w 525"/>
              <a:gd name="T99" fmla="*/ 134 h 311"/>
              <a:gd name="T100" fmla="*/ 120 w 525"/>
              <a:gd name="T101" fmla="*/ 111 h 311"/>
              <a:gd name="T102" fmla="*/ 111 w 525"/>
              <a:gd name="T103" fmla="*/ 103 h 311"/>
              <a:gd name="T104" fmla="*/ 100 w 525"/>
              <a:gd name="T105" fmla="*/ 80 h 311"/>
              <a:gd name="T106" fmla="*/ 127 w 525"/>
              <a:gd name="T107" fmla="*/ 76 h 311"/>
              <a:gd name="T108" fmla="*/ 184 w 525"/>
              <a:gd name="T109" fmla="*/ 58 h 311"/>
              <a:gd name="T110" fmla="*/ 254 w 525"/>
              <a:gd name="T111" fmla="*/ 35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89" name="Freeform 522">
            <a:extLst>
              <a:ext uri="{FF2B5EF4-FFF2-40B4-BE49-F238E27FC236}">
                <a16:creationId xmlns="" xmlns:a16="http://schemas.microsoft.com/office/drawing/2014/main" id="{267D8336-A3AF-418E-A4B2-3923BEE52989}"/>
              </a:ext>
            </a:extLst>
          </p:cNvPr>
          <p:cNvSpPr>
            <a:spLocks/>
          </p:cNvSpPr>
          <p:nvPr>
            <p:custDataLst>
              <p:tags r:id="rId359"/>
            </p:custDataLst>
          </p:nvPr>
        </p:nvSpPr>
        <p:spPr bwMode="auto">
          <a:xfrm>
            <a:off x="4891013" y="2370700"/>
            <a:ext cx="38677" cy="57434"/>
          </a:xfrm>
          <a:custGeom>
            <a:avLst/>
            <a:gdLst>
              <a:gd name="T0" fmla="*/ 46 w 79"/>
              <a:gd name="T1" fmla="*/ 0 h 38"/>
              <a:gd name="T2" fmla="*/ 54 w 79"/>
              <a:gd name="T3" fmla="*/ 1 h 38"/>
              <a:gd name="T4" fmla="*/ 62 w 79"/>
              <a:gd name="T5" fmla="*/ 3 h 38"/>
              <a:gd name="T6" fmla="*/ 68 w 79"/>
              <a:gd name="T7" fmla="*/ 7 h 38"/>
              <a:gd name="T8" fmla="*/ 72 w 79"/>
              <a:gd name="T9" fmla="*/ 12 h 38"/>
              <a:gd name="T10" fmla="*/ 75 w 79"/>
              <a:gd name="T11" fmla="*/ 17 h 38"/>
              <a:gd name="T12" fmla="*/ 77 w 79"/>
              <a:gd name="T13" fmla="*/ 22 h 38"/>
              <a:gd name="T14" fmla="*/ 79 w 79"/>
              <a:gd name="T15" fmla="*/ 27 h 38"/>
              <a:gd name="T16" fmla="*/ 79 w 79"/>
              <a:gd name="T17" fmla="*/ 32 h 38"/>
              <a:gd name="T18" fmla="*/ 77 w 79"/>
              <a:gd name="T19" fmla="*/ 34 h 38"/>
              <a:gd name="T20" fmla="*/ 75 w 79"/>
              <a:gd name="T21" fmla="*/ 35 h 38"/>
              <a:gd name="T22" fmla="*/ 72 w 79"/>
              <a:gd name="T23" fmla="*/ 36 h 38"/>
              <a:gd name="T24" fmla="*/ 68 w 79"/>
              <a:gd name="T25" fmla="*/ 37 h 38"/>
              <a:gd name="T26" fmla="*/ 57 w 79"/>
              <a:gd name="T27" fmla="*/ 38 h 38"/>
              <a:gd name="T28" fmla="*/ 46 w 79"/>
              <a:gd name="T29" fmla="*/ 38 h 38"/>
              <a:gd name="T30" fmla="*/ 38 w 79"/>
              <a:gd name="T31" fmla="*/ 37 h 38"/>
              <a:gd name="T32" fmla="*/ 30 w 79"/>
              <a:gd name="T33" fmla="*/ 36 h 38"/>
              <a:gd name="T34" fmla="*/ 21 w 79"/>
              <a:gd name="T35" fmla="*/ 35 h 38"/>
              <a:gd name="T36" fmla="*/ 15 w 79"/>
              <a:gd name="T37" fmla="*/ 32 h 38"/>
              <a:gd name="T38" fmla="*/ 8 w 79"/>
              <a:gd name="T39" fmla="*/ 29 h 38"/>
              <a:gd name="T40" fmla="*/ 4 w 79"/>
              <a:gd name="T41" fmla="*/ 25 h 38"/>
              <a:gd name="T42" fmla="*/ 2 w 79"/>
              <a:gd name="T43" fmla="*/ 22 h 38"/>
              <a:gd name="T44" fmla="*/ 1 w 79"/>
              <a:gd name="T45" fmla="*/ 20 h 38"/>
              <a:gd name="T46" fmla="*/ 0 w 79"/>
              <a:gd name="T47" fmla="*/ 17 h 38"/>
              <a:gd name="T48" fmla="*/ 0 w 79"/>
              <a:gd name="T49" fmla="*/ 13 h 38"/>
              <a:gd name="T50" fmla="*/ 1 w 79"/>
              <a:gd name="T51" fmla="*/ 11 h 38"/>
              <a:gd name="T52" fmla="*/ 4 w 79"/>
              <a:gd name="T53" fmla="*/ 9 h 38"/>
              <a:gd name="T54" fmla="*/ 10 w 79"/>
              <a:gd name="T55" fmla="*/ 6 h 38"/>
              <a:gd name="T56" fmla="*/ 17 w 79"/>
              <a:gd name="T57" fmla="*/ 4 h 38"/>
              <a:gd name="T58" fmla="*/ 32 w 79"/>
              <a:gd name="T59" fmla="*/ 1 h 38"/>
              <a:gd name="T60" fmla="*/ 46 w 79"/>
              <a:gd name="T6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90" name="Freeform 523">
            <a:extLst>
              <a:ext uri="{FF2B5EF4-FFF2-40B4-BE49-F238E27FC236}">
                <a16:creationId xmlns="" xmlns:a16="http://schemas.microsoft.com/office/drawing/2014/main" id="{D8CE794C-7E09-48C0-AD5F-A35B68526A9A}"/>
              </a:ext>
            </a:extLst>
          </p:cNvPr>
          <p:cNvSpPr>
            <a:spLocks/>
          </p:cNvSpPr>
          <p:nvPr>
            <p:custDataLst>
              <p:tags r:id="rId360"/>
            </p:custDataLst>
          </p:nvPr>
        </p:nvSpPr>
        <p:spPr bwMode="auto">
          <a:xfrm>
            <a:off x="7698966" y="2677562"/>
            <a:ext cx="239798" cy="277325"/>
          </a:xfrm>
          <a:custGeom>
            <a:avLst/>
            <a:gdLst>
              <a:gd name="T0" fmla="*/ 26 w 459"/>
              <a:gd name="T1" fmla="*/ 45 h 511"/>
              <a:gd name="T2" fmla="*/ 12 w 459"/>
              <a:gd name="T3" fmla="*/ 25 h 511"/>
              <a:gd name="T4" fmla="*/ 0 w 459"/>
              <a:gd name="T5" fmla="*/ 0 h 511"/>
              <a:gd name="T6" fmla="*/ 22 w 459"/>
              <a:gd name="T7" fmla="*/ 7 h 511"/>
              <a:gd name="T8" fmla="*/ 33 w 459"/>
              <a:gd name="T9" fmla="*/ 6 h 511"/>
              <a:gd name="T10" fmla="*/ 95 w 459"/>
              <a:gd name="T11" fmla="*/ 67 h 511"/>
              <a:gd name="T12" fmla="*/ 146 w 459"/>
              <a:gd name="T13" fmla="*/ 123 h 511"/>
              <a:gd name="T14" fmla="*/ 216 w 459"/>
              <a:gd name="T15" fmla="*/ 198 h 511"/>
              <a:gd name="T16" fmla="*/ 258 w 459"/>
              <a:gd name="T17" fmla="*/ 237 h 511"/>
              <a:gd name="T18" fmla="*/ 303 w 459"/>
              <a:gd name="T19" fmla="*/ 266 h 511"/>
              <a:gd name="T20" fmla="*/ 372 w 459"/>
              <a:gd name="T21" fmla="*/ 311 h 511"/>
              <a:gd name="T22" fmla="*/ 398 w 459"/>
              <a:gd name="T23" fmla="*/ 336 h 511"/>
              <a:gd name="T24" fmla="*/ 365 w 459"/>
              <a:gd name="T25" fmla="*/ 320 h 511"/>
              <a:gd name="T26" fmla="*/ 324 w 459"/>
              <a:gd name="T27" fmla="*/ 296 h 511"/>
              <a:gd name="T28" fmla="*/ 314 w 459"/>
              <a:gd name="T29" fmla="*/ 298 h 511"/>
              <a:gd name="T30" fmla="*/ 313 w 459"/>
              <a:gd name="T31" fmla="*/ 311 h 511"/>
              <a:gd name="T32" fmla="*/ 317 w 459"/>
              <a:gd name="T33" fmla="*/ 337 h 511"/>
              <a:gd name="T34" fmla="*/ 326 w 459"/>
              <a:gd name="T35" fmla="*/ 358 h 511"/>
              <a:gd name="T36" fmla="*/ 348 w 459"/>
              <a:gd name="T37" fmla="*/ 387 h 511"/>
              <a:gd name="T38" fmla="*/ 394 w 459"/>
              <a:gd name="T39" fmla="*/ 421 h 511"/>
              <a:gd name="T40" fmla="*/ 440 w 459"/>
              <a:gd name="T41" fmla="*/ 458 h 511"/>
              <a:gd name="T42" fmla="*/ 448 w 459"/>
              <a:gd name="T43" fmla="*/ 476 h 511"/>
              <a:gd name="T44" fmla="*/ 428 w 459"/>
              <a:gd name="T45" fmla="*/ 469 h 511"/>
              <a:gd name="T46" fmla="*/ 392 w 459"/>
              <a:gd name="T47" fmla="*/ 462 h 511"/>
              <a:gd name="T48" fmla="*/ 393 w 459"/>
              <a:gd name="T49" fmla="*/ 494 h 511"/>
              <a:gd name="T50" fmla="*/ 398 w 459"/>
              <a:gd name="T51" fmla="*/ 511 h 511"/>
              <a:gd name="T52" fmla="*/ 388 w 459"/>
              <a:gd name="T53" fmla="*/ 492 h 511"/>
              <a:gd name="T54" fmla="*/ 363 w 459"/>
              <a:gd name="T55" fmla="*/ 466 h 511"/>
              <a:gd name="T56" fmla="*/ 343 w 459"/>
              <a:gd name="T57" fmla="*/ 445 h 511"/>
              <a:gd name="T58" fmla="*/ 339 w 459"/>
              <a:gd name="T59" fmla="*/ 431 h 511"/>
              <a:gd name="T60" fmla="*/ 328 w 459"/>
              <a:gd name="T61" fmla="*/ 411 h 511"/>
              <a:gd name="T62" fmla="*/ 310 w 459"/>
              <a:gd name="T63" fmla="*/ 384 h 511"/>
              <a:gd name="T64" fmla="*/ 298 w 459"/>
              <a:gd name="T65" fmla="*/ 367 h 511"/>
              <a:gd name="T66" fmla="*/ 280 w 459"/>
              <a:gd name="T67" fmla="*/ 358 h 511"/>
              <a:gd name="T68" fmla="*/ 264 w 459"/>
              <a:gd name="T69" fmla="*/ 343 h 511"/>
              <a:gd name="T70" fmla="*/ 249 w 459"/>
              <a:gd name="T71" fmla="*/ 314 h 511"/>
              <a:gd name="T72" fmla="*/ 245 w 459"/>
              <a:gd name="T73" fmla="*/ 293 h 511"/>
              <a:gd name="T74" fmla="*/ 234 w 459"/>
              <a:gd name="T75" fmla="*/ 281 h 511"/>
              <a:gd name="T76" fmla="*/ 194 w 459"/>
              <a:gd name="T77" fmla="*/ 244 h 511"/>
              <a:gd name="T78" fmla="*/ 171 w 459"/>
              <a:gd name="T79" fmla="*/ 220 h 511"/>
              <a:gd name="T80" fmla="*/ 163 w 459"/>
              <a:gd name="T81" fmla="*/ 203 h 511"/>
              <a:gd name="T82" fmla="*/ 154 w 459"/>
              <a:gd name="T83" fmla="*/ 187 h 511"/>
              <a:gd name="T84" fmla="*/ 115 w 459"/>
              <a:gd name="T85" fmla="*/ 155 h 511"/>
              <a:gd name="T86" fmla="*/ 70 w 459"/>
              <a:gd name="T87" fmla="*/ 130 h 511"/>
              <a:gd name="T88" fmla="*/ 47 w 459"/>
              <a:gd name="T89" fmla="*/ 110 h 511"/>
              <a:gd name="T90" fmla="*/ 38 w 459"/>
              <a:gd name="T91" fmla="*/ 93 h 511"/>
              <a:gd name="T92" fmla="*/ 34 w 459"/>
              <a:gd name="T93" fmla="*/ 75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grpSp>
        <p:nvGrpSpPr>
          <p:cNvPr id="491" name="Group 524">
            <a:extLst>
              <a:ext uri="{FF2B5EF4-FFF2-40B4-BE49-F238E27FC236}">
                <a16:creationId xmlns="" xmlns:a16="http://schemas.microsoft.com/office/drawing/2014/main" id="{73DD4D5B-CAC7-4304-9C4C-AE7E6AF33891}"/>
              </a:ext>
            </a:extLst>
          </p:cNvPr>
          <p:cNvGrpSpPr>
            <a:grpSpLocks/>
          </p:cNvGrpSpPr>
          <p:nvPr>
            <p:custDataLst>
              <p:tags r:id="rId361"/>
            </p:custDataLst>
          </p:nvPr>
        </p:nvGrpSpPr>
        <p:grpSpPr bwMode="auto">
          <a:xfrm>
            <a:off x="6225371" y="2631614"/>
            <a:ext cx="818020" cy="397116"/>
            <a:chOff x="4115" y="1551"/>
            <a:chExt cx="504" cy="244"/>
          </a:xfrm>
        </p:grpSpPr>
        <p:sp>
          <p:nvSpPr>
            <p:cNvPr id="518" name="Freeform 525">
              <a:extLst>
                <a:ext uri="{FF2B5EF4-FFF2-40B4-BE49-F238E27FC236}">
                  <a16:creationId xmlns="" xmlns:a16="http://schemas.microsoft.com/office/drawing/2014/main" id="{30B66078-0A09-47B8-9D83-5C34C447A7B1}"/>
                </a:ext>
              </a:extLst>
            </p:cNvPr>
            <p:cNvSpPr>
              <a:spLocks/>
            </p:cNvSpPr>
            <p:nvPr/>
          </p:nvSpPr>
          <p:spPr bwMode="auto">
            <a:xfrm>
              <a:off x="4540" y="1551"/>
              <a:ext cx="79" cy="86"/>
            </a:xfrm>
            <a:custGeom>
              <a:avLst/>
              <a:gdLst>
                <a:gd name="T0" fmla="*/ 13 w 240"/>
                <a:gd name="T1" fmla="*/ 247 h 259"/>
                <a:gd name="T2" fmla="*/ 79 w 240"/>
                <a:gd name="T3" fmla="*/ 259 h 259"/>
                <a:gd name="T4" fmla="*/ 120 w 240"/>
                <a:gd name="T5" fmla="*/ 240 h 259"/>
                <a:gd name="T6" fmla="*/ 133 w 240"/>
                <a:gd name="T7" fmla="*/ 210 h 259"/>
                <a:gd name="T8" fmla="*/ 192 w 240"/>
                <a:gd name="T9" fmla="*/ 161 h 259"/>
                <a:gd name="T10" fmla="*/ 212 w 240"/>
                <a:gd name="T11" fmla="*/ 111 h 259"/>
                <a:gd name="T12" fmla="*/ 240 w 240"/>
                <a:gd name="T13" fmla="*/ 26 h 259"/>
                <a:gd name="T14" fmla="*/ 212 w 240"/>
                <a:gd name="T15" fmla="*/ 0 h 259"/>
                <a:gd name="T16" fmla="*/ 206 w 240"/>
                <a:gd name="T17" fmla="*/ 32 h 259"/>
                <a:gd name="T18" fmla="*/ 199 w 240"/>
                <a:gd name="T19" fmla="*/ 74 h 259"/>
                <a:gd name="T20" fmla="*/ 166 w 240"/>
                <a:gd name="T21" fmla="*/ 105 h 259"/>
                <a:gd name="T22" fmla="*/ 133 w 240"/>
                <a:gd name="T23" fmla="*/ 149 h 259"/>
                <a:gd name="T24" fmla="*/ 113 w 240"/>
                <a:gd name="T25" fmla="*/ 179 h 259"/>
                <a:gd name="T26" fmla="*/ 93 w 240"/>
                <a:gd name="T27" fmla="*/ 216 h 259"/>
                <a:gd name="T28" fmla="*/ 20 w 240"/>
                <a:gd name="T29" fmla="*/ 222 h 259"/>
                <a:gd name="T30" fmla="*/ 0 w 240"/>
                <a:gd name="T31" fmla="*/ 222 h 259"/>
                <a:gd name="T32" fmla="*/ 13 w 240"/>
                <a:gd name="T33" fmla="*/ 24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endParaRPr lang="en-GB" dirty="0"/>
            </a:p>
          </p:txBody>
        </p:sp>
        <p:sp>
          <p:nvSpPr>
            <p:cNvPr id="519" name="Freeform 526">
              <a:extLst>
                <a:ext uri="{FF2B5EF4-FFF2-40B4-BE49-F238E27FC236}">
                  <a16:creationId xmlns="" xmlns:a16="http://schemas.microsoft.com/office/drawing/2014/main" id="{8D0E37BC-64BD-40B4-B8B2-24152E2FA92E}"/>
                </a:ext>
              </a:extLst>
            </p:cNvPr>
            <p:cNvSpPr>
              <a:spLocks/>
            </p:cNvSpPr>
            <p:nvPr/>
          </p:nvSpPr>
          <p:spPr bwMode="auto">
            <a:xfrm>
              <a:off x="4115" y="1761"/>
              <a:ext cx="84" cy="34"/>
            </a:xfrm>
            <a:custGeom>
              <a:avLst/>
              <a:gdLst>
                <a:gd name="T0" fmla="*/ 33 w 259"/>
                <a:gd name="T1" fmla="*/ 104 h 104"/>
                <a:gd name="T2" fmla="*/ 26 w 259"/>
                <a:gd name="T3" fmla="*/ 86 h 104"/>
                <a:gd name="T4" fmla="*/ 52 w 259"/>
                <a:gd name="T5" fmla="*/ 62 h 104"/>
                <a:gd name="T6" fmla="*/ 72 w 259"/>
                <a:gd name="T7" fmla="*/ 49 h 104"/>
                <a:gd name="T8" fmla="*/ 126 w 259"/>
                <a:gd name="T9" fmla="*/ 43 h 104"/>
                <a:gd name="T10" fmla="*/ 172 w 259"/>
                <a:gd name="T11" fmla="*/ 43 h 104"/>
                <a:gd name="T12" fmla="*/ 246 w 259"/>
                <a:gd name="T13" fmla="*/ 31 h 104"/>
                <a:gd name="T14" fmla="*/ 259 w 259"/>
                <a:gd name="T15" fmla="*/ 7 h 104"/>
                <a:gd name="T16" fmla="*/ 246 w 259"/>
                <a:gd name="T17" fmla="*/ 0 h 104"/>
                <a:gd name="T18" fmla="*/ 205 w 259"/>
                <a:gd name="T19" fmla="*/ 13 h 104"/>
                <a:gd name="T20" fmla="*/ 152 w 259"/>
                <a:gd name="T21" fmla="*/ 7 h 104"/>
                <a:gd name="T22" fmla="*/ 106 w 259"/>
                <a:gd name="T23" fmla="*/ 13 h 104"/>
                <a:gd name="T24" fmla="*/ 52 w 259"/>
                <a:gd name="T25" fmla="*/ 19 h 104"/>
                <a:gd name="T26" fmla="*/ 26 w 259"/>
                <a:gd name="T27" fmla="*/ 43 h 104"/>
                <a:gd name="T28" fmla="*/ 0 w 259"/>
                <a:gd name="T29" fmla="*/ 68 h 104"/>
                <a:gd name="T30" fmla="*/ 0 w 259"/>
                <a:gd name="T31" fmla="*/ 104 h 104"/>
                <a:gd name="T32" fmla="*/ 33 w 259"/>
                <a:gd name="T3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endParaRPr lang="en-GB" dirty="0"/>
            </a:p>
          </p:txBody>
        </p:sp>
      </p:grpSp>
      <p:sp>
        <p:nvSpPr>
          <p:cNvPr id="492" name="Freeform 527">
            <a:extLst>
              <a:ext uri="{FF2B5EF4-FFF2-40B4-BE49-F238E27FC236}">
                <a16:creationId xmlns="" xmlns:a16="http://schemas.microsoft.com/office/drawing/2014/main" id="{B314AEB2-8BF8-4E15-8469-687C7C77F00B}"/>
              </a:ext>
            </a:extLst>
          </p:cNvPr>
          <p:cNvSpPr>
            <a:spLocks/>
          </p:cNvSpPr>
          <p:nvPr>
            <p:custDataLst>
              <p:tags r:id="rId362"/>
            </p:custDataLst>
          </p:nvPr>
        </p:nvSpPr>
        <p:spPr bwMode="auto">
          <a:xfrm>
            <a:off x="5076663" y="3406155"/>
            <a:ext cx="645907" cy="528394"/>
          </a:xfrm>
          <a:custGeom>
            <a:avLst/>
            <a:gdLst>
              <a:gd name="T0" fmla="*/ 932 w 1227"/>
              <a:gd name="T1" fmla="*/ 466 h 979"/>
              <a:gd name="T2" fmla="*/ 932 w 1227"/>
              <a:gd name="T3" fmla="*/ 442 h 979"/>
              <a:gd name="T4" fmla="*/ 930 w 1227"/>
              <a:gd name="T5" fmla="*/ 412 h 979"/>
              <a:gd name="T6" fmla="*/ 908 w 1227"/>
              <a:gd name="T7" fmla="*/ 385 h 979"/>
              <a:gd name="T8" fmla="*/ 899 w 1227"/>
              <a:gd name="T9" fmla="*/ 367 h 979"/>
              <a:gd name="T10" fmla="*/ 817 w 1227"/>
              <a:gd name="T11" fmla="*/ 312 h 979"/>
              <a:gd name="T12" fmla="*/ 759 w 1227"/>
              <a:gd name="T13" fmla="*/ 263 h 979"/>
              <a:gd name="T14" fmla="*/ 752 w 1227"/>
              <a:gd name="T15" fmla="*/ 229 h 979"/>
              <a:gd name="T16" fmla="*/ 726 w 1227"/>
              <a:gd name="T17" fmla="*/ 218 h 979"/>
              <a:gd name="T18" fmla="*/ 695 w 1227"/>
              <a:gd name="T19" fmla="*/ 207 h 979"/>
              <a:gd name="T20" fmla="*/ 638 w 1227"/>
              <a:gd name="T21" fmla="*/ 196 h 979"/>
              <a:gd name="T22" fmla="*/ 596 w 1227"/>
              <a:gd name="T23" fmla="*/ 201 h 979"/>
              <a:gd name="T24" fmla="*/ 570 w 1227"/>
              <a:gd name="T25" fmla="*/ 204 h 979"/>
              <a:gd name="T26" fmla="*/ 530 w 1227"/>
              <a:gd name="T27" fmla="*/ 195 h 979"/>
              <a:gd name="T28" fmla="*/ 505 w 1227"/>
              <a:gd name="T29" fmla="*/ 179 h 979"/>
              <a:gd name="T30" fmla="*/ 483 w 1227"/>
              <a:gd name="T31" fmla="*/ 128 h 979"/>
              <a:gd name="T32" fmla="*/ 465 w 1227"/>
              <a:gd name="T33" fmla="*/ 103 h 979"/>
              <a:gd name="T34" fmla="*/ 432 w 1227"/>
              <a:gd name="T35" fmla="*/ 81 h 979"/>
              <a:gd name="T36" fmla="*/ 365 w 1227"/>
              <a:gd name="T37" fmla="*/ 61 h 979"/>
              <a:gd name="T38" fmla="*/ 303 w 1227"/>
              <a:gd name="T39" fmla="*/ 32 h 979"/>
              <a:gd name="T40" fmla="*/ 214 w 1227"/>
              <a:gd name="T41" fmla="*/ 10 h 979"/>
              <a:gd name="T42" fmla="*/ 166 w 1227"/>
              <a:gd name="T43" fmla="*/ 38 h 979"/>
              <a:gd name="T44" fmla="*/ 151 w 1227"/>
              <a:gd name="T45" fmla="*/ 61 h 979"/>
              <a:gd name="T46" fmla="*/ 153 w 1227"/>
              <a:gd name="T47" fmla="*/ 90 h 979"/>
              <a:gd name="T48" fmla="*/ 169 w 1227"/>
              <a:gd name="T49" fmla="*/ 118 h 979"/>
              <a:gd name="T50" fmla="*/ 151 w 1227"/>
              <a:gd name="T51" fmla="*/ 150 h 979"/>
              <a:gd name="T52" fmla="*/ 95 w 1227"/>
              <a:gd name="T53" fmla="*/ 186 h 979"/>
              <a:gd name="T54" fmla="*/ 54 w 1227"/>
              <a:gd name="T55" fmla="*/ 190 h 979"/>
              <a:gd name="T56" fmla="*/ 9 w 1227"/>
              <a:gd name="T57" fmla="*/ 183 h 979"/>
              <a:gd name="T58" fmla="*/ 0 w 1227"/>
              <a:gd name="T59" fmla="*/ 236 h 979"/>
              <a:gd name="T60" fmla="*/ 9 w 1227"/>
              <a:gd name="T61" fmla="*/ 269 h 979"/>
              <a:gd name="T62" fmla="*/ 25 w 1227"/>
              <a:gd name="T63" fmla="*/ 282 h 979"/>
              <a:gd name="T64" fmla="*/ 40 w 1227"/>
              <a:gd name="T65" fmla="*/ 307 h 979"/>
              <a:gd name="T66" fmla="*/ 83 w 1227"/>
              <a:gd name="T67" fmla="*/ 364 h 979"/>
              <a:gd name="T68" fmla="*/ 102 w 1227"/>
              <a:gd name="T69" fmla="*/ 414 h 979"/>
              <a:gd name="T70" fmla="*/ 121 w 1227"/>
              <a:gd name="T71" fmla="*/ 427 h 979"/>
              <a:gd name="T72" fmla="*/ 133 w 1227"/>
              <a:gd name="T73" fmla="*/ 438 h 979"/>
              <a:gd name="T74" fmla="*/ 148 w 1227"/>
              <a:gd name="T75" fmla="*/ 469 h 979"/>
              <a:gd name="T76" fmla="*/ 224 w 1227"/>
              <a:gd name="T77" fmla="*/ 546 h 979"/>
              <a:gd name="T78" fmla="*/ 249 w 1227"/>
              <a:gd name="T79" fmla="*/ 585 h 979"/>
              <a:gd name="T80" fmla="*/ 256 w 1227"/>
              <a:gd name="T81" fmla="*/ 624 h 979"/>
              <a:gd name="T82" fmla="*/ 266 w 1227"/>
              <a:gd name="T83" fmla="*/ 659 h 979"/>
              <a:gd name="T84" fmla="*/ 299 w 1227"/>
              <a:gd name="T85" fmla="*/ 701 h 979"/>
              <a:gd name="T86" fmla="*/ 361 w 1227"/>
              <a:gd name="T87" fmla="*/ 761 h 979"/>
              <a:gd name="T88" fmla="*/ 388 w 1227"/>
              <a:gd name="T89" fmla="*/ 814 h 979"/>
              <a:gd name="T90" fmla="*/ 425 w 1227"/>
              <a:gd name="T91" fmla="*/ 867 h 979"/>
              <a:gd name="T92" fmla="*/ 483 w 1227"/>
              <a:gd name="T93" fmla="*/ 938 h 979"/>
              <a:gd name="T94" fmla="*/ 528 w 1227"/>
              <a:gd name="T95" fmla="*/ 979 h 979"/>
              <a:gd name="T96" fmla="*/ 543 w 1227"/>
              <a:gd name="T97" fmla="*/ 953 h 979"/>
              <a:gd name="T98" fmla="*/ 546 w 1227"/>
              <a:gd name="T99" fmla="*/ 909 h 979"/>
              <a:gd name="T100" fmla="*/ 570 w 1227"/>
              <a:gd name="T101" fmla="*/ 896 h 979"/>
              <a:gd name="T102" fmla="*/ 605 w 1227"/>
              <a:gd name="T103" fmla="*/ 895 h 979"/>
              <a:gd name="T104" fmla="*/ 660 w 1227"/>
              <a:gd name="T105" fmla="*/ 909 h 979"/>
              <a:gd name="T106" fmla="*/ 708 w 1227"/>
              <a:gd name="T107" fmla="*/ 943 h 979"/>
              <a:gd name="T108" fmla="*/ 787 w 1227"/>
              <a:gd name="T109" fmla="*/ 838 h 979"/>
              <a:gd name="T110" fmla="*/ 1199 w 1227"/>
              <a:gd name="T111" fmla="*/ 567 h 979"/>
              <a:gd name="T112" fmla="*/ 940 w 1227"/>
              <a:gd name="T113" fmla="*/ 468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93" name="Freeform 528">
            <a:extLst>
              <a:ext uri="{FF2B5EF4-FFF2-40B4-BE49-F238E27FC236}">
                <a16:creationId xmlns="" xmlns:a16="http://schemas.microsoft.com/office/drawing/2014/main" id="{BEA969EB-D9F4-4D44-9B6A-539F211E2EE3}"/>
              </a:ext>
            </a:extLst>
          </p:cNvPr>
          <p:cNvSpPr>
            <a:spLocks/>
          </p:cNvSpPr>
          <p:nvPr>
            <p:custDataLst>
              <p:tags r:id="rId363"/>
            </p:custDataLst>
          </p:nvPr>
        </p:nvSpPr>
        <p:spPr bwMode="auto">
          <a:xfrm>
            <a:off x="4436558" y="2935195"/>
            <a:ext cx="69619" cy="59076"/>
          </a:xfrm>
          <a:custGeom>
            <a:avLst/>
            <a:gdLst>
              <a:gd name="T0" fmla="*/ 146 w 146"/>
              <a:gd name="T1" fmla="*/ 18 h 81"/>
              <a:gd name="T2" fmla="*/ 138 w 146"/>
              <a:gd name="T3" fmla="*/ 24 h 81"/>
              <a:gd name="T4" fmla="*/ 130 w 146"/>
              <a:gd name="T5" fmla="*/ 29 h 81"/>
              <a:gd name="T6" fmla="*/ 123 w 146"/>
              <a:gd name="T7" fmla="*/ 35 h 81"/>
              <a:gd name="T8" fmla="*/ 118 w 146"/>
              <a:gd name="T9" fmla="*/ 41 h 81"/>
              <a:gd name="T10" fmla="*/ 108 w 146"/>
              <a:gd name="T11" fmla="*/ 53 h 81"/>
              <a:gd name="T12" fmla="*/ 98 w 146"/>
              <a:gd name="T13" fmla="*/ 64 h 81"/>
              <a:gd name="T14" fmla="*/ 93 w 146"/>
              <a:gd name="T15" fmla="*/ 69 h 81"/>
              <a:gd name="T16" fmla="*/ 85 w 146"/>
              <a:gd name="T17" fmla="*/ 73 h 81"/>
              <a:gd name="T18" fmla="*/ 76 w 146"/>
              <a:gd name="T19" fmla="*/ 77 h 81"/>
              <a:gd name="T20" fmla="*/ 66 w 146"/>
              <a:gd name="T21" fmla="*/ 80 h 81"/>
              <a:gd name="T22" fmla="*/ 53 w 146"/>
              <a:gd name="T23" fmla="*/ 81 h 81"/>
              <a:gd name="T24" fmla="*/ 39 w 146"/>
              <a:gd name="T25" fmla="*/ 80 h 81"/>
              <a:gd name="T26" fmla="*/ 21 w 146"/>
              <a:gd name="T27" fmla="*/ 77 h 81"/>
              <a:gd name="T28" fmla="*/ 0 w 146"/>
              <a:gd name="T29" fmla="*/ 74 h 81"/>
              <a:gd name="T30" fmla="*/ 0 w 146"/>
              <a:gd name="T31" fmla="*/ 62 h 81"/>
              <a:gd name="T32" fmla="*/ 0 w 146"/>
              <a:gd name="T33" fmla="*/ 49 h 81"/>
              <a:gd name="T34" fmla="*/ 0 w 146"/>
              <a:gd name="T35" fmla="*/ 34 h 81"/>
              <a:gd name="T36" fmla="*/ 0 w 146"/>
              <a:gd name="T37" fmla="*/ 18 h 81"/>
              <a:gd name="T38" fmla="*/ 14 w 146"/>
              <a:gd name="T39" fmla="*/ 18 h 81"/>
              <a:gd name="T40" fmla="*/ 22 w 146"/>
              <a:gd name="T41" fmla="*/ 18 h 81"/>
              <a:gd name="T42" fmla="*/ 31 w 146"/>
              <a:gd name="T43" fmla="*/ 18 h 81"/>
              <a:gd name="T44" fmla="*/ 40 w 146"/>
              <a:gd name="T45" fmla="*/ 18 h 81"/>
              <a:gd name="T46" fmla="*/ 52 w 146"/>
              <a:gd name="T47" fmla="*/ 18 h 81"/>
              <a:gd name="T48" fmla="*/ 63 w 146"/>
              <a:gd name="T49" fmla="*/ 16 h 81"/>
              <a:gd name="T50" fmla="*/ 73 w 146"/>
              <a:gd name="T51" fmla="*/ 14 h 81"/>
              <a:gd name="T52" fmla="*/ 83 w 146"/>
              <a:gd name="T53" fmla="*/ 11 h 81"/>
              <a:gd name="T54" fmla="*/ 101 w 146"/>
              <a:gd name="T55" fmla="*/ 5 h 81"/>
              <a:gd name="T56" fmla="*/ 120 w 146"/>
              <a:gd name="T57" fmla="*/ 0 h 81"/>
              <a:gd name="T58" fmla="*/ 129 w 146"/>
              <a:gd name="T59" fmla="*/ 4 h 81"/>
              <a:gd name="T60" fmla="*/ 135 w 146"/>
              <a:gd name="T61" fmla="*/ 9 h 81"/>
              <a:gd name="T62" fmla="*/ 141 w 146"/>
              <a:gd name="T63" fmla="*/ 14 h 81"/>
              <a:gd name="T64" fmla="*/ 146 w 146"/>
              <a:gd name="T65" fmla="*/ 1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solidFill>
                <a:schemeClr val="tx1"/>
              </a:solidFill>
            </a:endParaRPr>
          </a:p>
        </p:txBody>
      </p:sp>
      <p:sp>
        <p:nvSpPr>
          <p:cNvPr id="494" name="Freeform 529">
            <a:extLst>
              <a:ext uri="{FF2B5EF4-FFF2-40B4-BE49-F238E27FC236}">
                <a16:creationId xmlns="" xmlns:a16="http://schemas.microsoft.com/office/drawing/2014/main" id="{64A01415-6B96-4392-9804-6B9A9B064854}"/>
              </a:ext>
            </a:extLst>
          </p:cNvPr>
          <p:cNvSpPr>
            <a:spLocks/>
          </p:cNvSpPr>
          <p:nvPr>
            <p:custDataLst>
              <p:tags r:id="rId364"/>
            </p:custDataLst>
          </p:nvPr>
        </p:nvSpPr>
        <p:spPr bwMode="auto">
          <a:xfrm>
            <a:off x="4119406" y="3155086"/>
            <a:ext cx="19338" cy="59076"/>
          </a:xfrm>
          <a:custGeom>
            <a:avLst/>
            <a:gdLst>
              <a:gd name="T0" fmla="*/ 34 w 34"/>
              <a:gd name="T1" fmla="*/ 49 h 49"/>
              <a:gd name="T2" fmla="*/ 34 w 34"/>
              <a:gd name="T3" fmla="*/ 34 h 49"/>
              <a:gd name="T4" fmla="*/ 34 w 34"/>
              <a:gd name="T5" fmla="*/ 25 h 49"/>
              <a:gd name="T6" fmla="*/ 33 w 34"/>
              <a:gd name="T7" fmla="*/ 21 h 49"/>
              <a:gd name="T8" fmla="*/ 33 w 34"/>
              <a:gd name="T9" fmla="*/ 17 h 49"/>
              <a:gd name="T10" fmla="*/ 31 w 34"/>
              <a:gd name="T11" fmla="*/ 15 h 49"/>
              <a:gd name="T12" fmla="*/ 30 w 34"/>
              <a:gd name="T13" fmla="*/ 12 h 49"/>
              <a:gd name="T14" fmla="*/ 25 w 34"/>
              <a:gd name="T15" fmla="*/ 8 h 49"/>
              <a:gd name="T16" fmla="*/ 21 w 34"/>
              <a:gd name="T17" fmla="*/ 0 h 49"/>
              <a:gd name="T18" fmla="*/ 8 w 34"/>
              <a:gd name="T19" fmla="*/ 0 h 49"/>
              <a:gd name="T20" fmla="*/ 0 w 34"/>
              <a:gd name="T21" fmla="*/ 0 h 49"/>
              <a:gd name="T22" fmla="*/ 3 w 34"/>
              <a:gd name="T23" fmla="*/ 11 h 49"/>
              <a:gd name="T24" fmla="*/ 7 w 34"/>
              <a:gd name="T25" fmla="*/ 20 h 49"/>
              <a:gd name="T26" fmla="*/ 10 w 34"/>
              <a:gd name="T27" fmla="*/ 27 h 49"/>
              <a:gd name="T28" fmla="*/ 14 w 34"/>
              <a:gd name="T29" fmla="*/ 34 h 49"/>
              <a:gd name="T30" fmla="*/ 19 w 34"/>
              <a:gd name="T31" fmla="*/ 39 h 49"/>
              <a:gd name="T32" fmla="*/ 24 w 34"/>
              <a:gd name="T33" fmla="*/ 43 h 49"/>
              <a:gd name="T34" fmla="*/ 29 w 34"/>
              <a:gd name="T35" fmla="*/ 46 h 49"/>
              <a:gd name="T36" fmla="*/ 34 w 34"/>
              <a:gd name="T3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95" name="Freeform 530">
            <a:extLst>
              <a:ext uri="{FF2B5EF4-FFF2-40B4-BE49-F238E27FC236}">
                <a16:creationId xmlns="" xmlns:a16="http://schemas.microsoft.com/office/drawing/2014/main" id="{DD638731-C058-42F3-BCB1-BCF378FFC7C2}"/>
              </a:ext>
            </a:extLst>
          </p:cNvPr>
          <p:cNvSpPr>
            <a:spLocks/>
          </p:cNvSpPr>
          <p:nvPr>
            <p:custDataLst>
              <p:tags r:id="rId365"/>
            </p:custDataLst>
          </p:nvPr>
        </p:nvSpPr>
        <p:spPr bwMode="auto">
          <a:xfrm>
            <a:off x="3622406" y="3512818"/>
            <a:ext cx="34809" cy="59076"/>
          </a:xfrm>
          <a:custGeom>
            <a:avLst/>
            <a:gdLst>
              <a:gd name="T0" fmla="*/ 60 w 60"/>
              <a:gd name="T1" fmla="*/ 0 h 74"/>
              <a:gd name="T2" fmla="*/ 56 w 60"/>
              <a:gd name="T3" fmla="*/ 4 h 74"/>
              <a:gd name="T4" fmla="*/ 51 w 60"/>
              <a:gd name="T5" fmla="*/ 10 h 74"/>
              <a:gd name="T6" fmla="*/ 48 w 60"/>
              <a:gd name="T7" fmla="*/ 15 h 74"/>
              <a:gd name="T8" fmla="*/ 46 w 60"/>
              <a:gd name="T9" fmla="*/ 21 h 74"/>
              <a:gd name="T10" fmla="*/ 41 w 60"/>
              <a:gd name="T11" fmla="*/ 31 h 74"/>
              <a:gd name="T12" fmla="*/ 37 w 60"/>
              <a:gd name="T13" fmla="*/ 42 h 74"/>
              <a:gd name="T14" fmla="*/ 35 w 60"/>
              <a:gd name="T15" fmla="*/ 47 h 74"/>
              <a:gd name="T16" fmla="*/ 32 w 60"/>
              <a:gd name="T17" fmla="*/ 51 h 74"/>
              <a:gd name="T18" fmla="*/ 29 w 60"/>
              <a:gd name="T19" fmla="*/ 56 h 74"/>
              <a:gd name="T20" fmla="*/ 25 w 60"/>
              <a:gd name="T21" fmla="*/ 60 h 74"/>
              <a:gd name="T22" fmla="*/ 20 w 60"/>
              <a:gd name="T23" fmla="*/ 65 h 74"/>
              <a:gd name="T24" fmla="*/ 15 w 60"/>
              <a:gd name="T25" fmla="*/ 69 h 74"/>
              <a:gd name="T26" fmla="*/ 8 w 60"/>
              <a:gd name="T27" fmla="*/ 72 h 74"/>
              <a:gd name="T28" fmla="*/ 0 w 60"/>
              <a:gd name="T29" fmla="*/ 74 h 74"/>
              <a:gd name="T30" fmla="*/ 5 w 60"/>
              <a:gd name="T31" fmla="*/ 60 h 74"/>
              <a:gd name="T32" fmla="*/ 12 w 60"/>
              <a:gd name="T33" fmla="*/ 47 h 74"/>
              <a:gd name="T34" fmla="*/ 19 w 60"/>
              <a:gd name="T35" fmla="*/ 34 h 74"/>
              <a:gd name="T36" fmla="*/ 27 w 60"/>
              <a:gd name="T37" fmla="*/ 23 h 74"/>
              <a:gd name="T38" fmla="*/ 36 w 60"/>
              <a:gd name="T39" fmla="*/ 14 h 74"/>
              <a:gd name="T40" fmla="*/ 43 w 60"/>
              <a:gd name="T41" fmla="*/ 6 h 74"/>
              <a:gd name="T42" fmla="*/ 48 w 60"/>
              <a:gd name="T43" fmla="*/ 3 h 74"/>
              <a:gd name="T44" fmla="*/ 52 w 60"/>
              <a:gd name="T45" fmla="*/ 1 h 74"/>
              <a:gd name="T46" fmla="*/ 56 w 60"/>
              <a:gd name="T47" fmla="*/ 0 h 74"/>
              <a:gd name="T48" fmla="*/ 60 w 60"/>
              <a:gd name="T4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96" name="Freeform 531">
            <a:extLst>
              <a:ext uri="{FF2B5EF4-FFF2-40B4-BE49-F238E27FC236}">
                <a16:creationId xmlns="" xmlns:a16="http://schemas.microsoft.com/office/drawing/2014/main" id="{E5AACF7F-85BD-4928-8901-71113DF4D0D1}"/>
              </a:ext>
            </a:extLst>
          </p:cNvPr>
          <p:cNvSpPr>
            <a:spLocks/>
          </p:cNvSpPr>
          <p:nvPr>
            <p:custDataLst>
              <p:tags r:id="rId366"/>
            </p:custDataLst>
          </p:nvPr>
        </p:nvSpPr>
        <p:spPr bwMode="auto">
          <a:xfrm>
            <a:off x="3550854" y="3529228"/>
            <a:ext cx="29008" cy="62357"/>
          </a:xfrm>
          <a:custGeom>
            <a:avLst/>
            <a:gdLst>
              <a:gd name="T0" fmla="*/ 13 w 47"/>
              <a:gd name="T1" fmla="*/ 8 h 45"/>
              <a:gd name="T2" fmla="*/ 22 w 47"/>
              <a:gd name="T3" fmla="*/ 8 h 45"/>
              <a:gd name="T4" fmla="*/ 28 w 47"/>
              <a:gd name="T5" fmla="*/ 6 h 45"/>
              <a:gd name="T6" fmla="*/ 32 w 47"/>
              <a:gd name="T7" fmla="*/ 5 h 45"/>
              <a:gd name="T8" fmla="*/ 35 w 47"/>
              <a:gd name="T9" fmla="*/ 3 h 45"/>
              <a:gd name="T10" fmla="*/ 37 w 47"/>
              <a:gd name="T11" fmla="*/ 1 h 45"/>
              <a:gd name="T12" fmla="*/ 39 w 47"/>
              <a:gd name="T13" fmla="*/ 0 h 45"/>
              <a:gd name="T14" fmla="*/ 43 w 47"/>
              <a:gd name="T15" fmla="*/ 1 h 45"/>
              <a:gd name="T16" fmla="*/ 47 w 47"/>
              <a:gd name="T17" fmla="*/ 2 h 45"/>
              <a:gd name="T18" fmla="*/ 46 w 47"/>
              <a:gd name="T19" fmla="*/ 7 h 45"/>
              <a:gd name="T20" fmla="*/ 46 w 47"/>
              <a:gd name="T21" fmla="*/ 11 h 45"/>
              <a:gd name="T22" fmla="*/ 44 w 47"/>
              <a:gd name="T23" fmla="*/ 15 h 45"/>
              <a:gd name="T24" fmla="*/ 43 w 47"/>
              <a:gd name="T25" fmla="*/ 19 h 45"/>
              <a:gd name="T26" fmla="*/ 37 w 47"/>
              <a:gd name="T27" fmla="*/ 26 h 45"/>
              <a:gd name="T28" fmla="*/ 30 w 47"/>
              <a:gd name="T29" fmla="*/ 32 h 45"/>
              <a:gd name="T30" fmla="*/ 24 w 47"/>
              <a:gd name="T31" fmla="*/ 38 h 45"/>
              <a:gd name="T32" fmla="*/ 16 w 47"/>
              <a:gd name="T33" fmla="*/ 42 h 45"/>
              <a:gd name="T34" fmla="*/ 7 w 47"/>
              <a:gd name="T35" fmla="*/ 45 h 45"/>
              <a:gd name="T36" fmla="*/ 0 w 47"/>
              <a:gd name="T37" fmla="*/ 45 h 45"/>
              <a:gd name="T38" fmla="*/ 2 w 47"/>
              <a:gd name="T39" fmla="*/ 38 h 45"/>
              <a:gd name="T40" fmla="*/ 6 w 47"/>
              <a:gd name="T41" fmla="*/ 26 h 45"/>
              <a:gd name="T42" fmla="*/ 11 w 47"/>
              <a:gd name="T43" fmla="*/ 15 h 45"/>
              <a:gd name="T44" fmla="*/ 13 w 47"/>
              <a:gd name="T45"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97" name="Freeform 532">
            <a:extLst>
              <a:ext uri="{FF2B5EF4-FFF2-40B4-BE49-F238E27FC236}">
                <a16:creationId xmlns="" xmlns:a16="http://schemas.microsoft.com/office/drawing/2014/main" id="{0CF7547D-AD5A-4426-99A2-AF3FBFB7D712}"/>
              </a:ext>
            </a:extLst>
          </p:cNvPr>
          <p:cNvSpPr>
            <a:spLocks/>
          </p:cNvSpPr>
          <p:nvPr>
            <p:custDataLst>
              <p:tags r:id="rId367"/>
            </p:custDataLst>
          </p:nvPr>
        </p:nvSpPr>
        <p:spPr bwMode="auto">
          <a:xfrm>
            <a:off x="3519912" y="3522664"/>
            <a:ext cx="7735" cy="59076"/>
          </a:xfrm>
          <a:custGeom>
            <a:avLst/>
            <a:gdLst>
              <a:gd name="T0" fmla="*/ 6 w 26"/>
              <a:gd name="T1" fmla="*/ 36 h 36"/>
              <a:gd name="T2" fmla="*/ 5 w 26"/>
              <a:gd name="T3" fmla="*/ 30 h 36"/>
              <a:gd name="T4" fmla="*/ 3 w 26"/>
              <a:gd name="T5" fmla="*/ 20 h 36"/>
              <a:gd name="T6" fmla="*/ 1 w 26"/>
              <a:gd name="T7" fmla="*/ 10 h 36"/>
              <a:gd name="T8" fmla="*/ 0 w 26"/>
              <a:gd name="T9" fmla="*/ 0 h 36"/>
              <a:gd name="T10" fmla="*/ 26 w 26"/>
              <a:gd name="T11" fmla="*/ 0 h 36"/>
              <a:gd name="T12" fmla="*/ 25 w 26"/>
              <a:gd name="T13" fmla="*/ 12 h 36"/>
              <a:gd name="T14" fmla="*/ 24 w 26"/>
              <a:gd name="T15" fmla="*/ 23 h 36"/>
              <a:gd name="T16" fmla="*/ 23 w 26"/>
              <a:gd name="T17" fmla="*/ 27 h 36"/>
              <a:gd name="T18" fmla="*/ 23 w 26"/>
              <a:gd name="T19" fmla="*/ 31 h 36"/>
              <a:gd name="T20" fmla="*/ 24 w 26"/>
              <a:gd name="T21" fmla="*/ 34 h 36"/>
              <a:gd name="T22" fmla="*/ 26 w 26"/>
              <a:gd name="T23" fmla="*/ 36 h 36"/>
              <a:gd name="T24" fmla="*/ 6 w 26"/>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498" name="Freeform 533">
            <a:extLst>
              <a:ext uri="{FF2B5EF4-FFF2-40B4-BE49-F238E27FC236}">
                <a16:creationId xmlns="" xmlns:a16="http://schemas.microsoft.com/office/drawing/2014/main" id="{1ED72DC6-5D9A-4192-A132-1A4F1DCA0C86}"/>
              </a:ext>
            </a:extLst>
          </p:cNvPr>
          <p:cNvSpPr>
            <a:spLocks/>
          </p:cNvSpPr>
          <p:nvPr>
            <p:custDataLst>
              <p:tags r:id="rId368"/>
            </p:custDataLst>
          </p:nvPr>
        </p:nvSpPr>
        <p:spPr bwMode="auto">
          <a:xfrm>
            <a:off x="5068927" y="3242057"/>
            <a:ext cx="212724" cy="164097"/>
          </a:xfrm>
          <a:custGeom>
            <a:avLst/>
            <a:gdLst>
              <a:gd name="T0" fmla="*/ 26 w 405"/>
              <a:gd name="T1" fmla="*/ 162 h 302"/>
              <a:gd name="T2" fmla="*/ 28 w 405"/>
              <a:gd name="T3" fmla="*/ 156 h 302"/>
              <a:gd name="T4" fmla="*/ 30 w 405"/>
              <a:gd name="T5" fmla="*/ 154 h 302"/>
              <a:gd name="T6" fmla="*/ 28 w 405"/>
              <a:gd name="T7" fmla="*/ 151 h 302"/>
              <a:gd name="T8" fmla="*/ 18 w 405"/>
              <a:gd name="T9" fmla="*/ 143 h 302"/>
              <a:gd name="T10" fmla="*/ 6 w 405"/>
              <a:gd name="T11" fmla="*/ 127 h 302"/>
              <a:gd name="T12" fmla="*/ 2 w 405"/>
              <a:gd name="T13" fmla="*/ 116 h 302"/>
              <a:gd name="T14" fmla="*/ 5 w 405"/>
              <a:gd name="T15" fmla="*/ 112 h 302"/>
              <a:gd name="T16" fmla="*/ 6 w 405"/>
              <a:gd name="T17" fmla="*/ 104 h 302"/>
              <a:gd name="T18" fmla="*/ 17 w 405"/>
              <a:gd name="T19" fmla="*/ 97 h 302"/>
              <a:gd name="T20" fmla="*/ 34 w 405"/>
              <a:gd name="T21" fmla="*/ 93 h 302"/>
              <a:gd name="T22" fmla="*/ 47 w 405"/>
              <a:gd name="T23" fmla="*/ 88 h 302"/>
              <a:gd name="T24" fmla="*/ 57 w 405"/>
              <a:gd name="T25" fmla="*/ 82 h 302"/>
              <a:gd name="T26" fmla="*/ 67 w 405"/>
              <a:gd name="T27" fmla="*/ 70 h 302"/>
              <a:gd name="T28" fmla="*/ 75 w 405"/>
              <a:gd name="T29" fmla="*/ 52 h 302"/>
              <a:gd name="T30" fmla="*/ 84 w 405"/>
              <a:gd name="T31" fmla="*/ 47 h 302"/>
              <a:gd name="T32" fmla="*/ 95 w 405"/>
              <a:gd name="T33" fmla="*/ 52 h 302"/>
              <a:gd name="T34" fmla="*/ 117 w 405"/>
              <a:gd name="T35" fmla="*/ 54 h 302"/>
              <a:gd name="T36" fmla="*/ 169 w 405"/>
              <a:gd name="T37" fmla="*/ 46 h 302"/>
              <a:gd name="T38" fmla="*/ 212 w 405"/>
              <a:gd name="T39" fmla="*/ 43 h 302"/>
              <a:gd name="T40" fmla="*/ 234 w 405"/>
              <a:gd name="T41" fmla="*/ 41 h 302"/>
              <a:gd name="T42" fmla="*/ 264 w 405"/>
              <a:gd name="T43" fmla="*/ 35 h 302"/>
              <a:gd name="T44" fmla="*/ 318 w 405"/>
              <a:gd name="T45" fmla="*/ 17 h 302"/>
              <a:gd name="T46" fmla="*/ 359 w 405"/>
              <a:gd name="T47" fmla="*/ 4 h 302"/>
              <a:gd name="T48" fmla="*/ 372 w 405"/>
              <a:gd name="T49" fmla="*/ 3 h 302"/>
              <a:gd name="T50" fmla="*/ 385 w 405"/>
              <a:gd name="T51" fmla="*/ 3 h 302"/>
              <a:gd name="T52" fmla="*/ 398 w 405"/>
              <a:gd name="T53" fmla="*/ 1 h 302"/>
              <a:gd name="T54" fmla="*/ 395 w 405"/>
              <a:gd name="T55" fmla="*/ 8 h 302"/>
              <a:gd name="T56" fmla="*/ 360 w 405"/>
              <a:gd name="T57" fmla="*/ 41 h 302"/>
              <a:gd name="T58" fmla="*/ 344 w 405"/>
              <a:gd name="T59" fmla="*/ 57 h 302"/>
              <a:gd name="T60" fmla="*/ 339 w 405"/>
              <a:gd name="T61" fmla="*/ 64 h 302"/>
              <a:gd name="T62" fmla="*/ 339 w 405"/>
              <a:gd name="T63" fmla="*/ 96 h 302"/>
              <a:gd name="T64" fmla="*/ 337 w 405"/>
              <a:gd name="T65" fmla="*/ 149 h 302"/>
              <a:gd name="T66" fmla="*/ 335 w 405"/>
              <a:gd name="T67" fmla="*/ 180 h 302"/>
              <a:gd name="T68" fmla="*/ 326 w 405"/>
              <a:gd name="T69" fmla="*/ 198 h 302"/>
              <a:gd name="T70" fmla="*/ 305 w 405"/>
              <a:gd name="T71" fmla="*/ 210 h 302"/>
              <a:gd name="T72" fmla="*/ 265 w 405"/>
              <a:gd name="T73" fmla="*/ 227 h 302"/>
              <a:gd name="T74" fmla="*/ 106 w 405"/>
              <a:gd name="T75" fmla="*/ 302 h 302"/>
              <a:gd name="T76" fmla="*/ 57 w 405"/>
              <a:gd name="T77" fmla="*/ 260 h 302"/>
              <a:gd name="T78" fmla="*/ 70 w 405"/>
              <a:gd name="T79" fmla="*/ 228 h 302"/>
              <a:gd name="T80" fmla="*/ 81 w 405"/>
              <a:gd name="T81" fmla="*/ 209 h 302"/>
              <a:gd name="T82" fmla="*/ 86 w 405"/>
              <a:gd name="T83" fmla="*/ 172 h 302"/>
              <a:gd name="T84" fmla="*/ 71 w 405"/>
              <a:gd name="T85" fmla="*/ 173 h 302"/>
              <a:gd name="T86" fmla="*/ 57 w 405"/>
              <a:gd name="T87" fmla="*/ 169 h 302"/>
              <a:gd name="T88" fmla="*/ 41 w 405"/>
              <a:gd name="T89" fmla="*/ 165 h 302"/>
              <a:gd name="T90" fmla="*/ 26 w 405"/>
              <a:gd name="T91" fmla="*/ 16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99" name="Freeform 534">
            <a:extLst>
              <a:ext uri="{FF2B5EF4-FFF2-40B4-BE49-F238E27FC236}">
                <a16:creationId xmlns="" xmlns:a16="http://schemas.microsoft.com/office/drawing/2014/main" id="{3114248B-EEBD-46D0-9F2E-5564D9F57C66}"/>
              </a:ext>
            </a:extLst>
          </p:cNvPr>
          <p:cNvSpPr>
            <a:spLocks/>
          </p:cNvSpPr>
          <p:nvPr>
            <p:custDataLst>
              <p:tags r:id="rId369"/>
            </p:custDataLst>
          </p:nvPr>
        </p:nvSpPr>
        <p:spPr bwMode="auto">
          <a:xfrm>
            <a:off x="7619679" y="3635891"/>
            <a:ext cx="52213" cy="82049"/>
          </a:xfrm>
          <a:custGeom>
            <a:avLst/>
            <a:gdLst>
              <a:gd name="T0" fmla="*/ 100 w 100"/>
              <a:gd name="T1" fmla="*/ 1 h 155"/>
              <a:gd name="T2" fmla="*/ 100 w 100"/>
              <a:gd name="T3" fmla="*/ 30 h 155"/>
              <a:gd name="T4" fmla="*/ 100 w 100"/>
              <a:gd name="T5" fmla="*/ 55 h 155"/>
              <a:gd name="T6" fmla="*/ 100 w 100"/>
              <a:gd name="T7" fmla="*/ 78 h 155"/>
              <a:gd name="T8" fmla="*/ 100 w 100"/>
              <a:gd name="T9" fmla="*/ 99 h 155"/>
              <a:gd name="T10" fmla="*/ 98 w 100"/>
              <a:gd name="T11" fmla="*/ 109 h 155"/>
              <a:gd name="T12" fmla="*/ 94 w 100"/>
              <a:gd name="T13" fmla="*/ 118 h 155"/>
              <a:gd name="T14" fmla="*/ 89 w 100"/>
              <a:gd name="T15" fmla="*/ 128 h 155"/>
              <a:gd name="T16" fmla="*/ 82 w 100"/>
              <a:gd name="T17" fmla="*/ 137 h 155"/>
              <a:gd name="T18" fmla="*/ 73 w 100"/>
              <a:gd name="T19" fmla="*/ 144 h 155"/>
              <a:gd name="T20" fmla="*/ 62 w 100"/>
              <a:gd name="T21" fmla="*/ 150 h 155"/>
              <a:gd name="T22" fmla="*/ 57 w 100"/>
              <a:gd name="T23" fmla="*/ 152 h 155"/>
              <a:gd name="T24" fmla="*/ 51 w 100"/>
              <a:gd name="T25" fmla="*/ 154 h 155"/>
              <a:gd name="T26" fmla="*/ 46 w 100"/>
              <a:gd name="T27" fmla="*/ 155 h 155"/>
              <a:gd name="T28" fmla="*/ 39 w 100"/>
              <a:gd name="T29" fmla="*/ 155 h 155"/>
              <a:gd name="T30" fmla="*/ 35 w 100"/>
              <a:gd name="T31" fmla="*/ 154 h 155"/>
              <a:gd name="T32" fmla="*/ 30 w 100"/>
              <a:gd name="T33" fmla="*/ 153 h 155"/>
              <a:gd name="T34" fmla="*/ 26 w 100"/>
              <a:gd name="T35" fmla="*/ 151 h 155"/>
              <a:gd name="T36" fmla="*/ 22 w 100"/>
              <a:gd name="T37" fmla="*/ 149 h 155"/>
              <a:gd name="T38" fmla="*/ 15 w 100"/>
              <a:gd name="T39" fmla="*/ 142 h 155"/>
              <a:gd name="T40" fmla="*/ 9 w 100"/>
              <a:gd name="T41" fmla="*/ 134 h 155"/>
              <a:gd name="T42" fmla="*/ 5 w 100"/>
              <a:gd name="T43" fmla="*/ 124 h 155"/>
              <a:gd name="T44" fmla="*/ 2 w 100"/>
              <a:gd name="T45" fmla="*/ 113 h 155"/>
              <a:gd name="T46" fmla="*/ 0 w 100"/>
              <a:gd name="T47" fmla="*/ 103 h 155"/>
              <a:gd name="T48" fmla="*/ 0 w 100"/>
              <a:gd name="T49" fmla="*/ 93 h 155"/>
              <a:gd name="T50" fmla="*/ 0 w 100"/>
              <a:gd name="T51" fmla="*/ 77 h 155"/>
              <a:gd name="T52" fmla="*/ 0 w 100"/>
              <a:gd name="T53" fmla="*/ 65 h 155"/>
              <a:gd name="T54" fmla="*/ 0 w 100"/>
              <a:gd name="T55" fmla="*/ 56 h 155"/>
              <a:gd name="T56" fmla="*/ 0 w 100"/>
              <a:gd name="T57" fmla="*/ 50 h 155"/>
              <a:gd name="T58" fmla="*/ 15 w 100"/>
              <a:gd name="T59" fmla="*/ 50 h 155"/>
              <a:gd name="T60" fmla="*/ 26 w 100"/>
              <a:gd name="T61" fmla="*/ 50 h 155"/>
              <a:gd name="T62" fmla="*/ 26 w 100"/>
              <a:gd name="T63" fmla="*/ 40 h 155"/>
              <a:gd name="T64" fmla="*/ 27 w 100"/>
              <a:gd name="T65" fmla="*/ 31 h 155"/>
              <a:gd name="T66" fmla="*/ 29 w 100"/>
              <a:gd name="T67" fmla="*/ 23 h 155"/>
              <a:gd name="T68" fmla="*/ 31 w 100"/>
              <a:gd name="T69" fmla="*/ 17 h 155"/>
              <a:gd name="T70" fmla="*/ 35 w 100"/>
              <a:gd name="T71" fmla="*/ 12 h 155"/>
              <a:gd name="T72" fmla="*/ 39 w 100"/>
              <a:gd name="T73" fmla="*/ 7 h 155"/>
              <a:gd name="T74" fmla="*/ 42 w 100"/>
              <a:gd name="T75" fmla="*/ 4 h 155"/>
              <a:gd name="T76" fmla="*/ 48 w 100"/>
              <a:gd name="T77" fmla="*/ 2 h 155"/>
              <a:gd name="T78" fmla="*/ 59 w 100"/>
              <a:gd name="T79" fmla="*/ 0 h 155"/>
              <a:gd name="T80" fmla="*/ 71 w 100"/>
              <a:gd name="T81" fmla="*/ 0 h 155"/>
              <a:gd name="T82" fmla="*/ 84 w 100"/>
              <a:gd name="T83" fmla="*/ 0 h 155"/>
              <a:gd name="T84" fmla="*/ 100 w 100"/>
              <a:gd name="T85" fmla="*/ 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C0C0C0"/>
          </a:solidFill>
          <a:ln w="9525" cmpd="sng">
            <a:solidFill>
              <a:srgbClr val="FFFFFF"/>
            </a:solidFill>
            <a:prstDash val="solid"/>
            <a:round/>
            <a:headEnd/>
            <a:tailEnd/>
          </a:ln>
        </p:spPr>
        <p:txBody>
          <a:bodyPr/>
          <a:lstStyle/>
          <a:p>
            <a:endParaRPr lang="en-GB" dirty="0"/>
          </a:p>
        </p:txBody>
      </p:sp>
      <p:grpSp>
        <p:nvGrpSpPr>
          <p:cNvPr id="500" name="Group 535">
            <a:extLst>
              <a:ext uri="{FF2B5EF4-FFF2-40B4-BE49-F238E27FC236}">
                <a16:creationId xmlns="" xmlns:a16="http://schemas.microsoft.com/office/drawing/2014/main" id="{9A1F7304-59FC-4EB5-B79B-8566F0570B13}"/>
              </a:ext>
            </a:extLst>
          </p:cNvPr>
          <p:cNvGrpSpPr>
            <a:grpSpLocks/>
          </p:cNvGrpSpPr>
          <p:nvPr>
            <p:custDataLst>
              <p:tags r:id="rId370"/>
            </p:custDataLst>
          </p:nvPr>
        </p:nvGrpSpPr>
        <p:grpSpPr bwMode="auto">
          <a:xfrm>
            <a:off x="4753710" y="3086165"/>
            <a:ext cx="587891" cy="208403"/>
            <a:chOff x="3289" y="1830"/>
            <a:chExt cx="363" cy="128"/>
          </a:xfrm>
        </p:grpSpPr>
        <p:sp>
          <p:nvSpPr>
            <p:cNvPr id="513" name="Freeform 536">
              <a:extLst>
                <a:ext uri="{FF2B5EF4-FFF2-40B4-BE49-F238E27FC236}">
                  <a16:creationId xmlns="" xmlns:a16="http://schemas.microsoft.com/office/drawing/2014/main" id="{2C27F87D-547F-4879-A103-2DE4B702CD85}"/>
                </a:ext>
              </a:extLst>
            </p:cNvPr>
            <p:cNvSpPr>
              <a:spLocks/>
            </p:cNvSpPr>
            <p:nvPr/>
          </p:nvSpPr>
          <p:spPr bwMode="auto">
            <a:xfrm>
              <a:off x="3289" y="1871"/>
              <a:ext cx="4" cy="3"/>
            </a:xfrm>
            <a:custGeom>
              <a:avLst/>
              <a:gdLst>
                <a:gd name="T0" fmla="*/ 13 w 13"/>
                <a:gd name="T1" fmla="*/ 0 h 7"/>
                <a:gd name="T2" fmla="*/ 12 w 13"/>
                <a:gd name="T3" fmla="*/ 1 h 7"/>
                <a:gd name="T4" fmla="*/ 9 w 13"/>
                <a:gd name="T5" fmla="*/ 3 h 7"/>
                <a:gd name="T6" fmla="*/ 4 w 13"/>
                <a:gd name="T7" fmla="*/ 5 h 7"/>
                <a:gd name="T8" fmla="*/ 0 w 13"/>
                <a:gd name="T9" fmla="*/ 7 h 7"/>
                <a:gd name="T10" fmla="*/ 7 w 13"/>
                <a:gd name="T11" fmla="*/ 3 h 7"/>
                <a:gd name="T12" fmla="*/ 13 w 1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14" name="Freeform 537">
              <a:extLst>
                <a:ext uri="{FF2B5EF4-FFF2-40B4-BE49-F238E27FC236}">
                  <a16:creationId xmlns="" xmlns:a16="http://schemas.microsoft.com/office/drawing/2014/main" id="{0EDB0A94-E444-43CD-8CDB-7BED3DA28F03}"/>
                </a:ext>
              </a:extLst>
            </p:cNvPr>
            <p:cNvSpPr>
              <a:spLocks/>
            </p:cNvSpPr>
            <p:nvPr/>
          </p:nvSpPr>
          <p:spPr bwMode="auto">
            <a:xfrm>
              <a:off x="3324" y="1937"/>
              <a:ext cx="10" cy="3"/>
            </a:xfrm>
            <a:custGeom>
              <a:avLst/>
              <a:gdLst>
                <a:gd name="T0" fmla="*/ 0 w 34"/>
                <a:gd name="T1" fmla="*/ 6 h 8"/>
                <a:gd name="T2" fmla="*/ 7 w 34"/>
                <a:gd name="T3" fmla="*/ 5 h 8"/>
                <a:gd name="T4" fmla="*/ 15 w 34"/>
                <a:gd name="T5" fmla="*/ 3 h 8"/>
                <a:gd name="T6" fmla="*/ 25 w 34"/>
                <a:gd name="T7" fmla="*/ 1 h 8"/>
                <a:gd name="T8" fmla="*/ 34 w 34"/>
                <a:gd name="T9" fmla="*/ 0 h 8"/>
                <a:gd name="T10" fmla="*/ 31 w 34"/>
                <a:gd name="T11" fmla="*/ 2 h 8"/>
                <a:gd name="T12" fmla="*/ 27 w 34"/>
                <a:gd name="T13" fmla="*/ 4 h 8"/>
                <a:gd name="T14" fmla="*/ 22 w 34"/>
                <a:gd name="T15" fmla="*/ 6 h 8"/>
                <a:gd name="T16" fmla="*/ 18 w 34"/>
                <a:gd name="T17" fmla="*/ 7 h 8"/>
                <a:gd name="T18" fmla="*/ 12 w 34"/>
                <a:gd name="T19" fmla="*/ 8 h 8"/>
                <a:gd name="T20" fmla="*/ 8 w 34"/>
                <a:gd name="T21" fmla="*/ 8 h 8"/>
                <a:gd name="T22" fmla="*/ 4 w 34"/>
                <a:gd name="T23" fmla="*/ 8 h 8"/>
                <a:gd name="T24" fmla="*/ 0 w 34"/>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15" name="Freeform 538">
              <a:extLst>
                <a:ext uri="{FF2B5EF4-FFF2-40B4-BE49-F238E27FC236}">
                  <a16:creationId xmlns="" xmlns:a16="http://schemas.microsoft.com/office/drawing/2014/main" id="{05FC76AD-0F52-4791-93AD-4469724EDCB3}"/>
                </a:ext>
              </a:extLst>
            </p:cNvPr>
            <p:cNvSpPr>
              <a:spLocks/>
            </p:cNvSpPr>
            <p:nvPr/>
          </p:nvSpPr>
          <p:spPr bwMode="auto">
            <a:xfrm>
              <a:off x="3343" y="1948"/>
              <a:ext cx="4" cy="8"/>
            </a:xfrm>
            <a:custGeom>
              <a:avLst/>
              <a:gdLst>
                <a:gd name="T0" fmla="*/ 0 w 13"/>
                <a:gd name="T1" fmla="*/ 24 h 24"/>
                <a:gd name="T2" fmla="*/ 0 w 13"/>
                <a:gd name="T3" fmla="*/ 0 h 24"/>
                <a:gd name="T4" fmla="*/ 13 w 13"/>
                <a:gd name="T5" fmla="*/ 12 h 24"/>
                <a:gd name="T6" fmla="*/ 0 w 13"/>
                <a:gd name="T7" fmla="*/ 24 h 24"/>
              </a:gdLst>
              <a:ahLst/>
              <a:cxnLst>
                <a:cxn ang="0">
                  <a:pos x="T0" y="T1"/>
                </a:cxn>
                <a:cxn ang="0">
                  <a:pos x="T2" y="T3"/>
                </a:cxn>
                <a:cxn ang="0">
                  <a:pos x="T4" y="T5"/>
                </a:cxn>
                <a:cxn ang="0">
                  <a:pos x="T6" y="T7"/>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16" name="Freeform 539">
              <a:extLst>
                <a:ext uri="{FF2B5EF4-FFF2-40B4-BE49-F238E27FC236}">
                  <a16:creationId xmlns="" xmlns:a16="http://schemas.microsoft.com/office/drawing/2014/main" id="{4F914C08-2E7F-406D-926B-5BC7559A7757}"/>
                </a:ext>
              </a:extLst>
            </p:cNvPr>
            <p:cNvSpPr>
              <a:spLocks/>
            </p:cNvSpPr>
            <p:nvPr/>
          </p:nvSpPr>
          <p:spPr bwMode="auto">
            <a:xfrm>
              <a:off x="3313" y="1834"/>
              <a:ext cx="34" cy="23"/>
            </a:xfrm>
            <a:custGeom>
              <a:avLst/>
              <a:gdLst>
                <a:gd name="T0" fmla="*/ 0 w 107"/>
                <a:gd name="T1" fmla="*/ 13 h 69"/>
                <a:gd name="T2" fmla="*/ 0 w 107"/>
                <a:gd name="T3" fmla="*/ 27 h 69"/>
                <a:gd name="T4" fmla="*/ 0 w 107"/>
                <a:gd name="T5" fmla="*/ 45 h 69"/>
                <a:gd name="T6" fmla="*/ 0 w 107"/>
                <a:gd name="T7" fmla="*/ 62 h 69"/>
                <a:gd name="T8" fmla="*/ 0 w 107"/>
                <a:gd name="T9" fmla="*/ 69 h 69"/>
                <a:gd name="T10" fmla="*/ 16 w 107"/>
                <a:gd name="T11" fmla="*/ 66 h 69"/>
                <a:gd name="T12" fmla="*/ 49 w 107"/>
                <a:gd name="T13" fmla="*/ 58 h 69"/>
                <a:gd name="T14" fmla="*/ 85 w 107"/>
                <a:gd name="T15" fmla="*/ 50 h 69"/>
                <a:gd name="T16" fmla="*/ 107 w 107"/>
                <a:gd name="T17" fmla="*/ 44 h 69"/>
                <a:gd name="T18" fmla="*/ 101 w 107"/>
                <a:gd name="T19" fmla="*/ 38 h 69"/>
                <a:gd name="T20" fmla="*/ 94 w 107"/>
                <a:gd name="T21" fmla="*/ 34 h 69"/>
                <a:gd name="T22" fmla="*/ 86 w 107"/>
                <a:gd name="T23" fmla="*/ 30 h 69"/>
                <a:gd name="T24" fmla="*/ 78 w 107"/>
                <a:gd name="T25" fmla="*/ 27 h 69"/>
                <a:gd name="T26" fmla="*/ 72 w 107"/>
                <a:gd name="T27" fmla="*/ 23 h 69"/>
                <a:gd name="T28" fmla="*/ 65 w 107"/>
                <a:gd name="T29" fmla="*/ 18 h 69"/>
                <a:gd name="T30" fmla="*/ 63 w 107"/>
                <a:gd name="T31" fmla="*/ 15 h 69"/>
                <a:gd name="T32" fmla="*/ 62 w 107"/>
                <a:gd name="T33" fmla="*/ 11 h 69"/>
                <a:gd name="T34" fmla="*/ 61 w 107"/>
                <a:gd name="T35" fmla="*/ 7 h 69"/>
                <a:gd name="T36" fmla="*/ 61 w 107"/>
                <a:gd name="T37" fmla="*/ 0 h 69"/>
                <a:gd name="T38" fmla="*/ 54 w 107"/>
                <a:gd name="T39" fmla="*/ 1 h 69"/>
                <a:gd name="T40" fmla="*/ 38 w 107"/>
                <a:gd name="T41" fmla="*/ 4 h 69"/>
                <a:gd name="T42" fmla="*/ 18 w 107"/>
                <a:gd name="T43" fmla="*/ 9 h 69"/>
                <a:gd name="T44" fmla="*/ 0 w 107"/>
                <a:gd name="T45"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17" name="Freeform 540">
              <a:extLst>
                <a:ext uri="{FF2B5EF4-FFF2-40B4-BE49-F238E27FC236}">
                  <a16:creationId xmlns="" xmlns:a16="http://schemas.microsoft.com/office/drawing/2014/main" id="{11305CB7-15D5-44A5-AD6C-829E9FB0EBF8}"/>
                </a:ext>
              </a:extLst>
            </p:cNvPr>
            <p:cNvSpPr>
              <a:spLocks/>
            </p:cNvSpPr>
            <p:nvPr/>
          </p:nvSpPr>
          <p:spPr bwMode="auto">
            <a:xfrm>
              <a:off x="3302" y="1830"/>
              <a:ext cx="350" cy="128"/>
            </a:xfrm>
            <a:custGeom>
              <a:avLst/>
              <a:gdLst>
                <a:gd name="T0" fmla="*/ 992 w 1070"/>
                <a:gd name="T1" fmla="*/ 124 h 382"/>
                <a:gd name="T2" fmla="*/ 970 w 1070"/>
                <a:gd name="T3" fmla="*/ 103 h 382"/>
                <a:gd name="T4" fmla="*/ 962 w 1070"/>
                <a:gd name="T5" fmla="*/ 57 h 382"/>
                <a:gd name="T6" fmla="*/ 936 w 1070"/>
                <a:gd name="T7" fmla="*/ 36 h 382"/>
                <a:gd name="T8" fmla="*/ 817 w 1070"/>
                <a:gd name="T9" fmla="*/ 19 h 382"/>
                <a:gd name="T10" fmla="*/ 726 w 1070"/>
                <a:gd name="T11" fmla="*/ 58 h 382"/>
                <a:gd name="T12" fmla="*/ 678 w 1070"/>
                <a:gd name="T13" fmla="*/ 65 h 382"/>
                <a:gd name="T14" fmla="*/ 632 w 1070"/>
                <a:gd name="T15" fmla="*/ 65 h 382"/>
                <a:gd name="T16" fmla="*/ 612 w 1070"/>
                <a:gd name="T17" fmla="*/ 44 h 382"/>
                <a:gd name="T18" fmla="*/ 560 w 1070"/>
                <a:gd name="T19" fmla="*/ 37 h 382"/>
                <a:gd name="T20" fmla="*/ 525 w 1070"/>
                <a:gd name="T21" fmla="*/ 19 h 382"/>
                <a:gd name="T22" fmla="*/ 483 w 1070"/>
                <a:gd name="T23" fmla="*/ 21 h 382"/>
                <a:gd name="T24" fmla="*/ 465 w 1070"/>
                <a:gd name="T25" fmla="*/ 0 h 382"/>
                <a:gd name="T26" fmla="*/ 390 w 1070"/>
                <a:gd name="T27" fmla="*/ 16 h 382"/>
                <a:gd name="T28" fmla="*/ 299 w 1070"/>
                <a:gd name="T29" fmla="*/ 26 h 382"/>
                <a:gd name="T30" fmla="*/ 257 w 1070"/>
                <a:gd name="T31" fmla="*/ 45 h 382"/>
                <a:gd name="T32" fmla="*/ 138 w 1070"/>
                <a:gd name="T33" fmla="*/ 61 h 382"/>
                <a:gd name="T34" fmla="*/ 173 w 1070"/>
                <a:gd name="T35" fmla="*/ 75 h 382"/>
                <a:gd name="T36" fmla="*/ 164 w 1070"/>
                <a:gd name="T37" fmla="*/ 90 h 382"/>
                <a:gd name="T38" fmla="*/ 114 w 1070"/>
                <a:gd name="T39" fmla="*/ 93 h 382"/>
                <a:gd name="T40" fmla="*/ 42 w 1070"/>
                <a:gd name="T41" fmla="*/ 94 h 382"/>
                <a:gd name="T42" fmla="*/ 8 w 1070"/>
                <a:gd name="T43" fmla="*/ 110 h 382"/>
                <a:gd name="T44" fmla="*/ 0 w 1070"/>
                <a:gd name="T45" fmla="*/ 147 h 382"/>
                <a:gd name="T46" fmla="*/ 16 w 1070"/>
                <a:gd name="T47" fmla="*/ 167 h 382"/>
                <a:gd name="T48" fmla="*/ 22 w 1070"/>
                <a:gd name="T49" fmla="*/ 193 h 382"/>
                <a:gd name="T50" fmla="*/ 21 w 1070"/>
                <a:gd name="T51" fmla="*/ 210 h 382"/>
                <a:gd name="T52" fmla="*/ 49 w 1070"/>
                <a:gd name="T53" fmla="*/ 237 h 382"/>
                <a:gd name="T54" fmla="*/ 56 w 1070"/>
                <a:gd name="T55" fmla="*/ 259 h 382"/>
                <a:gd name="T56" fmla="*/ 74 w 1070"/>
                <a:gd name="T57" fmla="*/ 271 h 382"/>
                <a:gd name="T58" fmla="*/ 96 w 1070"/>
                <a:gd name="T59" fmla="*/ 290 h 382"/>
                <a:gd name="T60" fmla="*/ 205 w 1070"/>
                <a:gd name="T61" fmla="*/ 352 h 382"/>
                <a:gd name="T62" fmla="*/ 253 w 1070"/>
                <a:gd name="T63" fmla="*/ 370 h 382"/>
                <a:gd name="T64" fmla="*/ 267 w 1070"/>
                <a:gd name="T65" fmla="*/ 358 h 382"/>
                <a:gd name="T66" fmla="*/ 277 w 1070"/>
                <a:gd name="T67" fmla="*/ 338 h 382"/>
                <a:gd name="T68" fmla="*/ 297 w 1070"/>
                <a:gd name="T69" fmla="*/ 316 h 382"/>
                <a:gd name="T70" fmla="*/ 334 w 1070"/>
                <a:gd name="T71" fmla="*/ 323 h 382"/>
                <a:gd name="T72" fmla="*/ 362 w 1070"/>
                <a:gd name="T73" fmla="*/ 358 h 382"/>
                <a:gd name="T74" fmla="*/ 399 w 1070"/>
                <a:gd name="T75" fmla="*/ 370 h 382"/>
                <a:gd name="T76" fmla="*/ 447 w 1070"/>
                <a:gd name="T77" fmla="*/ 359 h 382"/>
                <a:gd name="T78" fmla="*/ 493 w 1070"/>
                <a:gd name="T79" fmla="*/ 335 h 382"/>
                <a:gd name="T80" fmla="*/ 525 w 1070"/>
                <a:gd name="T81" fmla="*/ 327 h 382"/>
                <a:gd name="T82" fmla="*/ 564 w 1070"/>
                <a:gd name="T83" fmla="*/ 326 h 382"/>
                <a:gd name="T84" fmla="*/ 567 w 1070"/>
                <a:gd name="T85" fmla="*/ 367 h 382"/>
                <a:gd name="T86" fmla="*/ 590 w 1070"/>
                <a:gd name="T87" fmla="*/ 377 h 382"/>
                <a:gd name="T88" fmla="*/ 613 w 1070"/>
                <a:gd name="T89" fmla="*/ 362 h 382"/>
                <a:gd name="T90" fmla="*/ 647 w 1070"/>
                <a:gd name="T91" fmla="*/ 336 h 382"/>
                <a:gd name="T92" fmla="*/ 752 w 1070"/>
                <a:gd name="T93" fmla="*/ 327 h 382"/>
                <a:gd name="T94" fmla="*/ 831 w 1070"/>
                <a:gd name="T95" fmla="*/ 315 h 382"/>
                <a:gd name="T96" fmla="*/ 918 w 1070"/>
                <a:gd name="T97" fmla="*/ 283 h 382"/>
                <a:gd name="T98" fmla="*/ 967 w 1070"/>
                <a:gd name="T99" fmla="*/ 286 h 382"/>
                <a:gd name="T100" fmla="*/ 1005 w 1070"/>
                <a:gd name="T101" fmla="*/ 293 h 382"/>
                <a:gd name="T102" fmla="*/ 1056 w 1070"/>
                <a:gd name="T103" fmla="*/ 308 h 382"/>
                <a:gd name="T104" fmla="*/ 1056 w 1070"/>
                <a:gd name="T105" fmla="*/ 268 h 382"/>
                <a:gd name="T106" fmla="*/ 1026 w 1070"/>
                <a:gd name="T107" fmla="*/ 219 h 382"/>
                <a:gd name="T108" fmla="*/ 1017 w 1070"/>
                <a:gd name="T109" fmla="*/ 16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grpSp>
      <p:sp>
        <p:nvSpPr>
          <p:cNvPr id="501" name="Freeform 541">
            <a:extLst>
              <a:ext uri="{FF2B5EF4-FFF2-40B4-BE49-F238E27FC236}">
                <a16:creationId xmlns="" xmlns:a16="http://schemas.microsoft.com/office/drawing/2014/main" id="{749524F4-065E-4029-AFEE-18C5EE509010}"/>
              </a:ext>
            </a:extLst>
          </p:cNvPr>
          <p:cNvSpPr>
            <a:spLocks/>
          </p:cNvSpPr>
          <p:nvPr>
            <p:custDataLst>
              <p:tags r:id="rId371"/>
            </p:custDataLst>
          </p:nvPr>
        </p:nvSpPr>
        <p:spPr bwMode="auto">
          <a:xfrm>
            <a:off x="2303518" y="4277513"/>
            <a:ext cx="121833" cy="126354"/>
          </a:xfrm>
          <a:custGeom>
            <a:avLst/>
            <a:gdLst>
              <a:gd name="T0" fmla="*/ 63 w 226"/>
              <a:gd name="T1" fmla="*/ 236 h 237"/>
              <a:gd name="T2" fmla="*/ 68 w 226"/>
              <a:gd name="T3" fmla="*/ 237 h 237"/>
              <a:gd name="T4" fmla="*/ 75 w 226"/>
              <a:gd name="T5" fmla="*/ 235 h 237"/>
              <a:gd name="T6" fmla="*/ 83 w 226"/>
              <a:gd name="T7" fmla="*/ 234 h 237"/>
              <a:gd name="T8" fmla="*/ 89 w 226"/>
              <a:gd name="T9" fmla="*/ 230 h 237"/>
              <a:gd name="T10" fmla="*/ 96 w 226"/>
              <a:gd name="T11" fmla="*/ 223 h 237"/>
              <a:gd name="T12" fmla="*/ 99 w 226"/>
              <a:gd name="T13" fmla="*/ 214 h 237"/>
              <a:gd name="T14" fmla="*/ 123 w 226"/>
              <a:gd name="T15" fmla="*/ 209 h 237"/>
              <a:gd name="T16" fmla="*/ 166 w 226"/>
              <a:gd name="T17" fmla="*/ 205 h 237"/>
              <a:gd name="T18" fmla="*/ 195 w 226"/>
              <a:gd name="T19" fmla="*/ 198 h 237"/>
              <a:gd name="T20" fmla="*/ 209 w 226"/>
              <a:gd name="T21" fmla="*/ 191 h 237"/>
              <a:gd name="T22" fmla="*/ 220 w 226"/>
              <a:gd name="T23" fmla="*/ 181 h 237"/>
              <a:gd name="T24" fmla="*/ 225 w 226"/>
              <a:gd name="T25" fmla="*/ 168 h 237"/>
              <a:gd name="T26" fmla="*/ 226 w 226"/>
              <a:gd name="T27" fmla="*/ 153 h 237"/>
              <a:gd name="T28" fmla="*/ 223 w 226"/>
              <a:gd name="T29" fmla="*/ 140 h 237"/>
              <a:gd name="T30" fmla="*/ 215 w 226"/>
              <a:gd name="T31" fmla="*/ 123 h 237"/>
              <a:gd name="T32" fmla="*/ 203 w 226"/>
              <a:gd name="T33" fmla="*/ 100 h 237"/>
              <a:gd name="T34" fmla="*/ 196 w 226"/>
              <a:gd name="T35" fmla="*/ 84 h 237"/>
              <a:gd name="T36" fmla="*/ 193 w 226"/>
              <a:gd name="T37" fmla="*/ 74 h 237"/>
              <a:gd name="T38" fmla="*/ 195 w 226"/>
              <a:gd name="T39" fmla="*/ 59 h 237"/>
              <a:gd name="T40" fmla="*/ 200 w 226"/>
              <a:gd name="T41" fmla="*/ 43 h 237"/>
              <a:gd name="T42" fmla="*/ 213 w 226"/>
              <a:gd name="T43" fmla="*/ 25 h 237"/>
              <a:gd name="T44" fmla="*/ 213 w 226"/>
              <a:gd name="T45" fmla="*/ 14 h 237"/>
              <a:gd name="T46" fmla="*/ 191 w 226"/>
              <a:gd name="T47" fmla="*/ 7 h 237"/>
              <a:gd name="T48" fmla="*/ 154 w 226"/>
              <a:gd name="T49" fmla="*/ 2 h 237"/>
              <a:gd name="T50" fmla="*/ 20 w 226"/>
              <a:gd name="T51" fmla="*/ 6 h 237"/>
              <a:gd name="T52" fmla="*/ 18 w 226"/>
              <a:gd name="T53" fmla="*/ 31 h 237"/>
              <a:gd name="T54" fmla="*/ 10 w 226"/>
              <a:gd name="T55" fmla="*/ 54 h 237"/>
              <a:gd name="T56" fmla="*/ 3 w 226"/>
              <a:gd name="T57" fmla="*/ 79 h 237"/>
              <a:gd name="T58" fmla="*/ 0 w 226"/>
              <a:gd name="T59" fmla="*/ 111 h 237"/>
              <a:gd name="T60" fmla="*/ 3 w 226"/>
              <a:gd name="T61" fmla="*/ 130 h 237"/>
              <a:gd name="T62" fmla="*/ 10 w 226"/>
              <a:gd name="T63" fmla="*/ 146 h 237"/>
              <a:gd name="T64" fmla="*/ 30 w 226"/>
              <a:gd name="T65" fmla="*/ 173 h 237"/>
              <a:gd name="T66" fmla="*/ 51 w 226"/>
              <a:gd name="T67" fmla="*/ 199 h 237"/>
              <a:gd name="T68" fmla="*/ 57 w 226"/>
              <a:gd name="T69" fmla="*/ 216 h 237"/>
              <a:gd name="T70" fmla="*/ 61 w 226"/>
              <a:gd name="T71" fmla="*/ 23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02" name="Freeform 542">
            <a:extLst>
              <a:ext uri="{FF2B5EF4-FFF2-40B4-BE49-F238E27FC236}">
                <a16:creationId xmlns="" xmlns:a16="http://schemas.microsoft.com/office/drawing/2014/main" id="{66C4B32D-63BC-45FB-8247-0A3D50A42837}"/>
              </a:ext>
            </a:extLst>
          </p:cNvPr>
          <p:cNvSpPr>
            <a:spLocks/>
          </p:cNvSpPr>
          <p:nvPr>
            <p:custDataLst>
              <p:tags r:id="rId372"/>
            </p:custDataLst>
          </p:nvPr>
        </p:nvSpPr>
        <p:spPr bwMode="auto">
          <a:xfrm>
            <a:off x="7109143" y="3694966"/>
            <a:ext cx="253334" cy="474243"/>
          </a:xfrm>
          <a:custGeom>
            <a:avLst/>
            <a:gdLst>
              <a:gd name="T0" fmla="*/ 287 w 478"/>
              <a:gd name="T1" fmla="*/ 109 h 875"/>
              <a:gd name="T2" fmla="*/ 250 w 478"/>
              <a:gd name="T3" fmla="*/ 138 h 875"/>
              <a:gd name="T4" fmla="*/ 199 w 478"/>
              <a:gd name="T5" fmla="*/ 197 h 875"/>
              <a:gd name="T6" fmla="*/ 198 w 478"/>
              <a:gd name="T7" fmla="*/ 213 h 875"/>
              <a:gd name="T8" fmla="*/ 206 w 478"/>
              <a:gd name="T9" fmla="*/ 239 h 875"/>
              <a:gd name="T10" fmla="*/ 221 w 478"/>
              <a:gd name="T11" fmla="*/ 265 h 875"/>
              <a:gd name="T12" fmla="*/ 240 w 478"/>
              <a:gd name="T13" fmla="*/ 288 h 875"/>
              <a:gd name="T14" fmla="*/ 259 w 478"/>
              <a:gd name="T15" fmla="*/ 301 h 875"/>
              <a:gd name="T16" fmla="*/ 279 w 478"/>
              <a:gd name="T17" fmla="*/ 329 h 875"/>
              <a:gd name="T18" fmla="*/ 295 w 478"/>
              <a:gd name="T19" fmla="*/ 361 h 875"/>
              <a:gd name="T20" fmla="*/ 305 w 478"/>
              <a:gd name="T21" fmla="*/ 369 h 875"/>
              <a:gd name="T22" fmla="*/ 438 w 478"/>
              <a:gd name="T23" fmla="*/ 499 h 875"/>
              <a:gd name="T24" fmla="*/ 471 w 478"/>
              <a:gd name="T25" fmla="*/ 589 h 875"/>
              <a:gd name="T26" fmla="*/ 478 w 478"/>
              <a:gd name="T27" fmla="*/ 647 h 875"/>
              <a:gd name="T28" fmla="*/ 476 w 478"/>
              <a:gd name="T29" fmla="*/ 687 h 875"/>
              <a:gd name="T30" fmla="*/ 478 w 478"/>
              <a:gd name="T31" fmla="*/ 708 h 875"/>
              <a:gd name="T32" fmla="*/ 447 w 478"/>
              <a:gd name="T33" fmla="*/ 718 h 875"/>
              <a:gd name="T34" fmla="*/ 420 w 478"/>
              <a:gd name="T35" fmla="*/ 733 h 875"/>
              <a:gd name="T36" fmla="*/ 391 w 478"/>
              <a:gd name="T37" fmla="*/ 756 h 875"/>
              <a:gd name="T38" fmla="*/ 365 w 478"/>
              <a:gd name="T39" fmla="*/ 789 h 875"/>
              <a:gd name="T40" fmla="*/ 348 w 478"/>
              <a:gd name="T41" fmla="*/ 785 h 875"/>
              <a:gd name="T42" fmla="*/ 319 w 478"/>
              <a:gd name="T43" fmla="*/ 789 h 875"/>
              <a:gd name="T44" fmla="*/ 313 w 478"/>
              <a:gd name="T45" fmla="*/ 804 h 875"/>
              <a:gd name="T46" fmla="*/ 289 w 478"/>
              <a:gd name="T47" fmla="*/ 838 h 875"/>
              <a:gd name="T48" fmla="*/ 256 w 478"/>
              <a:gd name="T49" fmla="*/ 868 h 875"/>
              <a:gd name="T50" fmla="*/ 239 w 478"/>
              <a:gd name="T51" fmla="*/ 875 h 875"/>
              <a:gd name="T52" fmla="*/ 232 w 478"/>
              <a:gd name="T53" fmla="*/ 868 h 875"/>
              <a:gd name="T54" fmla="*/ 225 w 478"/>
              <a:gd name="T55" fmla="*/ 844 h 875"/>
              <a:gd name="T56" fmla="*/ 231 w 478"/>
              <a:gd name="T57" fmla="*/ 800 h 875"/>
              <a:gd name="T58" fmla="*/ 253 w 478"/>
              <a:gd name="T59" fmla="*/ 775 h 875"/>
              <a:gd name="T60" fmla="*/ 277 w 478"/>
              <a:gd name="T61" fmla="*/ 760 h 875"/>
              <a:gd name="T62" fmla="*/ 295 w 478"/>
              <a:gd name="T63" fmla="*/ 753 h 875"/>
              <a:gd name="T64" fmla="*/ 305 w 478"/>
              <a:gd name="T65" fmla="*/ 743 h 875"/>
              <a:gd name="T66" fmla="*/ 314 w 478"/>
              <a:gd name="T67" fmla="*/ 714 h 875"/>
              <a:gd name="T68" fmla="*/ 330 w 478"/>
              <a:gd name="T69" fmla="*/ 686 h 875"/>
              <a:gd name="T70" fmla="*/ 365 w 478"/>
              <a:gd name="T71" fmla="*/ 643 h 875"/>
              <a:gd name="T72" fmla="*/ 371 w 478"/>
              <a:gd name="T73" fmla="*/ 536 h 875"/>
              <a:gd name="T74" fmla="*/ 364 w 478"/>
              <a:gd name="T75" fmla="*/ 475 h 875"/>
              <a:gd name="T76" fmla="*/ 341 w 478"/>
              <a:gd name="T77" fmla="*/ 427 h 875"/>
              <a:gd name="T78" fmla="*/ 297 w 478"/>
              <a:gd name="T79" fmla="*/ 377 h 875"/>
              <a:gd name="T80" fmla="*/ 219 w 478"/>
              <a:gd name="T81" fmla="*/ 308 h 875"/>
              <a:gd name="T82" fmla="*/ 161 w 478"/>
              <a:gd name="T83" fmla="*/ 255 h 875"/>
              <a:gd name="T84" fmla="*/ 108 w 478"/>
              <a:gd name="T85" fmla="*/ 198 h 875"/>
              <a:gd name="T86" fmla="*/ 72 w 478"/>
              <a:gd name="T87" fmla="*/ 146 h 875"/>
              <a:gd name="T88" fmla="*/ 42 w 478"/>
              <a:gd name="T89" fmla="*/ 104 h 875"/>
              <a:gd name="T90" fmla="*/ 46 w 478"/>
              <a:gd name="T91" fmla="*/ 41 h 875"/>
              <a:gd name="T92" fmla="*/ 129 w 478"/>
              <a:gd name="T93" fmla="*/ 19 h 875"/>
              <a:gd name="T94" fmla="*/ 148 w 478"/>
              <a:gd name="T95" fmla="*/ 5 h 875"/>
              <a:gd name="T96" fmla="*/ 175 w 478"/>
              <a:gd name="T97" fmla="*/ 16 h 875"/>
              <a:gd name="T98" fmla="*/ 221 w 478"/>
              <a:gd name="T99" fmla="*/ 35 h 875"/>
              <a:gd name="T100" fmla="*/ 269 w 478"/>
              <a:gd name="T101" fmla="*/ 67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C0C0"/>
          </a:solidFill>
          <a:ln w="9525" cmpd="sng">
            <a:solidFill>
              <a:srgbClr val="FFFFFF"/>
            </a:solidFill>
            <a:prstDash val="solid"/>
            <a:round/>
            <a:headEnd/>
            <a:tailEnd/>
          </a:ln>
        </p:spPr>
        <p:txBody>
          <a:bodyPr/>
          <a:lstStyle/>
          <a:p>
            <a:endParaRPr lang="en-GB" dirty="0"/>
          </a:p>
        </p:txBody>
      </p:sp>
      <p:sp>
        <p:nvSpPr>
          <p:cNvPr id="503" name="Freeform 543">
            <a:extLst>
              <a:ext uri="{FF2B5EF4-FFF2-40B4-BE49-F238E27FC236}">
                <a16:creationId xmlns="" xmlns:a16="http://schemas.microsoft.com/office/drawing/2014/main" id="{DDBC064D-DF1A-4276-98A5-894C6CBAC2BD}"/>
              </a:ext>
            </a:extLst>
          </p:cNvPr>
          <p:cNvSpPr>
            <a:spLocks/>
          </p:cNvSpPr>
          <p:nvPr>
            <p:custDataLst>
              <p:tags r:id="rId373"/>
            </p:custDataLst>
          </p:nvPr>
        </p:nvSpPr>
        <p:spPr bwMode="auto">
          <a:xfrm>
            <a:off x="7215504" y="4403868"/>
            <a:ext cx="30942" cy="59076"/>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504" name="Freeform 544">
            <a:extLst>
              <a:ext uri="{FF2B5EF4-FFF2-40B4-BE49-F238E27FC236}">
                <a16:creationId xmlns="" xmlns:a16="http://schemas.microsoft.com/office/drawing/2014/main" id="{8A78DFAA-A413-4754-A8AF-653E23E72FFD}"/>
              </a:ext>
            </a:extLst>
          </p:cNvPr>
          <p:cNvSpPr>
            <a:spLocks/>
          </p:cNvSpPr>
          <p:nvPr>
            <p:custDataLst>
              <p:tags r:id="rId374"/>
            </p:custDataLst>
          </p:nvPr>
        </p:nvSpPr>
        <p:spPr bwMode="auto">
          <a:xfrm>
            <a:off x="5622009" y="3637533"/>
            <a:ext cx="212724" cy="280606"/>
          </a:xfrm>
          <a:custGeom>
            <a:avLst/>
            <a:gdLst>
              <a:gd name="T0" fmla="*/ 200 w 399"/>
              <a:gd name="T1" fmla="*/ 8 h 518"/>
              <a:gd name="T2" fmla="*/ 202 w 399"/>
              <a:gd name="T3" fmla="*/ 22 h 518"/>
              <a:gd name="T4" fmla="*/ 208 w 399"/>
              <a:gd name="T5" fmla="*/ 36 h 518"/>
              <a:gd name="T6" fmla="*/ 214 w 399"/>
              <a:gd name="T7" fmla="*/ 49 h 518"/>
              <a:gd name="T8" fmla="*/ 224 w 399"/>
              <a:gd name="T9" fmla="*/ 63 h 518"/>
              <a:gd name="T10" fmla="*/ 235 w 399"/>
              <a:gd name="T11" fmla="*/ 75 h 518"/>
              <a:gd name="T12" fmla="*/ 249 w 399"/>
              <a:gd name="T13" fmla="*/ 86 h 518"/>
              <a:gd name="T14" fmla="*/ 264 w 399"/>
              <a:gd name="T15" fmla="*/ 95 h 518"/>
              <a:gd name="T16" fmla="*/ 316 w 399"/>
              <a:gd name="T17" fmla="*/ 106 h 518"/>
              <a:gd name="T18" fmla="*/ 365 w 399"/>
              <a:gd name="T19" fmla="*/ 119 h 518"/>
              <a:gd name="T20" fmla="*/ 380 w 399"/>
              <a:gd name="T21" fmla="*/ 127 h 518"/>
              <a:gd name="T22" fmla="*/ 392 w 399"/>
              <a:gd name="T23" fmla="*/ 137 h 518"/>
              <a:gd name="T24" fmla="*/ 398 w 399"/>
              <a:gd name="T25" fmla="*/ 151 h 518"/>
              <a:gd name="T26" fmla="*/ 398 w 399"/>
              <a:gd name="T27" fmla="*/ 174 h 518"/>
              <a:gd name="T28" fmla="*/ 390 w 399"/>
              <a:gd name="T29" fmla="*/ 200 h 518"/>
              <a:gd name="T30" fmla="*/ 369 w 399"/>
              <a:gd name="T31" fmla="*/ 239 h 518"/>
              <a:gd name="T32" fmla="*/ 344 w 399"/>
              <a:gd name="T33" fmla="*/ 276 h 518"/>
              <a:gd name="T34" fmla="*/ 328 w 399"/>
              <a:gd name="T35" fmla="*/ 303 h 518"/>
              <a:gd name="T36" fmla="*/ 314 w 399"/>
              <a:gd name="T37" fmla="*/ 330 h 518"/>
              <a:gd name="T38" fmla="*/ 307 w 399"/>
              <a:gd name="T39" fmla="*/ 360 h 518"/>
              <a:gd name="T40" fmla="*/ 297 w 399"/>
              <a:gd name="T41" fmla="*/ 377 h 518"/>
              <a:gd name="T42" fmla="*/ 268 w 399"/>
              <a:gd name="T43" fmla="*/ 387 h 518"/>
              <a:gd name="T44" fmla="*/ 246 w 399"/>
              <a:gd name="T45" fmla="*/ 399 h 518"/>
              <a:gd name="T46" fmla="*/ 235 w 399"/>
              <a:gd name="T47" fmla="*/ 408 h 518"/>
              <a:gd name="T48" fmla="*/ 227 w 399"/>
              <a:gd name="T49" fmla="*/ 417 h 518"/>
              <a:gd name="T50" fmla="*/ 224 w 399"/>
              <a:gd name="T51" fmla="*/ 427 h 518"/>
              <a:gd name="T52" fmla="*/ 213 w 399"/>
              <a:gd name="T53" fmla="*/ 438 h 518"/>
              <a:gd name="T54" fmla="*/ 188 w 399"/>
              <a:gd name="T55" fmla="*/ 450 h 518"/>
              <a:gd name="T56" fmla="*/ 173 w 399"/>
              <a:gd name="T57" fmla="*/ 456 h 518"/>
              <a:gd name="T58" fmla="*/ 166 w 399"/>
              <a:gd name="T59" fmla="*/ 467 h 518"/>
              <a:gd name="T60" fmla="*/ 158 w 399"/>
              <a:gd name="T61" fmla="*/ 481 h 518"/>
              <a:gd name="T62" fmla="*/ 146 w 399"/>
              <a:gd name="T63" fmla="*/ 490 h 518"/>
              <a:gd name="T64" fmla="*/ 131 w 399"/>
              <a:gd name="T65" fmla="*/ 494 h 518"/>
              <a:gd name="T66" fmla="*/ 102 w 399"/>
              <a:gd name="T67" fmla="*/ 498 h 518"/>
              <a:gd name="T68" fmla="*/ 73 w 399"/>
              <a:gd name="T69" fmla="*/ 504 h 518"/>
              <a:gd name="T70" fmla="*/ 55 w 399"/>
              <a:gd name="T71" fmla="*/ 512 h 518"/>
              <a:gd name="T72" fmla="*/ 46 w 399"/>
              <a:gd name="T73" fmla="*/ 514 h 518"/>
              <a:gd name="T74" fmla="*/ 43 w 399"/>
              <a:gd name="T75" fmla="*/ 506 h 518"/>
              <a:gd name="T76" fmla="*/ 38 w 399"/>
              <a:gd name="T77" fmla="*/ 497 h 518"/>
              <a:gd name="T78" fmla="*/ 34 w 399"/>
              <a:gd name="T79" fmla="*/ 487 h 518"/>
              <a:gd name="T80" fmla="*/ 33 w 399"/>
              <a:gd name="T81" fmla="*/ 468 h 518"/>
              <a:gd name="T82" fmla="*/ 29 w 399"/>
              <a:gd name="T83" fmla="*/ 445 h 518"/>
              <a:gd name="T84" fmla="*/ 17 w 399"/>
              <a:gd name="T85" fmla="*/ 418 h 518"/>
              <a:gd name="T86" fmla="*/ 0 w 399"/>
              <a:gd name="T87" fmla="*/ 358 h 518"/>
              <a:gd name="T88" fmla="*/ 194 w 399"/>
              <a:gd name="T89" fmla="*/ 185 h 518"/>
              <a:gd name="T90" fmla="*/ 200 w 399"/>
              <a:gd name="T91"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05" name="Freeform 545">
            <a:extLst>
              <a:ext uri="{FF2B5EF4-FFF2-40B4-BE49-F238E27FC236}">
                <a16:creationId xmlns="" xmlns:a16="http://schemas.microsoft.com/office/drawing/2014/main" id="{4C0733EF-2F4C-4985-9744-F00BE845D5DB}"/>
              </a:ext>
            </a:extLst>
          </p:cNvPr>
          <p:cNvSpPr>
            <a:spLocks/>
          </p:cNvSpPr>
          <p:nvPr>
            <p:custDataLst>
              <p:tags r:id="rId375"/>
            </p:custDataLst>
          </p:nvPr>
        </p:nvSpPr>
        <p:spPr bwMode="auto">
          <a:xfrm>
            <a:off x="4071059" y="3693326"/>
            <a:ext cx="458324" cy="398756"/>
          </a:xfrm>
          <a:custGeom>
            <a:avLst/>
            <a:gdLst>
              <a:gd name="T0" fmla="*/ 231 w 866"/>
              <a:gd name="T1" fmla="*/ 270 h 740"/>
              <a:gd name="T2" fmla="*/ 245 w 866"/>
              <a:gd name="T3" fmla="*/ 264 h 740"/>
              <a:gd name="T4" fmla="*/ 272 w 866"/>
              <a:gd name="T5" fmla="*/ 272 h 740"/>
              <a:gd name="T6" fmla="*/ 654 w 866"/>
              <a:gd name="T7" fmla="*/ 1 h 740"/>
              <a:gd name="T8" fmla="*/ 679 w 866"/>
              <a:gd name="T9" fmla="*/ 6 h 740"/>
              <a:gd name="T10" fmla="*/ 711 w 866"/>
              <a:gd name="T11" fmla="*/ 21 h 740"/>
              <a:gd name="T12" fmla="*/ 730 w 866"/>
              <a:gd name="T13" fmla="*/ 35 h 740"/>
              <a:gd name="T14" fmla="*/ 760 w 866"/>
              <a:gd name="T15" fmla="*/ 57 h 740"/>
              <a:gd name="T16" fmla="*/ 791 w 866"/>
              <a:gd name="T17" fmla="*/ 59 h 740"/>
              <a:gd name="T18" fmla="*/ 831 w 866"/>
              <a:gd name="T19" fmla="*/ 43 h 740"/>
              <a:gd name="T20" fmla="*/ 854 w 866"/>
              <a:gd name="T21" fmla="*/ 166 h 740"/>
              <a:gd name="T22" fmla="*/ 866 w 866"/>
              <a:gd name="T23" fmla="*/ 205 h 740"/>
              <a:gd name="T24" fmla="*/ 850 w 866"/>
              <a:gd name="T25" fmla="*/ 301 h 740"/>
              <a:gd name="T26" fmla="*/ 848 w 866"/>
              <a:gd name="T27" fmla="*/ 376 h 740"/>
              <a:gd name="T28" fmla="*/ 834 w 866"/>
              <a:gd name="T29" fmla="*/ 421 h 740"/>
              <a:gd name="T30" fmla="*/ 802 w 866"/>
              <a:gd name="T31" fmla="*/ 467 h 740"/>
              <a:gd name="T32" fmla="*/ 777 w 866"/>
              <a:gd name="T33" fmla="*/ 499 h 740"/>
              <a:gd name="T34" fmla="*/ 758 w 866"/>
              <a:gd name="T35" fmla="*/ 567 h 740"/>
              <a:gd name="T36" fmla="*/ 711 w 866"/>
              <a:gd name="T37" fmla="*/ 629 h 740"/>
              <a:gd name="T38" fmla="*/ 680 w 866"/>
              <a:gd name="T39" fmla="*/ 646 h 740"/>
              <a:gd name="T40" fmla="*/ 644 w 866"/>
              <a:gd name="T41" fmla="*/ 638 h 740"/>
              <a:gd name="T42" fmla="*/ 611 w 866"/>
              <a:gd name="T43" fmla="*/ 625 h 740"/>
              <a:gd name="T44" fmla="*/ 566 w 866"/>
              <a:gd name="T45" fmla="*/ 633 h 740"/>
              <a:gd name="T46" fmla="*/ 530 w 866"/>
              <a:gd name="T47" fmla="*/ 659 h 740"/>
              <a:gd name="T48" fmla="*/ 511 w 866"/>
              <a:gd name="T49" fmla="*/ 680 h 740"/>
              <a:gd name="T50" fmla="*/ 491 w 866"/>
              <a:gd name="T51" fmla="*/ 684 h 740"/>
              <a:gd name="T52" fmla="*/ 470 w 866"/>
              <a:gd name="T53" fmla="*/ 668 h 740"/>
              <a:gd name="T54" fmla="*/ 446 w 866"/>
              <a:gd name="T55" fmla="*/ 639 h 740"/>
              <a:gd name="T56" fmla="*/ 421 w 866"/>
              <a:gd name="T57" fmla="*/ 635 h 740"/>
              <a:gd name="T58" fmla="*/ 405 w 866"/>
              <a:gd name="T59" fmla="*/ 647 h 740"/>
              <a:gd name="T60" fmla="*/ 384 w 866"/>
              <a:gd name="T61" fmla="*/ 652 h 740"/>
              <a:gd name="T62" fmla="*/ 350 w 866"/>
              <a:gd name="T63" fmla="*/ 638 h 740"/>
              <a:gd name="T64" fmla="*/ 306 w 866"/>
              <a:gd name="T65" fmla="*/ 608 h 740"/>
              <a:gd name="T66" fmla="*/ 271 w 866"/>
              <a:gd name="T67" fmla="*/ 604 h 740"/>
              <a:gd name="T68" fmla="*/ 237 w 866"/>
              <a:gd name="T69" fmla="*/ 620 h 740"/>
              <a:gd name="T70" fmla="*/ 209 w 866"/>
              <a:gd name="T71" fmla="*/ 653 h 740"/>
              <a:gd name="T72" fmla="*/ 190 w 866"/>
              <a:gd name="T73" fmla="*/ 692 h 740"/>
              <a:gd name="T74" fmla="*/ 178 w 866"/>
              <a:gd name="T75" fmla="*/ 719 h 740"/>
              <a:gd name="T76" fmla="*/ 149 w 866"/>
              <a:gd name="T77" fmla="*/ 702 h 740"/>
              <a:gd name="T78" fmla="*/ 100 w 866"/>
              <a:gd name="T79" fmla="*/ 740 h 740"/>
              <a:gd name="T80" fmla="*/ 66 w 866"/>
              <a:gd name="T81" fmla="*/ 699 h 740"/>
              <a:gd name="T82" fmla="*/ 64 w 866"/>
              <a:gd name="T83" fmla="*/ 644 h 740"/>
              <a:gd name="T84" fmla="*/ 50 w 866"/>
              <a:gd name="T85" fmla="*/ 613 h 740"/>
              <a:gd name="T86" fmla="*/ 20 w 866"/>
              <a:gd name="T87" fmla="*/ 587 h 740"/>
              <a:gd name="T88" fmla="*/ 5 w 866"/>
              <a:gd name="T89" fmla="*/ 558 h 740"/>
              <a:gd name="T90" fmla="*/ 53 w 866"/>
              <a:gd name="T91" fmla="*/ 530 h 740"/>
              <a:gd name="T92" fmla="*/ 76 w 866"/>
              <a:gd name="T93" fmla="*/ 518 h 740"/>
              <a:gd name="T94" fmla="*/ 139 w 866"/>
              <a:gd name="T95" fmla="*/ 510 h 740"/>
              <a:gd name="T96" fmla="*/ 182 w 866"/>
              <a:gd name="T97" fmla="*/ 500 h 740"/>
              <a:gd name="T98" fmla="*/ 201 w 866"/>
              <a:gd name="T99" fmla="*/ 475 h 740"/>
              <a:gd name="T100" fmla="*/ 219 w 866"/>
              <a:gd name="T101" fmla="*/ 424 h 740"/>
              <a:gd name="T102" fmla="*/ 224 w 866"/>
              <a:gd name="T103" fmla="*/ 367 h 740"/>
              <a:gd name="T104" fmla="*/ 219 w 866"/>
              <a:gd name="T105" fmla="*/ 32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endParaRPr lang="en-GB" dirty="0"/>
          </a:p>
        </p:txBody>
      </p:sp>
      <p:sp>
        <p:nvSpPr>
          <p:cNvPr id="506" name="Freeform 546">
            <a:extLst>
              <a:ext uri="{FF2B5EF4-FFF2-40B4-BE49-F238E27FC236}">
                <a16:creationId xmlns="" xmlns:a16="http://schemas.microsoft.com/office/drawing/2014/main" id="{0306314E-7B0C-442C-8BD5-8A1F7229BA7E}"/>
              </a:ext>
            </a:extLst>
          </p:cNvPr>
          <p:cNvSpPr>
            <a:spLocks/>
          </p:cNvSpPr>
          <p:nvPr>
            <p:custDataLst>
              <p:tags r:id="rId376"/>
            </p:custDataLst>
          </p:nvPr>
        </p:nvSpPr>
        <p:spPr bwMode="auto">
          <a:xfrm>
            <a:off x="3668819" y="3297850"/>
            <a:ext cx="365499" cy="269120"/>
          </a:xfrm>
          <a:custGeom>
            <a:avLst/>
            <a:gdLst>
              <a:gd name="T0" fmla="*/ 648 w 697"/>
              <a:gd name="T1" fmla="*/ 53 h 500"/>
              <a:gd name="T2" fmla="*/ 657 w 697"/>
              <a:gd name="T3" fmla="*/ 161 h 500"/>
              <a:gd name="T4" fmla="*/ 661 w 697"/>
              <a:gd name="T5" fmla="*/ 167 h 500"/>
              <a:gd name="T6" fmla="*/ 677 w 697"/>
              <a:gd name="T7" fmla="*/ 177 h 500"/>
              <a:gd name="T8" fmla="*/ 694 w 697"/>
              <a:gd name="T9" fmla="*/ 189 h 500"/>
              <a:gd name="T10" fmla="*/ 697 w 697"/>
              <a:gd name="T11" fmla="*/ 198 h 500"/>
              <a:gd name="T12" fmla="*/ 694 w 697"/>
              <a:gd name="T13" fmla="*/ 211 h 500"/>
              <a:gd name="T14" fmla="*/ 685 w 697"/>
              <a:gd name="T15" fmla="*/ 217 h 500"/>
              <a:gd name="T16" fmla="*/ 655 w 697"/>
              <a:gd name="T17" fmla="*/ 218 h 500"/>
              <a:gd name="T18" fmla="*/ 605 w 697"/>
              <a:gd name="T19" fmla="*/ 228 h 500"/>
              <a:gd name="T20" fmla="*/ 567 w 697"/>
              <a:gd name="T21" fmla="*/ 250 h 500"/>
              <a:gd name="T22" fmla="*/ 549 w 697"/>
              <a:gd name="T23" fmla="*/ 267 h 500"/>
              <a:gd name="T24" fmla="*/ 539 w 697"/>
              <a:gd name="T25" fmla="*/ 288 h 500"/>
              <a:gd name="T26" fmla="*/ 521 w 697"/>
              <a:gd name="T27" fmla="*/ 302 h 500"/>
              <a:gd name="T28" fmla="*/ 491 w 697"/>
              <a:gd name="T29" fmla="*/ 324 h 500"/>
              <a:gd name="T30" fmla="*/ 455 w 697"/>
              <a:gd name="T31" fmla="*/ 352 h 500"/>
              <a:gd name="T32" fmla="*/ 420 w 697"/>
              <a:gd name="T33" fmla="*/ 370 h 500"/>
              <a:gd name="T34" fmla="*/ 372 w 697"/>
              <a:gd name="T35" fmla="*/ 377 h 500"/>
              <a:gd name="T36" fmla="*/ 344 w 697"/>
              <a:gd name="T37" fmla="*/ 380 h 500"/>
              <a:gd name="T38" fmla="*/ 316 w 697"/>
              <a:gd name="T39" fmla="*/ 396 h 500"/>
              <a:gd name="T40" fmla="*/ 290 w 697"/>
              <a:gd name="T41" fmla="*/ 417 h 500"/>
              <a:gd name="T42" fmla="*/ 265 w 697"/>
              <a:gd name="T43" fmla="*/ 426 h 500"/>
              <a:gd name="T44" fmla="*/ 5 w 697"/>
              <a:gd name="T45" fmla="*/ 496 h 500"/>
              <a:gd name="T46" fmla="*/ 32 w 697"/>
              <a:gd name="T47" fmla="*/ 487 h 500"/>
              <a:gd name="T48" fmla="*/ 85 w 697"/>
              <a:gd name="T49" fmla="*/ 473 h 500"/>
              <a:gd name="T50" fmla="*/ 93 w 697"/>
              <a:gd name="T51" fmla="*/ 459 h 500"/>
              <a:gd name="T52" fmla="*/ 99 w 697"/>
              <a:gd name="T53" fmla="*/ 438 h 500"/>
              <a:gd name="T54" fmla="*/ 119 w 697"/>
              <a:gd name="T55" fmla="*/ 422 h 500"/>
              <a:gd name="T56" fmla="*/ 160 w 697"/>
              <a:gd name="T57" fmla="*/ 399 h 500"/>
              <a:gd name="T58" fmla="*/ 181 w 697"/>
              <a:gd name="T59" fmla="*/ 382 h 500"/>
              <a:gd name="T60" fmla="*/ 192 w 697"/>
              <a:gd name="T61" fmla="*/ 357 h 500"/>
              <a:gd name="T62" fmla="*/ 193 w 697"/>
              <a:gd name="T63" fmla="*/ 316 h 500"/>
              <a:gd name="T64" fmla="*/ 195 w 697"/>
              <a:gd name="T65" fmla="*/ 254 h 500"/>
              <a:gd name="T66" fmla="*/ 192 w 697"/>
              <a:gd name="T67" fmla="*/ 192 h 500"/>
              <a:gd name="T68" fmla="*/ 214 w 697"/>
              <a:gd name="T69" fmla="*/ 189 h 500"/>
              <a:gd name="T70" fmla="*/ 228 w 697"/>
              <a:gd name="T71" fmla="*/ 179 h 500"/>
              <a:gd name="T72" fmla="*/ 241 w 697"/>
              <a:gd name="T73" fmla="*/ 165 h 500"/>
              <a:gd name="T74" fmla="*/ 252 w 697"/>
              <a:gd name="T75" fmla="*/ 152 h 500"/>
              <a:gd name="T76" fmla="*/ 281 w 697"/>
              <a:gd name="T77" fmla="*/ 146 h 500"/>
              <a:gd name="T78" fmla="*/ 314 w 697"/>
              <a:gd name="T79" fmla="*/ 143 h 500"/>
              <a:gd name="T80" fmla="*/ 340 w 697"/>
              <a:gd name="T81" fmla="*/ 131 h 500"/>
              <a:gd name="T82" fmla="*/ 360 w 697"/>
              <a:gd name="T83" fmla="*/ 108 h 500"/>
              <a:gd name="T84" fmla="*/ 388 w 697"/>
              <a:gd name="T85" fmla="*/ 48 h 500"/>
              <a:gd name="T86" fmla="*/ 407 w 697"/>
              <a:gd name="T87" fmla="*/ 12 h 500"/>
              <a:gd name="T88" fmla="*/ 426 w 697"/>
              <a:gd name="T89" fmla="*/ 8 h 500"/>
              <a:gd name="T90" fmla="*/ 449 w 697"/>
              <a:gd name="T91" fmla="*/ 20 h 500"/>
              <a:gd name="T92" fmla="*/ 512 w 697"/>
              <a:gd name="T93" fmla="*/ 18 h 500"/>
              <a:gd name="T94" fmla="*/ 590 w 697"/>
              <a:gd name="T95" fmla="*/ 13 h 500"/>
              <a:gd name="T96" fmla="*/ 597 w 697"/>
              <a:gd name="T97" fmla="*/ 17 h 500"/>
              <a:gd name="T98" fmla="*/ 605 w 697"/>
              <a:gd name="T99" fmla="*/ 36 h 500"/>
              <a:gd name="T100" fmla="*/ 611 w 697"/>
              <a:gd name="T101" fmla="*/ 51 h 500"/>
              <a:gd name="T102" fmla="*/ 618 w 697"/>
              <a:gd name="T103" fmla="*/ 5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07" name="Freeform 547">
            <a:extLst>
              <a:ext uri="{FF2B5EF4-FFF2-40B4-BE49-F238E27FC236}">
                <a16:creationId xmlns="" xmlns:a16="http://schemas.microsoft.com/office/drawing/2014/main" id="{D9A208D8-6863-4079-B28D-BC2BDCF68896}"/>
              </a:ext>
            </a:extLst>
          </p:cNvPr>
          <p:cNvSpPr>
            <a:spLocks/>
          </p:cNvSpPr>
          <p:nvPr>
            <p:custDataLst>
              <p:tags r:id="rId377"/>
            </p:custDataLst>
          </p:nvPr>
        </p:nvSpPr>
        <p:spPr bwMode="auto">
          <a:xfrm>
            <a:off x="4521648" y="2191833"/>
            <a:ext cx="288143" cy="95176"/>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08" name="Freeform 548">
            <a:extLst>
              <a:ext uri="{FF2B5EF4-FFF2-40B4-BE49-F238E27FC236}">
                <a16:creationId xmlns="" xmlns:a16="http://schemas.microsoft.com/office/drawing/2014/main" id="{FE57706A-9214-4A72-BEDC-7DA9794A864E}"/>
              </a:ext>
            </a:extLst>
          </p:cNvPr>
          <p:cNvSpPr>
            <a:spLocks/>
          </p:cNvSpPr>
          <p:nvPr>
            <p:custDataLst>
              <p:tags r:id="rId378"/>
            </p:custDataLst>
          </p:nvPr>
        </p:nvSpPr>
        <p:spPr bwMode="auto">
          <a:xfrm>
            <a:off x="5144348" y="2175424"/>
            <a:ext cx="131502" cy="62357"/>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09" name="Freeform 549">
            <a:extLst>
              <a:ext uri="{FF2B5EF4-FFF2-40B4-BE49-F238E27FC236}">
                <a16:creationId xmlns="" xmlns:a16="http://schemas.microsoft.com/office/drawing/2014/main" id="{F38AF4F2-DE0D-4EEC-80BE-2E7452BF3391}"/>
              </a:ext>
            </a:extLst>
          </p:cNvPr>
          <p:cNvSpPr>
            <a:spLocks/>
          </p:cNvSpPr>
          <p:nvPr>
            <p:custDataLst>
              <p:tags r:id="rId379"/>
            </p:custDataLst>
          </p:nvPr>
        </p:nvSpPr>
        <p:spPr bwMode="auto">
          <a:xfrm>
            <a:off x="5318395" y="2157373"/>
            <a:ext cx="77355" cy="59076"/>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10" name="Freeform 550">
            <a:extLst>
              <a:ext uri="{FF2B5EF4-FFF2-40B4-BE49-F238E27FC236}">
                <a16:creationId xmlns="" xmlns:a16="http://schemas.microsoft.com/office/drawing/2014/main" id="{31E12822-2405-47CB-949C-1F537BE33665}"/>
              </a:ext>
            </a:extLst>
          </p:cNvPr>
          <p:cNvSpPr>
            <a:spLocks/>
          </p:cNvSpPr>
          <p:nvPr>
            <p:custDataLst>
              <p:tags r:id="rId380"/>
            </p:custDataLst>
          </p:nvPr>
        </p:nvSpPr>
        <p:spPr bwMode="auto">
          <a:xfrm>
            <a:off x="5362873" y="2165577"/>
            <a:ext cx="158576" cy="59076"/>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GB" dirty="0"/>
          </a:p>
        </p:txBody>
      </p:sp>
      <p:sp>
        <p:nvSpPr>
          <p:cNvPr id="511" name="Freeform 533">
            <a:extLst>
              <a:ext uri="{FF2B5EF4-FFF2-40B4-BE49-F238E27FC236}">
                <a16:creationId xmlns="" xmlns:a16="http://schemas.microsoft.com/office/drawing/2014/main" id="{195B2B45-AD88-4043-92AE-549B2F266752}"/>
              </a:ext>
            </a:extLst>
          </p:cNvPr>
          <p:cNvSpPr>
            <a:spLocks/>
          </p:cNvSpPr>
          <p:nvPr/>
        </p:nvSpPr>
        <p:spPr bwMode="auto">
          <a:xfrm rot="20358690">
            <a:off x="4725137" y="2808889"/>
            <a:ext cx="45719" cy="75110"/>
          </a:xfrm>
          <a:custGeom>
            <a:avLst/>
            <a:gdLst>
              <a:gd name="T0" fmla="*/ 2147483647 w 15"/>
              <a:gd name="T1" fmla="*/ 0 h 28"/>
              <a:gd name="T2" fmla="*/ 2147483647 w 15"/>
              <a:gd name="T3" fmla="*/ 2147483647 h 28"/>
              <a:gd name="T4" fmla="*/ 2147483647 w 15"/>
              <a:gd name="T5" fmla="*/ 2147483647 h 28"/>
              <a:gd name="T6" fmla="*/ 0 w 15"/>
              <a:gd name="T7" fmla="*/ 2147483647 h 28"/>
              <a:gd name="T8" fmla="*/ 0 w 15"/>
              <a:gd name="T9" fmla="*/ 2147483647 h 28"/>
              <a:gd name="T10" fmla="*/ 0 w 15"/>
              <a:gd name="T11" fmla="*/ 2147483647 h 28"/>
              <a:gd name="T12" fmla="*/ 2147483647 w 15"/>
              <a:gd name="T13" fmla="*/ 2147483647 h 28"/>
              <a:gd name="T14" fmla="*/ 2147483647 w 15"/>
              <a:gd name="T15" fmla="*/ 2147483647 h 28"/>
              <a:gd name="T16" fmla="*/ 2147483647 w 15"/>
              <a:gd name="T17" fmla="*/ 2147483647 h 28"/>
              <a:gd name="T18" fmla="*/ 2147483647 w 15"/>
              <a:gd name="T19" fmla="*/ 2147483647 h 28"/>
              <a:gd name="T20" fmla="*/ 2147483647 w 15"/>
              <a:gd name="T21" fmla="*/ 2147483647 h 28"/>
              <a:gd name="T22" fmla="*/ 2147483647 w 15"/>
              <a:gd name="T23" fmla="*/ 2147483647 h 28"/>
              <a:gd name="T24" fmla="*/ 2147483647 w 15"/>
              <a:gd name="T25" fmla="*/ 2147483647 h 28"/>
              <a:gd name="T26" fmla="*/ 2147483647 w 15"/>
              <a:gd name="T27" fmla="*/ 2147483647 h 28"/>
              <a:gd name="T28" fmla="*/ 2147483647 w 15"/>
              <a:gd name="T29" fmla="*/ 2147483647 h 28"/>
              <a:gd name="T30" fmla="*/ 2147483647 w 15"/>
              <a:gd name="T31" fmla="*/ 2147483647 h 28"/>
              <a:gd name="T32" fmla="*/ 2147483647 w 15"/>
              <a:gd name="T33" fmla="*/ 0 h 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
              <a:gd name="T52" fmla="*/ 0 h 28"/>
              <a:gd name="T53" fmla="*/ 15 w 15"/>
              <a:gd name="T54" fmla="*/ 28 h 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 h="28">
                <a:moveTo>
                  <a:pt x="10" y="0"/>
                </a:moveTo>
                <a:lnTo>
                  <a:pt x="8" y="1"/>
                </a:lnTo>
                <a:lnTo>
                  <a:pt x="8" y="5"/>
                </a:lnTo>
                <a:lnTo>
                  <a:pt x="0" y="11"/>
                </a:lnTo>
                <a:lnTo>
                  <a:pt x="0" y="17"/>
                </a:lnTo>
                <a:lnTo>
                  <a:pt x="0" y="21"/>
                </a:lnTo>
                <a:lnTo>
                  <a:pt x="4" y="28"/>
                </a:lnTo>
                <a:lnTo>
                  <a:pt x="8" y="28"/>
                </a:lnTo>
                <a:lnTo>
                  <a:pt x="11" y="28"/>
                </a:lnTo>
                <a:lnTo>
                  <a:pt x="11" y="23"/>
                </a:lnTo>
                <a:lnTo>
                  <a:pt x="11" y="17"/>
                </a:lnTo>
                <a:lnTo>
                  <a:pt x="13" y="17"/>
                </a:lnTo>
                <a:lnTo>
                  <a:pt x="15" y="15"/>
                </a:lnTo>
                <a:lnTo>
                  <a:pt x="13" y="11"/>
                </a:lnTo>
                <a:lnTo>
                  <a:pt x="13" y="9"/>
                </a:lnTo>
                <a:lnTo>
                  <a:pt x="11" y="3"/>
                </a:lnTo>
                <a:lnTo>
                  <a:pt x="10" y="0"/>
                </a:lnTo>
                <a:close/>
              </a:path>
            </a:pathLst>
          </a:custGeom>
          <a:solidFill>
            <a:schemeClr val="accent2"/>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000" b="1" dirty="0"/>
              <a:t> </a:t>
            </a:r>
          </a:p>
        </p:txBody>
      </p:sp>
      <p:sp>
        <p:nvSpPr>
          <p:cNvPr id="685" name="TextBox 684">
            <a:extLst>
              <a:ext uri="{FF2B5EF4-FFF2-40B4-BE49-F238E27FC236}">
                <a16:creationId xmlns="" xmlns:a16="http://schemas.microsoft.com/office/drawing/2014/main" id="{48335CA1-B9F9-4E3A-A0BD-872F56E2651A}"/>
              </a:ext>
            </a:extLst>
          </p:cNvPr>
          <p:cNvSpPr txBox="1"/>
          <p:nvPr/>
        </p:nvSpPr>
        <p:spPr>
          <a:xfrm>
            <a:off x="3000748" y="5782503"/>
            <a:ext cx="1918258" cy="600164"/>
          </a:xfrm>
          <a:prstGeom prst="rect">
            <a:avLst/>
          </a:prstGeom>
          <a:solidFill>
            <a:schemeClr val="accent1"/>
          </a:solidFill>
        </p:spPr>
        <p:txBody>
          <a:bodyPr wrap="square" rtlCol="0" anchor="ctr">
            <a:spAutoFit/>
          </a:bodyPr>
          <a:lstStyle/>
          <a:p>
            <a:r>
              <a:rPr lang="en-ZA" sz="1100" b="1" dirty="0"/>
              <a:t>5 108 stores</a:t>
            </a:r>
          </a:p>
          <a:p>
            <a:r>
              <a:rPr lang="en-ZA" sz="1100" b="1" dirty="0" smtClean="0"/>
              <a:t>46 000 </a:t>
            </a:r>
            <a:r>
              <a:rPr lang="en-ZA" sz="1100" b="1" dirty="0"/>
              <a:t>employees</a:t>
            </a:r>
          </a:p>
          <a:p>
            <a:r>
              <a:rPr lang="en-ZA" sz="1100" b="1" dirty="0"/>
              <a:t>€2 147m revenue H1FY18</a:t>
            </a:r>
          </a:p>
        </p:txBody>
      </p:sp>
      <p:pic>
        <p:nvPicPr>
          <p:cNvPr id="689" name="Picture 688">
            <a:extLst>
              <a:ext uri="{FF2B5EF4-FFF2-40B4-BE49-F238E27FC236}">
                <a16:creationId xmlns="" xmlns:a16="http://schemas.microsoft.com/office/drawing/2014/main" id="{F3EAA212-F92F-4760-8AAC-1E916C36BF3A}"/>
              </a:ext>
            </a:extLst>
          </p:cNvPr>
          <p:cNvPicPr>
            <a:picLocks noChangeAspect="1"/>
          </p:cNvPicPr>
          <p:nvPr/>
        </p:nvPicPr>
        <p:blipFill>
          <a:blip r:embed="rId382"/>
          <a:stretch>
            <a:fillRect/>
          </a:stretch>
        </p:blipFill>
        <p:spPr>
          <a:xfrm>
            <a:off x="3171945" y="5158361"/>
            <a:ext cx="1202291" cy="514580"/>
          </a:xfrm>
          <a:prstGeom prst="rect">
            <a:avLst/>
          </a:prstGeom>
        </p:spPr>
      </p:pic>
      <p:sp>
        <p:nvSpPr>
          <p:cNvPr id="691" name="TextBox 690">
            <a:extLst>
              <a:ext uri="{FF2B5EF4-FFF2-40B4-BE49-F238E27FC236}">
                <a16:creationId xmlns="" xmlns:a16="http://schemas.microsoft.com/office/drawing/2014/main" id="{6D388AFA-7C2F-4162-9A11-104E8C1E59EE}"/>
              </a:ext>
            </a:extLst>
          </p:cNvPr>
          <p:cNvSpPr txBox="1"/>
          <p:nvPr/>
        </p:nvSpPr>
        <p:spPr>
          <a:xfrm>
            <a:off x="5603629" y="4432912"/>
            <a:ext cx="2136736" cy="600164"/>
          </a:xfrm>
          <a:prstGeom prst="rect">
            <a:avLst/>
          </a:prstGeom>
          <a:solidFill>
            <a:schemeClr val="accent1"/>
          </a:solidFill>
        </p:spPr>
        <p:txBody>
          <a:bodyPr wrap="square" rtlCol="0" anchor="ctr">
            <a:spAutoFit/>
          </a:bodyPr>
          <a:lstStyle/>
          <a:p>
            <a:r>
              <a:rPr lang="en-ZA" sz="1100" b="1" dirty="0"/>
              <a:t>628 stores</a:t>
            </a:r>
          </a:p>
          <a:p>
            <a:r>
              <a:rPr lang="en-ZA" sz="1100" b="1" dirty="0"/>
              <a:t>5 </a:t>
            </a:r>
            <a:r>
              <a:rPr lang="en-ZA" sz="1100" b="1" dirty="0" smtClean="0"/>
              <a:t>700 </a:t>
            </a:r>
            <a:r>
              <a:rPr lang="en-ZA" sz="1100" b="1" dirty="0"/>
              <a:t>employees</a:t>
            </a:r>
          </a:p>
          <a:p>
            <a:r>
              <a:rPr lang="en-ZA" sz="1100" b="1" dirty="0"/>
              <a:t>€644m revenue H1FY18</a:t>
            </a:r>
          </a:p>
        </p:txBody>
      </p:sp>
      <p:grpSp>
        <p:nvGrpSpPr>
          <p:cNvPr id="16" name="Group 15">
            <a:extLst>
              <a:ext uri="{FF2B5EF4-FFF2-40B4-BE49-F238E27FC236}">
                <a16:creationId xmlns="" xmlns:a16="http://schemas.microsoft.com/office/drawing/2014/main" id="{CF339BD0-AA39-4F62-B2DF-F1B815C544CA}"/>
              </a:ext>
            </a:extLst>
          </p:cNvPr>
          <p:cNvGrpSpPr/>
          <p:nvPr/>
        </p:nvGrpSpPr>
        <p:grpSpPr>
          <a:xfrm>
            <a:off x="5970110" y="5180968"/>
            <a:ext cx="1800000" cy="1088436"/>
            <a:chOff x="5703369" y="5082798"/>
            <a:chExt cx="1800000" cy="1088436"/>
          </a:xfrm>
        </p:grpSpPr>
        <p:sp>
          <p:nvSpPr>
            <p:cNvPr id="13" name="Rectangle 12">
              <a:extLst>
                <a:ext uri="{FF2B5EF4-FFF2-40B4-BE49-F238E27FC236}">
                  <a16:creationId xmlns="" xmlns:a16="http://schemas.microsoft.com/office/drawing/2014/main" id="{B1B07F5D-2E80-4941-B795-CD2EFAB235C1}"/>
                </a:ext>
              </a:extLst>
            </p:cNvPr>
            <p:cNvSpPr/>
            <p:nvPr/>
          </p:nvSpPr>
          <p:spPr>
            <a:xfrm>
              <a:off x="5703369" y="5082798"/>
              <a:ext cx="1800000" cy="1088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pic>
          <p:nvPicPr>
            <p:cNvPr id="692" name="Picture 691">
              <a:extLst>
                <a:ext uri="{FF2B5EF4-FFF2-40B4-BE49-F238E27FC236}">
                  <a16:creationId xmlns="" xmlns:a16="http://schemas.microsoft.com/office/drawing/2014/main" id="{609706AC-BEE5-48E6-9812-9965413066A6}"/>
                </a:ext>
              </a:extLst>
            </p:cNvPr>
            <p:cNvPicPr>
              <a:picLocks noChangeAspect="1"/>
            </p:cNvPicPr>
            <p:nvPr/>
          </p:nvPicPr>
          <p:blipFill>
            <a:blip r:embed="rId383" cstate="screen">
              <a:extLst>
                <a:ext uri="{28A0092B-C50C-407E-A947-70E740481C1C}">
                  <a14:useLocalDpi xmlns:a14="http://schemas.microsoft.com/office/drawing/2010/main" xmlns=""/>
                </a:ext>
              </a:extLst>
            </a:blip>
            <a:stretch>
              <a:fillRect/>
            </a:stretch>
          </p:blipFill>
          <p:spPr>
            <a:xfrm>
              <a:off x="5883958" y="5126123"/>
              <a:ext cx="807915" cy="253483"/>
            </a:xfrm>
            <a:prstGeom prst="rect">
              <a:avLst/>
            </a:prstGeom>
          </p:spPr>
        </p:pic>
        <p:pic>
          <p:nvPicPr>
            <p:cNvPr id="693" name="Picture 692">
              <a:extLst>
                <a:ext uri="{FF2B5EF4-FFF2-40B4-BE49-F238E27FC236}">
                  <a16:creationId xmlns="" xmlns:a16="http://schemas.microsoft.com/office/drawing/2014/main" id="{A3B83CB6-304F-431B-ABBC-B8D808320D37}"/>
                </a:ext>
              </a:extLst>
            </p:cNvPr>
            <p:cNvPicPr>
              <a:picLocks noChangeAspect="1"/>
            </p:cNvPicPr>
            <p:nvPr/>
          </p:nvPicPr>
          <p:blipFill rotWithShape="1">
            <a:blip r:embed="rId384" cstate="screen">
              <a:extLst>
                <a:ext uri="{28A0092B-C50C-407E-A947-70E740481C1C}">
                  <a14:useLocalDpi xmlns:a14="http://schemas.microsoft.com/office/drawing/2010/main" xmlns=""/>
                </a:ext>
              </a:extLst>
            </a:blip>
            <a:srcRect/>
            <a:stretch/>
          </p:blipFill>
          <p:spPr>
            <a:xfrm>
              <a:off x="5879105" y="5443084"/>
              <a:ext cx="688102" cy="344051"/>
            </a:xfrm>
            <a:prstGeom prst="rect">
              <a:avLst/>
            </a:prstGeom>
          </p:spPr>
        </p:pic>
        <p:pic>
          <p:nvPicPr>
            <p:cNvPr id="694" name="Picture 693">
              <a:extLst>
                <a:ext uri="{FF2B5EF4-FFF2-40B4-BE49-F238E27FC236}">
                  <a16:creationId xmlns="" xmlns:a16="http://schemas.microsoft.com/office/drawing/2014/main" id="{4C291A48-0EB6-48C6-BEBF-45363DC2DC5E}"/>
                </a:ext>
              </a:extLst>
            </p:cNvPr>
            <p:cNvPicPr>
              <a:picLocks noChangeAspect="1"/>
            </p:cNvPicPr>
            <p:nvPr/>
          </p:nvPicPr>
          <p:blipFill>
            <a:blip r:embed="rId385" cstate="screen">
              <a:extLst>
                <a:ext uri="{28A0092B-C50C-407E-A947-70E740481C1C}">
                  <a14:useLocalDpi xmlns:a14="http://schemas.microsoft.com/office/drawing/2010/main" xmlns=""/>
                </a:ext>
              </a:extLst>
            </a:blip>
            <a:stretch>
              <a:fillRect/>
            </a:stretch>
          </p:blipFill>
          <p:spPr>
            <a:xfrm>
              <a:off x="6770440" y="5115685"/>
              <a:ext cx="517435" cy="384189"/>
            </a:xfrm>
            <a:prstGeom prst="rect">
              <a:avLst/>
            </a:prstGeom>
          </p:spPr>
        </p:pic>
        <p:pic>
          <p:nvPicPr>
            <p:cNvPr id="695" name="Picture 694">
              <a:extLst>
                <a:ext uri="{FF2B5EF4-FFF2-40B4-BE49-F238E27FC236}">
                  <a16:creationId xmlns="" xmlns:a16="http://schemas.microsoft.com/office/drawing/2014/main" id="{30BF0199-1614-4F0B-83CF-79976BED6605}"/>
                </a:ext>
              </a:extLst>
            </p:cNvPr>
            <p:cNvPicPr>
              <a:picLocks noChangeAspect="1"/>
            </p:cNvPicPr>
            <p:nvPr/>
          </p:nvPicPr>
          <p:blipFill>
            <a:blip r:embed="rId386" cstate="screen">
              <a:extLst>
                <a:ext uri="{28A0092B-C50C-407E-A947-70E740481C1C}">
                  <a14:useLocalDpi xmlns:a14="http://schemas.microsoft.com/office/drawing/2010/main" xmlns=""/>
                </a:ext>
              </a:extLst>
            </a:blip>
            <a:stretch>
              <a:fillRect/>
            </a:stretch>
          </p:blipFill>
          <p:spPr>
            <a:xfrm>
              <a:off x="6670721" y="5575616"/>
              <a:ext cx="724505" cy="140582"/>
            </a:xfrm>
            <a:prstGeom prst="rect">
              <a:avLst/>
            </a:prstGeom>
          </p:spPr>
        </p:pic>
        <p:pic>
          <p:nvPicPr>
            <p:cNvPr id="696" name="Picture 695">
              <a:extLst>
                <a:ext uri="{FF2B5EF4-FFF2-40B4-BE49-F238E27FC236}">
                  <a16:creationId xmlns="" xmlns:a16="http://schemas.microsoft.com/office/drawing/2014/main" id="{7F33A211-3AC9-483B-8BF0-22A27E7E1C6B}"/>
                </a:ext>
              </a:extLst>
            </p:cNvPr>
            <p:cNvPicPr>
              <a:picLocks noChangeAspect="1"/>
            </p:cNvPicPr>
            <p:nvPr/>
          </p:nvPicPr>
          <p:blipFill>
            <a:blip r:embed="rId387" cstate="screen">
              <a:extLst>
                <a:ext uri="{28A0092B-C50C-407E-A947-70E740481C1C}">
                  <a14:useLocalDpi xmlns:a14="http://schemas.microsoft.com/office/drawing/2010/main" xmlns=""/>
                </a:ext>
              </a:extLst>
            </a:blip>
            <a:stretch>
              <a:fillRect/>
            </a:stretch>
          </p:blipFill>
          <p:spPr>
            <a:xfrm>
              <a:off x="6097949" y="5872948"/>
              <a:ext cx="1145543" cy="288331"/>
            </a:xfrm>
            <a:prstGeom prst="rect">
              <a:avLst/>
            </a:prstGeom>
          </p:spPr>
        </p:pic>
      </p:grpSp>
      <p:grpSp>
        <p:nvGrpSpPr>
          <p:cNvPr id="2" name="Group 1">
            <a:extLst>
              <a:ext uri="{FF2B5EF4-FFF2-40B4-BE49-F238E27FC236}">
                <a16:creationId xmlns="" xmlns:a16="http://schemas.microsoft.com/office/drawing/2014/main" id="{8D3EB0CB-47B8-432C-AE1C-9CAD903669CC}"/>
              </a:ext>
            </a:extLst>
          </p:cNvPr>
          <p:cNvGrpSpPr/>
          <p:nvPr/>
        </p:nvGrpSpPr>
        <p:grpSpPr>
          <a:xfrm>
            <a:off x="154198" y="3252747"/>
            <a:ext cx="2131653" cy="1797529"/>
            <a:chOff x="1099484" y="1217619"/>
            <a:chExt cx="2131653" cy="1797529"/>
          </a:xfrm>
        </p:grpSpPr>
        <p:sp>
          <p:nvSpPr>
            <p:cNvPr id="5" name="TextBox 4">
              <a:extLst>
                <a:ext uri="{FF2B5EF4-FFF2-40B4-BE49-F238E27FC236}">
                  <a16:creationId xmlns="" xmlns:a16="http://schemas.microsoft.com/office/drawing/2014/main" id="{3E0C8C44-87C0-411C-8CC5-B1845E3AD5E8}"/>
                </a:ext>
              </a:extLst>
            </p:cNvPr>
            <p:cNvSpPr txBox="1"/>
            <p:nvPr/>
          </p:nvSpPr>
          <p:spPr>
            <a:xfrm>
              <a:off x="1227515" y="2197906"/>
              <a:ext cx="1914790" cy="600164"/>
            </a:xfrm>
            <a:prstGeom prst="rect">
              <a:avLst/>
            </a:prstGeom>
            <a:solidFill>
              <a:schemeClr val="accent1"/>
            </a:solidFill>
          </p:spPr>
          <p:txBody>
            <a:bodyPr wrap="square" rtlCol="0" anchor="ctr">
              <a:spAutoFit/>
            </a:bodyPr>
            <a:lstStyle/>
            <a:p>
              <a:r>
                <a:rPr lang="en-ZA" sz="1100" b="1" dirty="0"/>
                <a:t>3 304 stores</a:t>
              </a:r>
            </a:p>
            <a:p>
              <a:r>
                <a:rPr lang="en-ZA" sz="1100" b="1" dirty="0"/>
                <a:t>9 </a:t>
              </a:r>
              <a:r>
                <a:rPr lang="en-ZA" sz="1100" b="1" dirty="0" smtClean="0"/>
                <a:t>500 </a:t>
              </a:r>
              <a:r>
                <a:rPr lang="en-ZA" sz="1100" b="1" dirty="0"/>
                <a:t>employees</a:t>
              </a:r>
            </a:p>
            <a:p>
              <a:r>
                <a:rPr lang="en-ZA" sz="1100" b="1" dirty="0"/>
                <a:t>€1 255m revenue H1FY18</a:t>
              </a:r>
            </a:p>
          </p:txBody>
        </p:sp>
        <p:grpSp>
          <p:nvGrpSpPr>
            <p:cNvPr id="11" name="Group 10">
              <a:extLst>
                <a:ext uri="{FF2B5EF4-FFF2-40B4-BE49-F238E27FC236}">
                  <a16:creationId xmlns="" xmlns:a16="http://schemas.microsoft.com/office/drawing/2014/main" id="{1AA783A8-2B7B-4433-85BD-224DF361D571}"/>
                </a:ext>
              </a:extLst>
            </p:cNvPr>
            <p:cNvGrpSpPr/>
            <p:nvPr/>
          </p:nvGrpSpPr>
          <p:grpSpPr>
            <a:xfrm>
              <a:off x="1370347" y="1682885"/>
              <a:ext cx="1692000" cy="370170"/>
              <a:chOff x="-2189019" y="2069836"/>
              <a:chExt cx="1692000" cy="370170"/>
            </a:xfrm>
          </p:grpSpPr>
          <p:sp>
            <p:nvSpPr>
              <p:cNvPr id="10" name="Rectangle 9">
                <a:extLst>
                  <a:ext uri="{FF2B5EF4-FFF2-40B4-BE49-F238E27FC236}">
                    <a16:creationId xmlns="" xmlns:a16="http://schemas.microsoft.com/office/drawing/2014/main" id="{168741FC-FBC8-448A-A422-8F042C85A0DF}"/>
                  </a:ext>
                </a:extLst>
              </p:cNvPr>
              <p:cNvSpPr/>
              <p:nvPr/>
            </p:nvSpPr>
            <p:spPr>
              <a:xfrm>
                <a:off x="-2189019" y="2069836"/>
                <a:ext cx="1692000" cy="3701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pic>
            <p:nvPicPr>
              <p:cNvPr id="683" name="Picture 682">
                <a:extLst>
                  <a:ext uri="{FF2B5EF4-FFF2-40B4-BE49-F238E27FC236}">
                    <a16:creationId xmlns="" xmlns:a16="http://schemas.microsoft.com/office/drawing/2014/main" id="{0EA765FD-39AF-4960-A40D-B93FAA2E51AF}"/>
                  </a:ext>
                </a:extLst>
              </p:cNvPr>
              <p:cNvPicPr>
                <a:picLocks noChangeAspect="1"/>
              </p:cNvPicPr>
              <p:nvPr/>
            </p:nvPicPr>
            <p:blipFill>
              <a:blip r:embed="rId388">
                <a:extLst>
                  <a:ext uri="{28A0092B-C50C-407E-A947-70E740481C1C}">
                    <a14:useLocalDpi xmlns:a14="http://schemas.microsoft.com/office/drawing/2010/main" xmlns="" val="0"/>
                  </a:ext>
                </a:extLst>
              </a:blip>
              <a:stretch>
                <a:fillRect/>
              </a:stretch>
            </p:blipFill>
            <p:spPr>
              <a:xfrm>
                <a:off x="-2117517" y="2150987"/>
                <a:ext cx="1548996" cy="207869"/>
              </a:xfrm>
              <a:prstGeom prst="rect">
                <a:avLst/>
              </a:prstGeom>
            </p:spPr>
          </p:pic>
        </p:grpSp>
        <p:sp>
          <p:nvSpPr>
            <p:cNvPr id="17" name="Rectangle 16">
              <a:extLst>
                <a:ext uri="{FF2B5EF4-FFF2-40B4-BE49-F238E27FC236}">
                  <a16:creationId xmlns="" xmlns:a16="http://schemas.microsoft.com/office/drawing/2014/main" id="{68918747-99DB-41E8-81BB-0EF23C57260A}"/>
                </a:ext>
              </a:extLst>
            </p:cNvPr>
            <p:cNvSpPr/>
            <p:nvPr/>
          </p:nvSpPr>
          <p:spPr>
            <a:xfrm>
              <a:off x="1099484" y="1555733"/>
              <a:ext cx="2131653" cy="1459415"/>
            </a:xfrm>
            <a:prstGeom prst="rect">
              <a:avLst/>
            </a:prstGeom>
            <a:no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9" name="TextBox 18">
              <a:extLst>
                <a:ext uri="{FF2B5EF4-FFF2-40B4-BE49-F238E27FC236}">
                  <a16:creationId xmlns="" xmlns:a16="http://schemas.microsoft.com/office/drawing/2014/main" id="{DFA4277F-8412-4143-84BF-5AA91CD853AB}"/>
                </a:ext>
              </a:extLst>
            </p:cNvPr>
            <p:cNvSpPr txBox="1"/>
            <p:nvPr/>
          </p:nvSpPr>
          <p:spPr>
            <a:xfrm>
              <a:off x="1490553" y="1217619"/>
              <a:ext cx="1480457" cy="338554"/>
            </a:xfrm>
            <a:prstGeom prst="rect">
              <a:avLst/>
            </a:prstGeom>
            <a:noFill/>
          </p:spPr>
          <p:txBody>
            <a:bodyPr wrap="square" rtlCol="0">
              <a:spAutoFit/>
            </a:bodyPr>
            <a:lstStyle/>
            <a:p>
              <a:pPr algn="ctr"/>
              <a:r>
                <a:rPr lang="en-ZA" sz="1600" b="1" dirty="0"/>
                <a:t>USA</a:t>
              </a:r>
            </a:p>
          </p:txBody>
        </p:sp>
      </p:grpSp>
      <p:sp>
        <p:nvSpPr>
          <p:cNvPr id="697" name="Rectangle 696">
            <a:extLst>
              <a:ext uri="{FF2B5EF4-FFF2-40B4-BE49-F238E27FC236}">
                <a16:creationId xmlns="" xmlns:a16="http://schemas.microsoft.com/office/drawing/2014/main" id="{9F676701-2B3A-473C-8804-C5802A441E14}"/>
              </a:ext>
            </a:extLst>
          </p:cNvPr>
          <p:cNvSpPr/>
          <p:nvPr/>
        </p:nvSpPr>
        <p:spPr>
          <a:xfrm>
            <a:off x="2958467" y="5158361"/>
            <a:ext cx="1928129" cy="1459415"/>
          </a:xfrm>
          <a:prstGeom prst="rect">
            <a:avLst/>
          </a:prstGeom>
          <a:no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698" name="TextBox 697">
            <a:extLst>
              <a:ext uri="{FF2B5EF4-FFF2-40B4-BE49-F238E27FC236}">
                <a16:creationId xmlns="" xmlns:a16="http://schemas.microsoft.com/office/drawing/2014/main" id="{1E3E0575-75A2-4BE5-A633-E15211B1519C}"/>
              </a:ext>
            </a:extLst>
          </p:cNvPr>
          <p:cNvSpPr txBox="1"/>
          <p:nvPr/>
        </p:nvSpPr>
        <p:spPr>
          <a:xfrm>
            <a:off x="2113908" y="4873958"/>
            <a:ext cx="1480457" cy="338554"/>
          </a:xfrm>
          <a:prstGeom prst="rect">
            <a:avLst/>
          </a:prstGeom>
          <a:noFill/>
        </p:spPr>
        <p:txBody>
          <a:bodyPr wrap="square" rtlCol="0">
            <a:spAutoFit/>
          </a:bodyPr>
          <a:lstStyle/>
          <a:p>
            <a:pPr algn="ctr"/>
            <a:r>
              <a:rPr lang="en-ZA" sz="1600" b="1" dirty="0"/>
              <a:t>Africa</a:t>
            </a:r>
          </a:p>
        </p:txBody>
      </p:sp>
      <p:sp>
        <p:nvSpPr>
          <p:cNvPr id="699" name="Rectangle 698">
            <a:extLst>
              <a:ext uri="{FF2B5EF4-FFF2-40B4-BE49-F238E27FC236}">
                <a16:creationId xmlns="" xmlns:a16="http://schemas.microsoft.com/office/drawing/2014/main" id="{A358FB23-F86A-48EB-98E9-98427CDA3FC3}"/>
              </a:ext>
            </a:extLst>
          </p:cNvPr>
          <p:cNvSpPr/>
          <p:nvPr/>
        </p:nvSpPr>
        <p:spPr>
          <a:xfrm>
            <a:off x="5540794" y="4233666"/>
            <a:ext cx="2262595" cy="2122688"/>
          </a:xfrm>
          <a:prstGeom prst="rect">
            <a:avLst/>
          </a:prstGeom>
          <a:no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700" name="TextBox 699">
            <a:extLst>
              <a:ext uri="{FF2B5EF4-FFF2-40B4-BE49-F238E27FC236}">
                <a16:creationId xmlns="" xmlns:a16="http://schemas.microsoft.com/office/drawing/2014/main" id="{02AEC613-6BBE-47B7-8F92-B6BBA732EFCD}"/>
              </a:ext>
            </a:extLst>
          </p:cNvPr>
          <p:cNvSpPr txBox="1"/>
          <p:nvPr/>
        </p:nvSpPr>
        <p:spPr>
          <a:xfrm>
            <a:off x="5931863" y="3895552"/>
            <a:ext cx="1480457" cy="338554"/>
          </a:xfrm>
          <a:prstGeom prst="rect">
            <a:avLst/>
          </a:prstGeom>
          <a:noFill/>
        </p:spPr>
        <p:txBody>
          <a:bodyPr wrap="square" rtlCol="0">
            <a:spAutoFit/>
          </a:bodyPr>
          <a:lstStyle/>
          <a:p>
            <a:pPr algn="ctr"/>
            <a:r>
              <a:rPr lang="en-ZA" sz="1600" b="1" dirty="0"/>
              <a:t>Australasia</a:t>
            </a:r>
          </a:p>
        </p:txBody>
      </p:sp>
      <p:grpSp>
        <p:nvGrpSpPr>
          <p:cNvPr id="679" name="Group 678">
            <a:extLst>
              <a:ext uri="{FF2B5EF4-FFF2-40B4-BE49-F238E27FC236}">
                <a16:creationId xmlns="" xmlns:a16="http://schemas.microsoft.com/office/drawing/2014/main" id="{8E725FFF-220F-4F2D-B6FC-CACAE9F1378D}"/>
              </a:ext>
            </a:extLst>
          </p:cNvPr>
          <p:cNvGrpSpPr/>
          <p:nvPr/>
        </p:nvGrpSpPr>
        <p:grpSpPr>
          <a:xfrm>
            <a:off x="3060193" y="1198812"/>
            <a:ext cx="2986726" cy="1775416"/>
            <a:chOff x="1328996" y="2208227"/>
            <a:chExt cx="2986726" cy="1775416"/>
          </a:xfrm>
        </p:grpSpPr>
        <p:sp>
          <p:nvSpPr>
            <p:cNvPr id="680" name="TextBox 679">
              <a:extLst>
                <a:ext uri="{FF2B5EF4-FFF2-40B4-BE49-F238E27FC236}">
                  <a16:creationId xmlns="" xmlns:a16="http://schemas.microsoft.com/office/drawing/2014/main" id="{00E331F4-6C8D-471A-86DA-5A57A84776E5}"/>
                </a:ext>
              </a:extLst>
            </p:cNvPr>
            <p:cNvSpPr txBox="1"/>
            <p:nvPr/>
          </p:nvSpPr>
          <p:spPr>
            <a:xfrm>
              <a:off x="1912561" y="3167035"/>
              <a:ext cx="1865827" cy="600164"/>
            </a:xfrm>
            <a:prstGeom prst="rect">
              <a:avLst/>
            </a:prstGeom>
            <a:solidFill>
              <a:schemeClr val="accent1"/>
            </a:solidFill>
          </p:spPr>
          <p:txBody>
            <a:bodyPr wrap="square" rtlCol="0" anchor="ctr">
              <a:spAutoFit/>
            </a:bodyPr>
            <a:lstStyle/>
            <a:p>
              <a:r>
                <a:rPr lang="en-ZA" sz="1100" b="1" dirty="0"/>
                <a:t>298 stores</a:t>
              </a:r>
            </a:p>
            <a:p>
              <a:r>
                <a:rPr lang="en-ZA" sz="1100" b="1" dirty="0"/>
                <a:t>13 </a:t>
              </a:r>
              <a:r>
                <a:rPr lang="en-ZA" sz="1100" b="1" dirty="0" smtClean="0"/>
                <a:t>000 </a:t>
              </a:r>
              <a:r>
                <a:rPr lang="en-ZA" sz="1100" b="1" dirty="0"/>
                <a:t>employees</a:t>
              </a:r>
            </a:p>
            <a:p>
              <a:r>
                <a:rPr lang="en-ZA" sz="1100" b="1" dirty="0"/>
                <a:t>€1 831m </a:t>
              </a:r>
              <a:r>
                <a:rPr lang="en-ZA" sz="1100" b="1" dirty="0" smtClean="0"/>
                <a:t>revenue H1FY18</a:t>
              </a:r>
              <a:endParaRPr lang="en-ZA" sz="1100" b="1" dirty="0"/>
            </a:p>
          </p:txBody>
        </p:sp>
        <p:pic>
          <p:nvPicPr>
            <p:cNvPr id="681" name="Picture 680">
              <a:extLst>
                <a:ext uri="{FF2B5EF4-FFF2-40B4-BE49-F238E27FC236}">
                  <a16:creationId xmlns="" xmlns:a16="http://schemas.microsoft.com/office/drawing/2014/main" id="{987D5EB4-40C5-431D-855B-4B7A72F6963A}"/>
                </a:ext>
              </a:extLst>
            </p:cNvPr>
            <p:cNvPicPr>
              <a:picLocks noChangeAspect="1"/>
            </p:cNvPicPr>
            <p:nvPr/>
          </p:nvPicPr>
          <p:blipFill>
            <a:blip r:embed="rId389">
              <a:extLst>
                <a:ext uri="{28A0092B-C50C-407E-A947-70E740481C1C}">
                  <a14:useLocalDpi xmlns:a14="http://schemas.microsoft.com/office/drawing/2010/main" xmlns=""/>
                </a:ext>
              </a:extLst>
            </a:blip>
            <a:stretch>
              <a:fillRect/>
            </a:stretch>
          </p:blipFill>
          <p:spPr>
            <a:xfrm>
              <a:off x="2227233" y="2658955"/>
              <a:ext cx="1197125" cy="295675"/>
            </a:xfrm>
            <a:prstGeom prst="rect">
              <a:avLst/>
            </a:prstGeom>
          </p:spPr>
        </p:pic>
        <p:sp>
          <p:nvSpPr>
            <p:cNvPr id="682" name="Rectangle 681">
              <a:extLst>
                <a:ext uri="{FF2B5EF4-FFF2-40B4-BE49-F238E27FC236}">
                  <a16:creationId xmlns="" xmlns:a16="http://schemas.microsoft.com/office/drawing/2014/main" id="{180BD852-7EA2-4800-AF4D-0ABE91A4CD1B}"/>
                </a:ext>
              </a:extLst>
            </p:cNvPr>
            <p:cNvSpPr/>
            <p:nvPr/>
          </p:nvSpPr>
          <p:spPr>
            <a:xfrm>
              <a:off x="1861921" y="2577838"/>
              <a:ext cx="1979347" cy="1405805"/>
            </a:xfrm>
            <a:prstGeom prst="rect">
              <a:avLst/>
            </a:prstGeom>
            <a:no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684" name="TextBox 683">
              <a:extLst>
                <a:ext uri="{FF2B5EF4-FFF2-40B4-BE49-F238E27FC236}">
                  <a16:creationId xmlns="" xmlns:a16="http://schemas.microsoft.com/office/drawing/2014/main" id="{865EFFDA-22FC-4FFC-AA7C-E3EEA1C6F011}"/>
                </a:ext>
              </a:extLst>
            </p:cNvPr>
            <p:cNvSpPr txBox="1"/>
            <p:nvPr/>
          </p:nvSpPr>
          <p:spPr>
            <a:xfrm>
              <a:off x="1328996" y="2208227"/>
              <a:ext cx="2986726" cy="338554"/>
            </a:xfrm>
            <a:prstGeom prst="rect">
              <a:avLst/>
            </a:prstGeom>
            <a:noFill/>
          </p:spPr>
          <p:txBody>
            <a:bodyPr wrap="square" rtlCol="0">
              <a:spAutoFit/>
            </a:bodyPr>
            <a:lstStyle/>
            <a:p>
              <a:pPr algn="ctr"/>
              <a:r>
                <a:rPr lang="en-ZA" sz="1600" b="1" dirty="0"/>
                <a:t>Conforama Europe</a:t>
              </a:r>
            </a:p>
          </p:txBody>
        </p:sp>
      </p:grpSp>
      <p:grpSp>
        <p:nvGrpSpPr>
          <p:cNvPr id="686" name="Group 685">
            <a:extLst>
              <a:ext uri="{FF2B5EF4-FFF2-40B4-BE49-F238E27FC236}">
                <a16:creationId xmlns="" xmlns:a16="http://schemas.microsoft.com/office/drawing/2014/main" id="{B37E686C-005B-4EB8-AD0C-F4654B97C216}"/>
              </a:ext>
            </a:extLst>
          </p:cNvPr>
          <p:cNvGrpSpPr/>
          <p:nvPr/>
        </p:nvGrpSpPr>
        <p:grpSpPr>
          <a:xfrm>
            <a:off x="5190176" y="1205610"/>
            <a:ext cx="2876018" cy="1777174"/>
            <a:chOff x="4310173" y="1238097"/>
            <a:chExt cx="2986726" cy="1777174"/>
          </a:xfrm>
        </p:grpSpPr>
        <p:grpSp>
          <p:nvGrpSpPr>
            <p:cNvPr id="688" name="Group 687">
              <a:extLst>
                <a:ext uri="{FF2B5EF4-FFF2-40B4-BE49-F238E27FC236}">
                  <a16:creationId xmlns="" xmlns:a16="http://schemas.microsoft.com/office/drawing/2014/main" id="{3D576E5F-C64C-4781-8936-8F3B8D0AA404}"/>
                </a:ext>
              </a:extLst>
            </p:cNvPr>
            <p:cNvGrpSpPr/>
            <p:nvPr/>
          </p:nvGrpSpPr>
          <p:grpSpPr>
            <a:xfrm>
              <a:off x="4833550" y="1614315"/>
              <a:ext cx="1740499" cy="409763"/>
              <a:chOff x="-2546167" y="1875761"/>
              <a:chExt cx="1740499" cy="409763"/>
            </a:xfrm>
          </p:grpSpPr>
          <p:sp>
            <p:nvSpPr>
              <p:cNvPr id="702" name="Rectangle 701">
                <a:extLst>
                  <a:ext uri="{FF2B5EF4-FFF2-40B4-BE49-F238E27FC236}">
                    <a16:creationId xmlns="" xmlns:a16="http://schemas.microsoft.com/office/drawing/2014/main" id="{E4D33ACE-9CBF-4AEC-8DBB-05A95CEAD7DE}"/>
                  </a:ext>
                </a:extLst>
              </p:cNvPr>
              <p:cNvSpPr/>
              <p:nvPr/>
            </p:nvSpPr>
            <p:spPr>
              <a:xfrm>
                <a:off x="-2546167" y="1875761"/>
                <a:ext cx="1740499" cy="4097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pic>
            <p:nvPicPr>
              <p:cNvPr id="703" name="Picture 702">
                <a:extLst>
                  <a:ext uri="{FF2B5EF4-FFF2-40B4-BE49-F238E27FC236}">
                    <a16:creationId xmlns="" xmlns:a16="http://schemas.microsoft.com/office/drawing/2014/main" id="{3F26EF0A-C2EB-4430-ACC0-EADDC14EC6A4}"/>
                  </a:ext>
                </a:extLst>
              </p:cNvPr>
              <p:cNvPicPr>
                <a:picLocks noChangeAspect="1"/>
              </p:cNvPicPr>
              <p:nvPr/>
            </p:nvPicPr>
            <p:blipFill rotWithShape="1">
              <a:blip r:embed="rId390" cstate="screen">
                <a:extLst>
                  <a:ext uri="{28A0092B-C50C-407E-A947-70E740481C1C}">
                    <a14:useLocalDpi xmlns:a14="http://schemas.microsoft.com/office/drawing/2010/main" xmlns=""/>
                  </a:ext>
                </a:extLst>
              </a:blip>
              <a:srcRect t="34170" b="36216"/>
              <a:stretch/>
            </p:blipFill>
            <p:spPr>
              <a:xfrm>
                <a:off x="-2418436" y="1903020"/>
                <a:ext cx="837585" cy="248044"/>
              </a:xfrm>
              <a:prstGeom prst="rect">
                <a:avLst/>
              </a:prstGeom>
            </p:spPr>
          </p:pic>
          <p:pic>
            <p:nvPicPr>
              <p:cNvPr id="704" name="Picture 703">
                <a:extLst>
                  <a:ext uri="{FF2B5EF4-FFF2-40B4-BE49-F238E27FC236}">
                    <a16:creationId xmlns="" xmlns:a16="http://schemas.microsoft.com/office/drawing/2014/main" id="{83131628-9982-4BC1-8627-C50E4A702455}"/>
                  </a:ext>
                </a:extLst>
              </p:cNvPr>
              <p:cNvPicPr>
                <a:picLocks noChangeAspect="1"/>
              </p:cNvPicPr>
              <p:nvPr/>
            </p:nvPicPr>
            <p:blipFill rotWithShape="1">
              <a:blip r:embed="rId391" cstate="print">
                <a:extLst>
                  <a:ext uri="{28A0092B-C50C-407E-A947-70E740481C1C}">
                    <a14:useLocalDpi xmlns:a14="http://schemas.microsoft.com/office/drawing/2010/main" xmlns=""/>
                  </a:ext>
                </a:extLst>
              </a:blip>
              <a:srcRect/>
              <a:stretch/>
            </p:blipFill>
            <p:spPr>
              <a:xfrm>
                <a:off x="-1505741" y="1893175"/>
                <a:ext cx="518583" cy="321593"/>
              </a:xfrm>
              <a:prstGeom prst="rect">
                <a:avLst/>
              </a:prstGeom>
            </p:spPr>
          </p:pic>
        </p:grpSp>
        <p:sp>
          <p:nvSpPr>
            <p:cNvPr id="690" name="Rectangle 689">
              <a:extLst>
                <a:ext uri="{FF2B5EF4-FFF2-40B4-BE49-F238E27FC236}">
                  <a16:creationId xmlns="" xmlns:a16="http://schemas.microsoft.com/office/drawing/2014/main" id="{14C5C7CC-8B72-47A3-9A3D-1EF5E2301E78}"/>
                </a:ext>
              </a:extLst>
            </p:cNvPr>
            <p:cNvSpPr/>
            <p:nvPr/>
          </p:nvSpPr>
          <p:spPr>
            <a:xfrm>
              <a:off x="4845579" y="1600911"/>
              <a:ext cx="2027782" cy="1414360"/>
            </a:xfrm>
            <a:prstGeom prst="rect">
              <a:avLst/>
            </a:prstGeom>
            <a:no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701" name="TextBox 700">
              <a:extLst>
                <a:ext uri="{FF2B5EF4-FFF2-40B4-BE49-F238E27FC236}">
                  <a16:creationId xmlns="" xmlns:a16="http://schemas.microsoft.com/office/drawing/2014/main" id="{44509D34-6D1D-47AF-96A3-F78F9FEECC52}"/>
                </a:ext>
              </a:extLst>
            </p:cNvPr>
            <p:cNvSpPr txBox="1"/>
            <p:nvPr/>
          </p:nvSpPr>
          <p:spPr>
            <a:xfrm>
              <a:off x="4310173" y="1238097"/>
              <a:ext cx="2986726" cy="338554"/>
            </a:xfrm>
            <a:prstGeom prst="rect">
              <a:avLst/>
            </a:prstGeom>
            <a:noFill/>
          </p:spPr>
          <p:txBody>
            <a:bodyPr wrap="square" rtlCol="0">
              <a:spAutoFit/>
            </a:bodyPr>
            <a:lstStyle/>
            <a:p>
              <a:pPr algn="ctr"/>
              <a:r>
                <a:rPr lang="en-ZA" sz="1600" b="1" dirty="0"/>
                <a:t>Pepkor Europe</a:t>
              </a:r>
            </a:p>
          </p:txBody>
        </p:sp>
        <p:sp>
          <p:nvSpPr>
            <p:cNvPr id="687" name="TextBox 686">
              <a:extLst>
                <a:ext uri="{FF2B5EF4-FFF2-40B4-BE49-F238E27FC236}">
                  <a16:creationId xmlns="" xmlns:a16="http://schemas.microsoft.com/office/drawing/2014/main" id="{03F68EC9-DC52-437A-905A-2517A18E625C}"/>
                </a:ext>
              </a:extLst>
            </p:cNvPr>
            <p:cNvSpPr txBox="1"/>
            <p:nvPr/>
          </p:nvSpPr>
          <p:spPr>
            <a:xfrm>
              <a:off x="4881135" y="2196531"/>
              <a:ext cx="1962102" cy="600164"/>
            </a:xfrm>
            <a:prstGeom prst="rect">
              <a:avLst/>
            </a:prstGeom>
            <a:solidFill>
              <a:schemeClr val="accent1"/>
            </a:solidFill>
          </p:spPr>
          <p:txBody>
            <a:bodyPr wrap="square" rtlCol="0" anchor="ctr">
              <a:spAutoFit/>
            </a:bodyPr>
            <a:lstStyle/>
            <a:p>
              <a:r>
                <a:rPr lang="en-ZA" sz="1100" b="1" dirty="0"/>
                <a:t>2 210 stores</a:t>
              </a:r>
            </a:p>
            <a:p>
              <a:r>
                <a:rPr lang="en-ZA" sz="1100" b="1" dirty="0"/>
                <a:t>31 000 employees</a:t>
              </a:r>
            </a:p>
            <a:p>
              <a:r>
                <a:rPr lang="en-ZA" sz="1100" b="1" dirty="0"/>
                <a:t>€1 523m revenue H1FY18</a:t>
              </a:r>
            </a:p>
          </p:txBody>
        </p:sp>
      </p:grpSp>
      <p:grpSp>
        <p:nvGrpSpPr>
          <p:cNvPr id="717" name="Group 716">
            <a:extLst>
              <a:ext uri="{FF2B5EF4-FFF2-40B4-BE49-F238E27FC236}">
                <a16:creationId xmlns="" xmlns:a16="http://schemas.microsoft.com/office/drawing/2014/main" id="{B37E686C-005B-4EB8-AD0C-F4654B97C216}"/>
              </a:ext>
            </a:extLst>
          </p:cNvPr>
          <p:cNvGrpSpPr/>
          <p:nvPr/>
        </p:nvGrpSpPr>
        <p:grpSpPr>
          <a:xfrm>
            <a:off x="1035926" y="1198812"/>
            <a:ext cx="2876018" cy="1775097"/>
            <a:chOff x="4275965" y="1217532"/>
            <a:chExt cx="2986726" cy="1775097"/>
          </a:xfrm>
        </p:grpSpPr>
        <p:sp>
          <p:nvSpPr>
            <p:cNvPr id="722" name="Rectangle 721">
              <a:extLst>
                <a:ext uri="{FF2B5EF4-FFF2-40B4-BE49-F238E27FC236}">
                  <a16:creationId xmlns="" xmlns:a16="http://schemas.microsoft.com/office/drawing/2014/main" id="{E4D33ACE-9CBF-4AEC-8DBB-05A95CEAD7DE}"/>
                </a:ext>
              </a:extLst>
            </p:cNvPr>
            <p:cNvSpPr/>
            <p:nvPr/>
          </p:nvSpPr>
          <p:spPr>
            <a:xfrm>
              <a:off x="4833550" y="1614315"/>
              <a:ext cx="1740498" cy="4097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719" name="Rectangle 718">
              <a:extLst>
                <a:ext uri="{FF2B5EF4-FFF2-40B4-BE49-F238E27FC236}">
                  <a16:creationId xmlns="" xmlns:a16="http://schemas.microsoft.com/office/drawing/2014/main" id="{14C5C7CC-8B72-47A3-9A3D-1EF5E2301E78}"/>
                </a:ext>
              </a:extLst>
            </p:cNvPr>
            <p:cNvSpPr/>
            <p:nvPr/>
          </p:nvSpPr>
          <p:spPr>
            <a:xfrm>
              <a:off x="4833550" y="1575645"/>
              <a:ext cx="1981548" cy="1416984"/>
            </a:xfrm>
            <a:prstGeom prst="rect">
              <a:avLst/>
            </a:prstGeom>
            <a:no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720" name="TextBox 719">
              <a:extLst>
                <a:ext uri="{FF2B5EF4-FFF2-40B4-BE49-F238E27FC236}">
                  <a16:creationId xmlns="" xmlns:a16="http://schemas.microsoft.com/office/drawing/2014/main" id="{44509D34-6D1D-47AF-96A3-F78F9FEECC52}"/>
                </a:ext>
              </a:extLst>
            </p:cNvPr>
            <p:cNvSpPr txBox="1"/>
            <p:nvPr/>
          </p:nvSpPr>
          <p:spPr>
            <a:xfrm>
              <a:off x="4275965" y="1217532"/>
              <a:ext cx="2986726" cy="338554"/>
            </a:xfrm>
            <a:prstGeom prst="rect">
              <a:avLst/>
            </a:prstGeom>
            <a:noFill/>
          </p:spPr>
          <p:txBody>
            <a:bodyPr wrap="square" rtlCol="0">
              <a:spAutoFit/>
            </a:bodyPr>
            <a:lstStyle/>
            <a:p>
              <a:pPr algn="ctr"/>
              <a:r>
                <a:rPr lang="en-ZA" sz="1600" b="1" dirty="0" smtClean="0"/>
                <a:t>UK Household goods</a:t>
              </a:r>
              <a:endParaRPr lang="en-ZA" sz="1600" b="1" dirty="0"/>
            </a:p>
          </p:txBody>
        </p:sp>
        <p:sp>
          <p:nvSpPr>
            <p:cNvPr id="721" name="TextBox 720">
              <a:extLst>
                <a:ext uri="{FF2B5EF4-FFF2-40B4-BE49-F238E27FC236}">
                  <a16:creationId xmlns="" xmlns:a16="http://schemas.microsoft.com/office/drawing/2014/main" id="{03F68EC9-DC52-437A-905A-2517A18E625C}"/>
                </a:ext>
              </a:extLst>
            </p:cNvPr>
            <p:cNvSpPr txBox="1"/>
            <p:nvPr/>
          </p:nvSpPr>
          <p:spPr>
            <a:xfrm>
              <a:off x="4915122" y="2153823"/>
              <a:ext cx="1829906" cy="600164"/>
            </a:xfrm>
            <a:prstGeom prst="rect">
              <a:avLst/>
            </a:prstGeom>
            <a:solidFill>
              <a:schemeClr val="accent1"/>
            </a:solidFill>
          </p:spPr>
          <p:txBody>
            <a:bodyPr wrap="square" rtlCol="0" anchor="ctr">
              <a:spAutoFit/>
            </a:bodyPr>
            <a:lstStyle/>
            <a:p>
              <a:r>
                <a:rPr lang="en-ZA" sz="1100" b="1" dirty="0" smtClean="0"/>
                <a:t>397 </a:t>
              </a:r>
              <a:r>
                <a:rPr lang="en-ZA" sz="1100" b="1" dirty="0"/>
                <a:t>stores</a:t>
              </a:r>
            </a:p>
            <a:p>
              <a:r>
                <a:rPr lang="en-ZA" sz="1100" b="1" dirty="0" smtClean="0"/>
                <a:t>4 500 </a:t>
              </a:r>
              <a:r>
                <a:rPr lang="en-ZA" sz="1100" b="1" dirty="0"/>
                <a:t>employees</a:t>
              </a:r>
            </a:p>
            <a:p>
              <a:r>
                <a:rPr lang="en-ZA" sz="1100" b="1" dirty="0" smtClean="0"/>
                <a:t>€339m revenue H1FY18</a:t>
              </a:r>
              <a:endParaRPr lang="en-ZA" sz="1100" b="1" dirty="0"/>
            </a:p>
          </p:txBody>
        </p:sp>
      </p:grpSp>
      <p:pic>
        <p:nvPicPr>
          <p:cNvPr id="729" name="Picture 728">
            <a:extLst>
              <a:ext uri="{FF2B5EF4-FFF2-40B4-BE49-F238E27FC236}">
                <a16:creationId xmlns="" xmlns:a16="http://schemas.microsoft.com/office/drawing/2014/main" id="{700ED60B-4FDF-48DB-8D9D-AE1C2000FD3E}"/>
              </a:ext>
            </a:extLst>
          </p:cNvPr>
          <p:cNvPicPr>
            <a:picLocks noChangeAspect="1"/>
          </p:cNvPicPr>
          <p:nvPr/>
        </p:nvPicPr>
        <p:blipFill rotWithShape="1">
          <a:blip r:embed="rId392" cstate="screen">
            <a:extLst>
              <a:ext uri="{28A0092B-C50C-407E-A947-70E740481C1C}">
                <a14:useLocalDpi xmlns:a14="http://schemas.microsoft.com/office/drawing/2010/main" xmlns=""/>
              </a:ext>
            </a:extLst>
          </a:blip>
          <a:srcRect l="30507" t="3451" r="28947" b="70174"/>
          <a:stretch/>
        </p:blipFill>
        <p:spPr>
          <a:xfrm>
            <a:off x="1762731" y="1619035"/>
            <a:ext cx="732019" cy="337854"/>
          </a:xfrm>
          <a:prstGeom prst="rect">
            <a:avLst/>
          </a:prstGeom>
        </p:spPr>
      </p:pic>
      <p:pic>
        <p:nvPicPr>
          <p:cNvPr id="730" name="Picture 729">
            <a:extLst>
              <a:ext uri="{FF2B5EF4-FFF2-40B4-BE49-F238E27FC236}">
                <a16:creationId xmlns="" xmlns:a16="http://schemas.microsoft.com/office/drawing/2014/main" id="{7C8904AE-5140-4E75-ACC8-43AD03921AA9}"/>
              </a:ext>
            </a:extLst>
          </p:cNvPr>
          <p:cNvPicPr>
            <a:picLocks noChangeAspect="1"/>
          </p:cNvPicPr>
          <p:nvPr/>
        </p:nvPicPr>
        <p:blipFill>
          <a:blip r:embed="rId393" cstate="screen">
            <a:extLst>
              <a:ext uri="{28A0092B-C50C-407E-A947-70E740481C1C}">
                <a14:useLocalDpi xmlns:a14="http://schemas.microsoft.com/office/drawing/2010/main" xmlns=""/>
              </a:ext>
            </a:extLst>
          </a:blip>
          <a:stretch>
            <a:fillRect/>
          </a:stretch>
        </p:blipFill>
        <p:spPr>
          <a:xfrm>
            <a:off x="2597912" y="1709198"/>
            <a:ext cx="606826" cy="114410"/>
          </a:xfrm>
          <a:prstGeom prst="rect">
            <a:avLst/>
          </a:prstGeom>
        </p:spPr>
      </p:pic>
      <p:sp>
        <p:nvSpPr>
          <p:cNvPr id="705" name="Rectangle 704">
            <a:extLst>
              <a:ext uri="{FF2B5EF4-FFF2-40B4-BE49-F238E27FC236}">
                <a16:creationId xmlns="" xmlns:a16="http://schemas.microsoft.com/office/drawing/2014/main" id="{9F676701-2B3A-473C-8804-C5802A441E14}"/>
              </a:ext>
            </a:extLst>
          </p:cNvPr>
          <p:cNvSpPr/>
          <p:nvPr/>
        </p:nvSpPr>
        <p:spPr>
          <a:xfrm>
            <a:off x="645843" y="5158460"/>
            <a:ext cx="2315935" cy="1459415"/>
          </a:xfrm>
          <a:prstGeom prst="rect">
            <a:avLst/>
          </a:prstGeom>
          <a:no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706" name="TextBox 705">
            <a:extLst>
              <a:ext uri="{FF2B5EF4-FFF2-40B4-BE49-F238E27FC236}">
                <a16:creationId xmlns="" xmlns:a16="http://schemas.microsoft.com/office/drawing/2014/main" id="{48335CA1-B9F9-4E3A-A0BD-872F56E2651A}"/>
              </a:ext>
            </a:extLst>
          </p:cNvPr>
          <p:cNvSpPr txBox="1"/>
          <p:nvPr/>
        </p:nvSpPr>
        <p:spPr>
          <a:xfrm>
            <a:off x="761480" y="5699788"/>
            <a:ext cx="2034339" cy="769441"/>
          </a:xfrm>
          <a:prstGeom prst="rect">
            <a:avLst/>
          </a:prstGeom>
          <a:solidFill>
            <a:schemeClr val="accent1"/>
          </a:solidFill>
        </p:spPr>
        <p:txBody>
          <a:bodyPr wrap="square" rtlCol="0" anchor="ctr">
            <a:spAutoFit/>
          </a:bodyPr>
          <a:lstStyle/>
          <a:p>
            <a:r>
              <a:rPr lang="en-ZA" sz="1100" b="1" dirty="0" smtClean="0"/>
              <a:t>392 dealership</a:t>
            </a:r>
            <a:r>
              <a:rPr lang="en-ZA" sz="1100" b="1" dirty="0"/>
              <a:t> </a:t>
            </a:r>
            <a:r>
              <a:rPr lang="en-ZA" sz="1100" b="1" dirty="0" smtClean="0"/>
              <a:t>and rental outlets</a:t>
            </a:r>
            <a:endParaRPr lang="en-ZA" sz="1100" b="1" dirty="0"/>
          </a:p>
          <a:p>
            <a:r>
              <a:rPr lang="en-ZA" sz="1100" b="1" dirty="0" smtClean="0"/>
              <a:t>6 000 </a:t>
            </a:r>
            <a:r>
              <a:rPr lang="en-ZA" sz="1100" b="1" dirty="0"/>
              <a:t>employees</a:t>
            </a:r>
          </a:p>
          <a:p>
            <a:r>
              <a:rPr lang="en-ZA" sz="1100" b="1" dirty="0" smtClean="0"/>
              <a:t>€766m </a:t>
            </a:r>
            <a:r>
              <a:rPr lang="en-ZA" sz="1100" b="1" dirty="0"/>
              <a:t>revenue H1FY18</a:t>
            </a:r>
          </a:p>
        </p:txBody>
      </p:sp>
      <p:sp>
        <p:nvSpPr>
          <p:cNvPr id="6" name="Rectangle 5"/>
          <p:cNvSpPr/>
          <p:nvPr/>
        </p:nvSpPr>
        <p:spPr>
          <a:xfrm>
            <a:off x="686153" y="5212801"/>
            <a:ext cx="1594158" cy="338554"/>
          </a:xfrm>
          <a:prstGeom prst="rect">
            <a:avLst/>
          </a:prstGeom>
        </p:spPr>
        <p:txBody>
          <a:bodyPr wrap="square">
            <a:spAutoFit/>
          </a:bodyPr>
          <a:lstStyle/>
          <a:p>
            <a:r>
              <a:rPr lang="en-ZA" sz="1600" b="1" dirty="0" smtClean="0"/>
              <a:t>Automotive</a:t>
            </a:r>
            <a:endParaRPr lang="en-ZA" sz="1600" dirty="0"/>
          </a:p>
        </p:txBody>
      </p:sp>
      <p:pic>
        <p:nvPicPr>
          <p:cNvPr id="714" name="Picture 713">
            <a:extLst>
              <a:ext uri="{FF2B5EF4-FFF2-40B4-BE49-F238E27FC236}">
                <a16:creationId xmlns="" xmlns:a16="http://schemas.microsoft.com/office/drawing/2014/main" xmlns:lc="http://schemas.openxmlformats.org/drawingml/2006/lockedCanvas" id="{12EC27D5-E1C9-4851-A380-B446DADAF218}"/>
              </a:ext>
            </a:extLst>
          </p:cNvPr>
          <p:cNvPicPr>
            <a:picLocks noChangeAspect="1"/>
          </p:cNvPicPr>
          <p:nvPr/>
        </p:nvPicPr>
        <p:blipFill>
          <a:blip r:embed="rId394" cstate="screen">
            <a:extLst>
              <a:ext uri="{28A0092B-C50C-407E-A947-70E740481C1C}">
                <a14:useLocalDpi xmlns:a14="http://schemas.microsoft.com/office/drawing/2010/main" xmlns=""/>
              </a:ext>
            </a:extLst>
          </a:blip>
          <a:stretch>
            <a:fillRect/>
          </a:stretch>
        </p:blipFill>
        <p:spPr>
          <a:xfrm>
            <a:off x="1894826" y="5223847"/>
            <a:ext cx="491607" cy="341440"/>
          </a:xfrm>
          <a:prstGeom prst="rect">
            <a:avLst/>
          </a:prstGeom>
        </p:spPr>
      </p:pic>
      <p:pic>
        <p:nvPicPr>
          <p:cNvPr id="707" name="Picture 706">
            <a:extLst>
              <a:ext uri="{FF2B5EF4-FFF2-40B4-BE49-F238E27FC236}">
                <a16:creationId xmlns:lc="http://schemas.openxmlformats.org/drawingml/2006/lockedCanvas" xmlns:a16="http://schemas.microsoft.com/office/drawing/2014/main" xmlns="" id="{39124154-CE11-42CC-9442-BAF261CD5E8C}"/>
              </a:ext>
            </a:extLst>
          </p:cNvPr>
          <p:cNvPicPr>
            <a:picLocks noChangeAspect="1"/>
          </p:cNvPicPr>
          <p:nvPr/>
        </p:nvPicPr>
        <p:blipFill>
          <a:blip r:embed="rId395" cstate="screen">
            <a:extLst>
              <a:ext uri="{28A0092B-C50C-407E-A947-70E740481C1C}">
                <a14:useLocalDpi xmlns:a14="http://schemas.microsoft.com/office/drawing/2010/main" xmlns=""/>
              </a:ext>
            </a:extLst>
          </a:blip>
          <a:stretch>
            <a:fillRect/>
          </a:stretch>
        </p:blipFill>
        <p:spPr>
          <a:xfrm>
            <a:off x="2360384" y="5222475"/>
            <a:ext cx="560978" cy="396674"/>
          </a:xfrm>
          <a:prstGeom prst="rect">
            <a:avLst/>
          </a:prstGeom>
        </p:spPr>
      </p:pic>
    </p:spTree>
    <p:extLst>
      <p:ext uri="{BB962C8B-B14F-4D97-AF65-F5344CB8AC3E}">
        <p14:creationId xmlns:p14="http://schemas.microsoft.com/office/powerpoint/2010/main" xmlns="" val="370718706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B9F6E38-0256-4C4B-981B-FAA90C720E3E}" type="slidenum">
              <a:rPr lang="en-US" smtClean="0"/>
              <a:pPr/>
              <a:t>12</a:t>
            </a:fld>
            <a:endParaRPr lang="en-US" dirty="0"/>
          </a:p>
        </p:txBody>
      </p:sp>
      <p:sp>
        <p:nvSpPr>
          <p:cNvPr id="3" name="Content Placeholder 2"/>
          <p:cNvSpPr>
            <a:spLocks noGrp="1"/>
          </p:cNvSpPr>
          <p:nvPr>
            <p:ph sz="quarter" idx="14"/>
          </p:nvPr>
        </p:nvSpPr>
        <p:spPr>
          <a:xfrm>
            <a:off x="205371" y="1426516"/>
            <a:ext cx="8497419" cy="4929840"/>
          </a:xfrm>
        </p:spPr>
        <p:txBody>
          <a:bodyPr/>
          <a:lstStyle/>
          <a:p>
            <a:pPr marL="285750" indent="-285750">
              <a:lnSpc>
                <a:spcPts val="1700"/>
              </a:lnSpc>
              <a:buFont typeface="Arial"/>
              <a:buChar char="•"/>
            </a:pPr>
            <a:r>
              <a:rPr lang="en-US" dirty="0"/>
              <a:t>Steinhoff released unaudited 2018 half-year results (March 2018) on 29 June 2018</a:t>
            </a:r>
          </a:p>
          <a:p>
            <a:pPr marL="285750" indent="-285750">
              <a:lnSpc>
                <a:spcPts val="1700"/>
              </a:lnSpc>
              <a:buFont typeface="Arial"/>
              <a:buChar char="•"/>
            </a:pPr>
            <a:r>
              <a:rPr lang="en-US" dirty="0"/>
              <a:t>A significant amount of financial and other detailed information was released (90 pages)</a:t>
            </a:r>
          </a:p>
          <a:p>
            <a:pPr marL="285750" indent="-285750">
              <a:lnSpc>
                <a:spcPts val="1700"/>
              </a:lnSpc>
              <a:buFont typeface="Arial"/>
              <a:buChar char="•"/>
            </a:pPr>
            <a:r>
              <a:rPr lang="en-US" dirty="0"/>
              <a:t>Summarised unaudited results </a:t>
            </a:r>
            <a:r>
              <a:rPr lang="en-US" dirty="0" smtClean="0"/>
              <a:t>(H1FY17 restated):</a:t>
            </a:r>
            <a:endParaRPr lang="en-US" dirty="0"/>
          </a:p>
        </p:txBody>
      </p:sp>
      <p:sp>
        <p:nvSpPr>
          <p:cNvPr id="4" name="Title 3"/>
          <p:cNvSpPr>
            <a:spLocks noGrp="1"/>
          </p:cNvSpPr>
          <p:nvPr>
            <p:ph type="title"/>
          </p:nvPr>
        </p:nvSpPr>
        <p:spPr/>
        <p:txBody>
          <a:bodyPr/>
          <a:lstStyle/>
          <a:p>
            <a:r>
              <a:rPr lang="en-US" dirty="0"/>
              <a:t>Half-year results</a:t>
            </a:r>
          </a:p>
        </p:txBody>
      </p:sp>
      <p:graphicFrame>
        <p:nvGraphicFramePr>
          <p:cNvPr id="5" name="Table 4"/>
          <p:cNvGraphicFramePr>
            <a:graphicFrameLocks noGrp="1"/>
          </p:cNvGraphicFramePr>
          <p:nvPr>
            <p:extLst>
              <p:ext uri="{D42A27DB-BD31-4B8C-83A1-F6EECF244321}">
                <p14:modId xmlns:p14="http://schemas.microsoft.com/office/powerpoint/2010/main" xmlns="" val="437776175"/>
              </p:ext>
            </p:extLst>
          </p:nvPr>
        </p:nvGraphicFramePr>
        <p:xfrm>
          <a:off x="539750" y="2714414"/>
          <a:ext cx="7416801" cy="3083560"/>
        </p:xfrm>
        <a:graphic>
          <a:graphicData uri="http://schemas.openxmlformats.org/drawingml/2006/table">
            <a:tbl>
              <a:tblPr firstRow="1" bandRow="1">
                <a:tableStyleId>{00A15C55-8517-42AA-B614-E9B94910E393}</a:tableStyleId>
              </a:tblPr>
              <a:tblGrid>
                <a:gridCol w="3533630">
                  <a:extLst>
                    <a:ext uri="{9D8B030D-6E8A-4147-A177-3AD203B41FA5}">
                      <a16:colId xmlns="" xmlns:a16="http://schemas.microsoft.com/office/drawing/2014/main" val="20000"/>
                    </a:ext>
                  </a:extLst>
                </a:gridCol>
                <a:gridCol w="1425467">
                  <a:extLst>
                    <a:ext uri="{9D8B030D-6E8A-4147-A177-3AD203B41FA5}">
                      <a16:colId xmlns="" xmlns:a16="http://schemas.microsoft.com/office/drawing/2014/main" val="20002"/>
                    </a:ext>
                  </a:extLst>
                </a:gridCol>
                <a:gridCol w="1228852">
                  <a:extLst>
                    <a:ext uri="{9D8B030D-6E8A-4147-A177-3AD203B41FA5}">
                      <a16:colId xmlns="" xmlns:a16="http://schemas.microsoft.com/office/drawing/2014/main" val="20004"/>
                    </a:ext>
                  </a:extLst>
                </a:gridCol>
                <a:gridCol w="1228852">
                  <a:extLst>
                    <a:ext uri="{9D8B030D-6E8A-4147-A177-3AD203B41FA5}">
                      <a16:colId xmlns="" xmlns:a16="http://schemas.microsoft.com/office/drawing/2014/main" val="20003"/>
                    </a:ext>
                  </a:extLst>
                </a:gridCol>
              </a:tblGrid>
              <a:tr h="370840">
                <a:tc>
                  <a:txBody>
                    <a:bodyPr/>
                    <a:lstStyle/>
                    <a:p>
                      <a:endParaRPr lang="en-ZA" sz="1300" dirty="0"/>
                    </a:p>
                  </a:txBody>
                  <a:tcPr anchor="ctr">
                    <a:solidFill>
                      <a:schemeClr val="accent2"/>
                    </a:solidFill>
                  </a:tcPr>
                </a:tc>
                <a:tc>
                  <a:txBody>
                    <a:bodyPr/>
                    <a:lstStyle/>
                    <a:p>
                      <a:pPr marL="0" marR="0" lvl="0" indent="0" algn="r" defTabSz="844040" rtl="0" eaLnBrk="1" fontAlgn="auto" latinLnBrk="0" hangingPunct="1">
                        <a:lnSpc>
                          <a:spcPct val="100000"/>
                        </a:lnSpc>
                        <a:spcBef>
                          <a:spcPts val="0"/>
                        </a:spcBef>
                        <a:spcAft>
                          <a:spcPts val="0"/>
                        </a:spcAft>
                        <a:buClrTx/>
                        <a:buSzTx/>
                        <a:buFontTx/>
                        <a:buNone/>
                        <a:tabLst/>
                        <a:defRPr/>
                      </a:pPr>
                      <a:r>
                        <a:rPr lang="en-US" sz="1300" dirty="0" smtClean="0"/>
                        <a:t>H1FY18</a:t>
                      </a:r>
                      <a:endParaRPr lang="en-ZA" sz="1300" dirty="0"/>
                    </a:p>
                    <a:p>
                      <a:pPr marL="0" marR="0" lvl="0" indent="0" algn="r" defTabSz="844040" rtl="0" eaLnBrk="1" fontAlgn="auto" latinLnBrk="0" hangingPunct="1">
                        <a:lnSpc>
                          <a:spcPct val="100000"/>
                        </a:lnSpc>
                        <a:spcBef>
                          <a:spcPts val="0"/>
                        </a:spcBef>
                        <a:spcAft>
                          <a:spcPts val="0"/>
                        </a:spcAft>
                        <a:buClrTx/>
                        <a:buSzTx/>
                        <a:buFontTx/>
                        <a:buNone/>
                        <a:tabLst/>
                        <a:defRPr/>
                      </a:pPr>
                      <a:r>
                        <a:rPr lang="en-US" sz="1300" dirty="0"/>
                        <a:t>€m</a:t>
                      </a:r>
                      <a:endParaRPr lang="en-ZA" sz="1300" dirty="0"/>
                    </a:p>
                  </a:txBody>
                  <a:tcPr marR="144000" anchor="ctr">
                    <a:solidFill>
                      <a:schemeClr val="accent2"/>
                    </a:solidFill>
                  </a:tcPr>
                </a:tc>
                <a:tc>
                  <a:txBody>
                    <a:bodyPr/>
                    <a:lstStyle/>
                    <a:p>
                      <a:pPr algn="r"/>
                      <a:r>
                        <a:rPr lang="en-US" sz="1300" dirty="0" smtClean="0"/>
                        <a:t>H1FY17</a:t>
                      </a:r>
                      <a:endParaRPr lang="en-US" sz="1300" dirty="0"/>
                    </a:p>
                    <a:p>
                      <a:pPr algn="r"/>
                      <a:r>
                        <a:rPr lang="en-US" sz="1300" dirty="0"/>
                        <a:t>€m</a:t>
                      </a:r>
                      <a:endParaRPr lang="en-ZA" sz="1300" dirty="0"/>
                    </a:p>
                  </a:txBody>
                  <a:tcPr marR="144000" anchor="ctr">
                    <a:solidFill>
                      <a:schemeClr val="accent2"/>
                    </a:solidFill>
                  </a:tcPr>
                </a:tc>
                <a:tc>
                  <a:txBody>
                    <a:bodyPr/>
                    <a:lstStyle/>
                    <a:p>
                      <a:pPr algn="r"/>
                      <a:r>
                        <a:rPr lang="en-US" sz="1300" dirty="0"/>
                        <a:t>Change</a:t>
                      </a:r>
                    </a:p>
                    <a:p>
                      <a:pPr algn="r"/>
                      <a:r>
                        <a:rPr lang="en-US" sz="1300" dirty="0"/>
                        <a:t>%</a:t>
                      </a:r>
                      <a:endParaRPr lang="en-ZA" sz="1300" dirty="0"/>
                    </a:p>
                  </a:txBody>
                  <a:tcPr marR="144000" anchor="ctr">
                    <a:solidFill>
                      <a:schemeClr val="accent2"/>
                    </a:solidFill>
                  </a:tcPr>
                </a:tc>
                <a:extLst>
                  <a:ext uri="{0D108BD9-81ED-4DB2-BD59-A6C34878D82A}">
                    <a16:rowId xmlns="" xmlns:a16="http://schemas.microsoft.com/office/drawing/2014/main" val="10000"/>
                  </a:ext>
                </a:extLst>
              </a:tr>
              <a:tr h="370840">
                <a:tc>
                  <a:txBody>
                    <a:bodyPr/>
                    <a:lstStyle/>
                    <a:p>
                      <a:r>
                        <a:rPr lang="en-US" sz="1300" dirty="0"/>
                        <a:t>Revenue</a:t>
                      </a:r>
                      <a:endParaRPr lang="en-ZA" sz="1300" dirty="0"/>
                    </a:p>
                  </a:txBody>
                  <a:tcPr anchor="ctr"/>
                </a:tc>
                <a:tc>
                  <a:txBody>
                    <a:bodyPr/>
                    <a:lstStyle/>
                    <a:p>
                      <a:pPr algn="r"/>
                      <a:r>
                        <a:rPr lang="en-US" sz="1300" dirty="0"/>
                        <a:t>9 345</a:t>
                      </a:r>
                      <a:endParaRPr lang="en-ZA" sz="1300" dirty="0"/>
                    </a:p>
                  </a:txBody>
                  <a:tcPr marR="144000" anchor="ctr"/>
                </a:tc>
                <a:tc>
                  <a:txBody>
                    <a:bodyPr/>
                    <a:lstStyle/>
                    <a:p>
                      <a:pPr algn="r"/>
                      <a:r>
                        <a:rPr lang="en-US" sz="1300" dirty="0"/>
                        <a:t>9 896</a:t>
                      </a:r>
                      <a:endParaRPr lang="en-ZA" sz="1300" dirty="0"/>
                    </a:p>
                  </a:txBody>
                  <a:tcPr marR="144000" anchor="ctr"/>
                </a:tc>
                <a:tc>
                  <a:txBody>
                    <a:bodyPr/>
                    <a:lstStyle/>
                    <a:p>
                      <a:pPr algn="r"/>
                      <a:r>
                        <a:rPr lang="en-US" sz="1300" dirty="0"/>
                        <a:t>(6)</a:t>
                      </a:r>
                      <a:endParaRPr lang="en-ZA" sz="1300" dirty="0"/>
                    </a:p>
                  </a:txBody>
                  <a:tcPr marR="108000" anchor="ctr"/>
                </a:tc>
                <a:extLst>
                  <a:ext uri="{0D108BD9-81ED-4DB2-BD59-A6C34878D82A}">
                    <a16:rowId xmlns="" xmlns:a16="http://schemas.microsoft.com/office/drawing/2014/main" val="10001"/>
                  </a:ext>
                </a:extLst>
              </a:tr>
              <a:tr h="370840">
                <a:tc>
                  <a:txBody>
                    <a:bodyPr/>
                    <a:lstStyle/>
                    <a:p>
                      <a:r>
                        <a:rPr lang="en-US" sz="1300" dirty="0"/>
                        <a:t>Sustainable EBITDA</a:t>
                      </a:r>
                      <a:endParaRPr lang="en-ZA" sz="1300" dirty="0"/>
                    </a:p>
                  </a:txBody>
                  <a:tcPr anchor="ctr"/>
                </a:tc>
                <a:tc>
                  <a:txBody>
                    <a:bodyPr/>
                    <a:lstStyle/>
                    <a:p>
                      <a:pPr algn="r"/>
                      <a:r>
                        <a:rPr lang="en-US" sz="1300" dirty="0"/>
                        <a:t>340</a:t>
                      </a:r>
                      <a:endParaRPr lang="en-ZA" sz="1300" dirty="0"/>
                    </a:p>
                  </a:txBody>
                  <a:tcPr marR="144000" anchor="ctr"/>
                </a:tc>
                <a:tc>
                  <a:txBody>
                    <a:bodyPr/>
                    <a:lstStyle/>
                    <a:p>
                      <a:pPr algn="r"/>
                      <a:r>
                        <a:rPr lang="en-US" sz="1300" dirty="0"/>
                        <a:t>405</a:t>
                      </a:r>
                      <a:endParaRPr lang="en-ZA" sz="1300" dirty="0"/>
                    </a:p>
                  </a:txBody>
                  <a:tcPr marR="144000" anchor="ctr"/>
                </a:tc>
                <a:tc>
                  <a:txBody>
                    <a:bodyPr/>
                    <a:lstStyle/>
                    <a:p>
                      <a:pPr algn="r"/>
                      <a:r>
                        <a:rPr lang="en-US" sz="1300" dirty="0"/>
                        <a:t>(16)</a:t>
                      </a:r>
                      <a:endParaRPr lang="en-ZA" sz="1300" dirty="0"/>
                    </a:p>
                  </a:txBody>
                  <a:tcPr marR="108000" anchor="ctr"/>
                </a:tc>
                <a:extLst>
                  <a:ext uri="{0D108BD9-81ED-4DB2-BD59-A6C34878D82A}">
                    <a16:rowId xmlns="" xmlns:a16="http://schemas.microsoft.com/office/drawing/2014/main" val="10002"/>
                  </a:ext>
                </a:extLst>
              </a:tr>
              <a:tr h="370840">
                <a:tc>
                  <a:txBody>
                    <a:bodyPr/>
                    <a:lstStyle/>
                    <a:p>
                      <a:r>
                        <a:rPr lang="en-US" sz="1300" dirty="0"/>
                        <a:t>Loss for the</a:t>
                      </a:r>
                      <a:r>
                        <a:rPr lang="en-US" sz="1300" baseline="0" dirty="0"/>
                        <a:t> period</a:t>
                      </a:r>
                      <a:endParaRPr lang="en-ZA" sz="1300" dirty="0"/>
                    </a:p>
                  </a:txBody>
                  <a:tcPr anchor="ctr"/>
                </a:tc>
                <a:tc>
                  <a:txBody>
                    <a:bodyPr/>
                    <a:lstStyle/>
                    <a:p>
                      <a:pPr algn="r"/>
                      <a:r>
                        <a:rPr lang="en-US" sz="1300" dirty="0"/>
                        <a:t>(599)</a:t>
                      </a:r>
                      <a:endParaRPr lang="en-ZA" sz="1300" dirty="0"/>
                    </a:p>
                  </a:txBody>
                  <a:tcPr marR="108000" anchor="ctr"/>
                </a:tc>
                <a:tc>
                  <a:txBody>
                    <a:bodyPr/>
                    <a:lstStyle/>
                    <a:p>
                      <a:pPr algn="r"/>
                      <a:r>
                        <a:rPr lang="en-US" sz="1300" dirty="0"/>
                        <a:t>(362)</a:t>
                      </a:r>
                      <a:endParaRPr lang="en-ZA" sz="1300" dirty="0"/>
                    </a:p>
                  </a:txBody>
                  <a:tcPr marR="108000" anchor="ctr"/>
                </a:tc>
                <a:tc>
                  <a:txBody>
                    <a:bodyPr/>
                    <a:lstStyle/>
                    <a:p>
                      <a:pPr algn="r"/>
                      <a:r>
                        <a:rPr lang="en-US" sz="1300" dirty="0"/>
                        <a:t>65</a:t>
                      </a:r>
                      <a:endParaRPr lang="en-ZA" sz="1300" dirty="0"/>
                    </a:p>
                  </a:txBody>
                  <a:tcPr marR="144000" anchor="ctr"/>
                </a:tc>
                <a:extLst>
                  <a:ext uri="{0D108BD9-81ED-4DB2-BD59-A6C34878D82A}">
                    <a16:rowId xmlns="" xmlns:a16="http://schemas.microsoft.com/office/drawing/2014/main" val="10003"/>
                  </a:ext>
                </a:extLst>
              </a:tr>
              <a:tr h="370840">
                <a:tc>
                  <a:txBody>
                    <a:bodyPr/>
                    <a:lstStyle/>
                    <a:p>
                      <a:r>
                        <a:rPr lang="en-US" sz="1300" dirty="0"/>
                        <a:t>NAV per share</a:t>
                      </a:r>
                      <a:endParaRPr lang="en-ZA" sz="1300" dirty="0"/>
                    </a:p>
                  </a:txBody>
                  <a:tcPr anchor="ctr"/>
                </a:tc>
                <a:tc>
                  <a:txBody>
                    <a:bodyPr/>
                    <a:lstStyle/>
                    <a:p>
                      <a:pPr algn="r"/>
                      <a:r>
                        <a:rPr lang="en-US" sz="1300" dirty="0"/>
                        <a:t>58</a:t>
                      </a:r>
                      <a:endParaRPr lang="en-ZA" sz="1300" dirty="0"/>
                    </a:p>
                  </a:txBody>
                  <a:tcPr marR="144000" anchor="ctr"/>
                </a:tc>
                <a:tc>
                  <a:txBody>
                    <a:bodyPr/>
                    <a:lstStyle/>
                    <a:p>
                      <a:pPr algn="r"/>
                      <a:r>
                        <a:rPr lang="en-US" sz="1300" dirty="0"/>
                        <a:t>121</a:t>
                      </a:r>
                      <a:endParaRPr lang="en-ZA" sz="1300" dirty="0"/>
                    </a:p>
                  </a:txBody>
                  <a:tcPr marR="144000" anchor="ctr"/>
                </a:tc>
                <a:tc>
                  <a:txBody>
                    <a:bodyPr/>
                    <a:lstStyle/>
                    <a:p>
                      <a:pPr algn="r"/>
                      <a:r>
                        <a:rPr lang="en-US" sz="1300" dirty="0"/>
                        <a:t>(52)</a:t>
                      </a:r>
                      <a:endParaRPr lang="en-ZA" sz="1300" dirty="0"/>
                    </a:p>
                  </a:txBody>
                  <a:tcPr marR="108000" anchor="ctr"/>
                </a:tc>
                <a:extLst>
                  <a:ext uri="{0D108BD9-81ED-4DB2-BD59-A6C34878D82A}">
                    <a16:rowId xmlns="" xmlns:a16="http://schemas.microsoft.com/office/drawing/2014/main" val="10004"/>
                  </a:ext>
                </a:extLst>
              </a:tr>
              <a:tr h="370840">
                <a:tc>
                  <a:txBody>
                    <a:bodyPr/>
                    <a:lstStyle/>
                    <a:p>
                      <a:endParaRPr lang="en-ZA" sz="1300" dirty="0"/>
                    </a:p>
                  </a:txBody>
                  <a:tcPr anchor="ctr"/>
                </a:tc>
                <a:tc>
                  <a:txBody>
                    <a:bodyPr/>
                    <a:lstStyle/>
                    <a:p>
                      <a:pPr algn="r"/>
                      <a:endParaRPr lang="en-ZA" sz="1300" dirty="0"/>
                    </a:p>
                  </a:txBody>
                  <a:tcPr marR="144000" anchor="ctr"/>
                </a:tc>
                <a:tc>
                  <a:txBody>
                    <a:bodyPr/>
                    <a:lstStyle/>
                    <a:p>
                      <a:pPr algn="r"/>
                      <a:endParaRPr lang="en-ZA" sz="1300" dirty="0"/>
                    </a:p>
                  </a:txBody>
                  <a:tcPr marR="144000" anchor="ctr"/>
                </a:tc>
                <a:tc>
                  <a:txBody>
                    <a:bodyPr/>
                    <a:lstStyle/>
                    <a:p>
                      <a:pPr algn="r"/>
                      <a:endParaRPr lang="en-ZA" sz="1300" dirty="0"/>
                    </a:p>
                  </a:txBody>
                  <a:tcPr marR="144000" anchor="ctr"/>
                </a:tc>
                <a:extLst>
                  <a:ext uri="{0D108BD9-81ED-4DB2-BD59-A6C34878D82A}">
                    <a16:rowId xmlns="" xmlns:a16="http://schemas.microsoft.com/office/drawing/2014/main" val="10005"/>
                  </a:ext>
                </a:extLst>
              </a:tr>
              <a:tr h="370840">
                <a:tc>
                  <a:txBody>
                    <a:bodyPr/>
                    <a:lstStyle/>
                    <a:p>
                      <a:r>
                        <a:rPr lang="en-US" sz="1300" dirty="0"/>
                        <a:t>Net debt</a:t>
                      </a:r>
                      <a:endParaRPr lang="en-ZA" sz="1300" dirty="0"/>
                    </a:p>
                  </a:txBody>
                  <a:tcPr anchor="ctr"/>
                </a:tc>
                <a:tc>
                  <a:txBody>
                    <a:bodyPr/>
                    <a:lstStyle/>
                    <a:p>
                      <a:pPr algn="r"/>
                      <a:r>
                        <a:rPr lang="en-US" sz="1300" dirty="0"/>
                        <a:t>9 360</a:t>
                      </a:r>
                      <a:endParaRPr lang="en-ZA" sz="1300" dirty="0"/>
                    </a:p>
                  </a:txBody>
                  <a:tcPr marR="144000" anchor="ctr"/>
                </a:tc>
                <a:tc>
                  <a:txBody>
                    <a:bodyPr/>
                    <a:lstStyle/>
                    <a:p>
                      <a:pPr algn="r"/>
                      <a:r>
                        <a:rPr lang="en-US" sz="1300" dirty="0"/>
                        <a:t>9 219</a:t>
                      </a:r>
                      <a:endParaRPr lang="en-ZA" sz="1300" dirty="0"/>
                    </a:p>
                  </a:txBody>
                  <a:tcPr marR="144000" anchor="ctr"/>
                </a:tc>
                <a:tc>
                  <a:txBody>
                    <a:bodyPr/>
                    <a:lstStyle/>
                    <a:p>
                      <a:pPr algn="r"/>
                      <a:r>
                        <a:rPr lang="en-US" sz="1300" dirty="0"/>
                        <a:t>2</a:t>
                      </a:r>
                      <a:endParaRPr lang="en-ZA" sz="1300" dirty="0"/>
                    </a:p>
                  </a:txBody>
                  <a:tcPr marR="144000" anchor="ctr"/>
                </a:tc>
                <a:extLst>
                  <a:ext uri="{0D108BD9-81ED-4DB2-BD59-A6C34878D82A}">
                    <a16:rowId xmlns="" xmlns:a16="http://schemas.microsoft.com/office/drawing/2014/main" val="10006"/>
                  </a:ext>
                </a:extLst>
              </a:tr>
              <a:tr h="370840">
                <a:tc>
                  <a:txBody>
                    <a:bodyPr/>
                    <a:lstStyle/>
                    <a:p>
                      <a:r>
                        <a:rPr lang="en-US" sz="1300" dirty="0"/>
                        <a:t>Total equity restatement</a:t>
                      </a:r>
                      <a:endParaRPr lang="en-ZA" sz="1300" dirty="0"/>
                    </a:p>
                  </a:txBody>
                  <a:tcPr anchor="ctr"/>
                </a:tc>
                <a:tc>
                  <a:txBody>
                    <a:bodyPr/>
                    <a:lstStyle/>
                    <a:p>
                      <a:pPr algn="r"/>
                      <a:endParaRPr lang="en-ZA" sz="1300" dirty="0"/>
                    </a:p>
                  </a:txBody>
                  <a:tcPr marR="144000" anchor="ctr"/>
                </a:tc>
                <a:tc>
                  <a:txBody>
                    <a:bodyPr/>
                    <a:lstStyle/>
                    <a:p>
                      <a:pPr algn="r"/>
                      <a:r>
                        <a:rPr lang="en-US" sz="1300" dirty="0"/>
                        <a:t>(10 943)</a:t>
                      </a:r>
                      <a:endParaRPr lang="en-ZA" sz="1300" dirty="0"/>
                    </a:p>
                  </a:txBody>
                  <a:tcPr marR="108000" anchor="ctr"/>
                </a:tc>
                <a:tc>
                  <a:txBody>
                    <a:bodyPr/>
                    <a:lstStyle/>
                    <a:p>
                      <a:pPr algn="r"/>
                      <a:endParaRPr lang="en-ZA" sz="1300" dirty="0"/>
                    </a:p>
                  </a:txBody>
                  <a:tcPr marR="144000" anchor="ctr"/>
                </a:tc>
                <a:extLst>
                  <a:ext uri="{0D108BD9-81ED-4DB2-BD59-A6C34878D82A}">
                    <a16:rowId xmlns="" xmlns:a16="http://schemas.microsoft.com/office/drawing/2014/main" val="10007"/>
                  </a:ext>
                </a:extLst>
              </a:tr>
            </a:tbl>
          </a:graphicData>
        </a:graphic>
      </p:graphicFrame>
    </p:spTree>
    <p:extLst>
      <p:ext uri="{BB962C8B-B14F-4D97-AF65-F5344CB8AC3E}">
        <p14:creationId xmlns:p14="http://schemas.microsoft.com/office/powerpoint/2010/main" xmlns="" val="178251330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5"/>
          </p:nvPr>
        </p:nvSpPr>
        <p:spPr/>
        <p:txBody>
          <a:bodyPr/>
          <a:lstStyle/>
          <a:p>
            <a:pPr>
              <a:defRPr/>
            </a:pPr>
            <a:fld id="{1A70C215-7FD4-F741-9EDD-C4BAF7BC3257}" type="slidenum">
              <a:rPr lang="en-US" smtClean="0">
                <a:solidFill>
                  <a:srgbClr val="313231">
                    <a:tint val="75000"/>
                  </a:srgbClr>
                </a:solidFill>
              </a:rPr>
              <a:pPr>
                <a:defRPr/>
              </a:pPr>
              <a:t>13</a:t>
            </a:fld>
            <a:endParaRPr lang="en-US" dirty="0">
              <a:solidFill>
                <a:srgbClr val="313231">
                  <a:tint val="75000"/>
                </a:srgbClr>
              </a:solidFill>
            </a:endParaRPr>
          </a:p>
        </p:txBody>
      </p:sp>
      <p:graphicFrame>
        <p:nvGraphicFramePr>
          <p:cNvPr id="5" name="Table 4"/>
          <p:cNvGraphicFramePr>
            <a:graphicFrameLocks noGrp="1"/>
          </p:cNvGraphicFramePr>
          <p:nvPr>
            <p:custDataLst>
              <p:tags r:id="rId1"/>
            </p:custDataLst>
            <p:extLst>
              <p:ext uri="{D42A27DB-BD31-4B8C-83A1-F6EECF244321}">
                <p14:modId xmlns:p14="http://schemas.microsoft.com/office/powerpoint/2010/main" xmlns="" val="1990889604"/>
              </p:ext>
            </p:extLst>
          </p:nvPr>
        </p:nvGraphicFramePr>
        <p:xfrm>
          <a:off x="250825" y="1520825"/>
          <a:ext cx="8642350" cy="4752975"/>
        </p:xfrm>
        <a:graphic>
          <a:graphicData uri="http://schemas.openxmlformats.org/drawingml/2006/table">
            <a:tbl>
              <a:tblPr firstRow="1" bandRow="1">
                <a:tableStyleId>{5C22544A-7EE6-4342-B048-85BDC9FD1C3A}</a:tableStyleId>
              </a:tblPr>
              <a:tblGrid>
                <a:gridCol w="1176062">
                  <a:extLst>
                    <a:ext uri="{9D8B030D-6E8A-4147-A177-3AD203B41FA5}">
                      <a16:colId xmlns="" xmlns:a16="http://schemas.microsoft.com/office/drawing/2014/main" val="20000"/>
                    </a:ext>
                  </a:extLst>
                </a:gridCol>
                <a:gridCol w="7466288">
                  <a:extLst>
                    <a:ext uri="{9D8B030D-6E8A-4147-A177-3AD203B41FA5}">
                      <a16:colId xmlns="" xmlns:a16="http://schemas.microsoft.com/office/drawing/2014/main" val="20001"/>
                    </a:ext>
                  </a:extLst>
                </a:gridCol>
              </a:tblGrid>
              <a:tr h="475297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cap="all" baseline="0" dirty="0">
                          <a:solidFill>
                            <a:schemeClr val="bg1"/>
                          </a:solidFill>
                        </a:rPr>
                        <a:t>OUTLINE</a:t>
                      </a:r>
                    </a:p>
                  </a:txBody>
                  <a:tcPr marL="45720" marR="4572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171450" marR="0" lvl="1"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200" b="0" kern="1200" dirty="0">
                          <a:solidFill>
                            <a:schemeClr val="tx1"/>
                          </a:solidFill>
                          <a:latin typeface="+mn-lt"/>
                          <a:ea typeface="+mn-ea"/>
                          <a:cs typeface="+mn-cs"/>
                        </a:rPr>
                        <a:t>Restructuring the </a:t>
                      </a:r>
                      <a:r>
                        <a:rPr lang="en-US" sz="1200" b="0" kern="1200" dirty="0" smtClean="0">
                          <a:solidFill>
                            <a:schemeClr val="tx1"/>
                          </a:solidFill>
                          <a:latin typeface="+mn-lt"/>
                          <a:ea typeface="+mn-ea"/>
                          <a:cs typeface="+mn-cs"/>
                        </a:rPr>
                        <a:t>group’s </a:t>
                      </a:r>
                      <a:r>
                        <a:rPr lang="en-US" sz="1200" b="0" kern="1200" dirty="0">
                          <a:solidFill>
                            <a:schemeClr val="tx1"/>
                          </a:solidFill>
                          <a:latin typeface="+mn-lt"/>
                          <a:ea typeface="+mn-ea"/>
                          <a:cs typeface="+mn-cs"/>
                        </a:rPr>
                        <a:t>debt is an essential part of the response to the events </a:t>
                      </a:r>
                      <a:br>
                        <a:rPr lang="en-US" sz="1200" b="0" kern="1200" dirty="0">
                          <a:solidFill>
                            <a:schemeClr val="tx1"/>
                          </a:solidFill>
                          <a:latin typeface="+mn-lt"/>
                          <a:ea typeface="+mn-ea"/>
                          <a:cs typeface="+mn-cs"/>
                        </a:rPr>
                      </a:br>
                      <a:r>
                        <a:rPr lang="en-US" sz="1200" b="0" kern="1200" dirty="0">
                          <a:solidFill>
                            <a:schemeClr val="tx1"/>
                          </a:solidFill>
                          <a:latin typeface="+mn-lt"/>
                          <a:ea typeface="+mn-ea"/>
                          <a:cs typeface="+mn-cs"/>
                        </a:rPr>
                        <a:t>of December 2017</a:t>
                      </a:r>
                      <a:endParaRPr lang="en-US" sz="1200" b="0" kern="1200" baseline="0" dirty="0">
                        <a:solidFill>
                          <a:schemeClr val="tx1"/>
                        </a:solidFill>
                        <a:latin typeface="+mn-lt"/>
                        <a:ea typeface="+mn-ea"/>
                        <a:cs typeface="+mn-cs"/>
                      </a:endParaRPr>
                    </a:p>
                    <a:p>
                      <a:pPr marL="171450" marR="0" lvl="1"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GB" sz="1200" b="0" kern="1200" dirty="0">
                          <a:solidFill>
                            <a:schemeClr val="tx1"/>
                          </a:solidFill>
                          <a:latin typeface="+mn-lt"/>
                          <a:ea typeface="+mn-ea"/>
                          <a:cs typeface="+mn-cs"/>
                        </a:rPr>
                        <a:t>The restructuring framework developed by the </a:t>
                      </a:r>
                      <a:r>
                        <a:rPr lang="en-GB" sz="1200" b="0" kern="1200" dirty="0" smtClean="0">
                          <a:solidFill>
                            <a:schemeClr val="tx1"/>
                          </a:solidFill>
                          <a:latin typeface="+mn-lt"/>
                          <a:ea typeface="+mn-ea"/>
                          <a:cs typeface="+mn-cs"/>
                        </a:rPr>
                        <a:t>group </a:t>
                      </a:r>
                      <a:r>
                        <a:rPr lang="en-GB" sz="1200" b="0" kern="1200" dirty="0">
                          <a:solidFill>
                            <a:schemeClr val="tx1"/>
                          </a:solidFill>
                          <a:latin typeface="+mn-lt"/>
                          <a:ea typeface="+mn-ea"/>
                          <a:cs typeface="+mn-cs"/>
                        </a:rPr>
                        <a:t>is designed to address near term maturities and provide stability to: </a:t>
                      </a:r>
                    </a:p>
                    <a:p>
                      <a:pPr marL="182563" marR="0" lvl="1"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GB" sz="1200" b="0" kern="1200" dirty="0">
                          <a:solidFill>
                            <a:schemeClr val="tx1"/>
                          </a:solidFill>
                          <a:latin typeface="+mn-lt"/>
                          <a:ea typeface="+mn-ea"/>
                          <a:cs typeface="+mn-cs"/>
                        </a:rPr>
                        <a:t>– enable recovery of value and debt reduction through </a:t>
                      </a:r>
                      <a:r>
                        <a:rPr lang="en-GB" sz="1200" b="0" kern="1200" dirty="0" smtClean="0">
                          <a:solidFill>
                            <a:schemeClr val="tx1"/>
                          </a:solidFill>
                          <a:latin typeface="+mn-lt"/>
                          <a:ea typeface="+mn-ea"/>
                          <a:cs typeface="+mn-cs"/>
                        </a:rPr>
                        <a:t>potential asset </a:t>
                      </a:r>
                      <a:r>
                        <a:rPr lang="en-GB" sz="1200" b="0" kern="1200" dirty="0">
                          <a:solidFill>
                            <a:schemeClr val="tx1"/>
                          </a:solidFill>
                          <a:latin typeface="+mn-lt"/>
                          <a:ea typeface="+mn-ea"/>
                          <a:cs typeface="+mn-cs"/>
                        </a:rPr>
                        <a:t>disposals</a:t>
                      </a:r>
                    </a:p>
                    <a:p>
                      <a:pPr marL="182563" marR="0" lvl="1"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GB" sz="1200" b="0" kern="1200" dirty="0">
                          <a:solidFill>
                            <a:schemeClr val="tx1"/>
                          </a:solidFill>
                          <a:latin typeface="+mn-lt"/>
                          <a:ea typeface="+mn-ea"/>
                          <a:cs typeface="+mn-cs"/>
                        </a:rPr>
                        <a:t>– enable proper evaluation of all contingent litigation claims and defence and/or settlement  </a:t>
                      </a:r>
                    </a:p>
                    <a:p>
                      <a:pPr marL="182563" marR="0" lvl="1"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GB" sz="1200" b="0" kern="1200" dirty="0">
                          <a:solidFill>
                            <a:schemeClr val="tx1"/>
                          </a:solidFill>
                          <a:latin typeface="+mn-lt"/>
                          <a:ea typeface="+mn-ea"/>
                          <a:cs typeface="+mn-cs"/>
                        </a:rPr>
                        <a:t>– ensure fair treatment of all creditors (i.e. finance creditors and any crystallised litigation</a:t>
                      </a:r>
                      <a:br>
                        <a:rPr lang="en-GB" sz="1200" b="0" kern="1200" dirty="0">
                          <a:solidFill>
                            <a:schemeClr val="tx1"/>
                          </a:solidFill>
                          <a:latin typeface="+mn-lt"/>
                          <a:ea typeface="+mn-ea"/>
                          <a:cs typeface="+mn-cs"/>
                        </a:rPr>
                      </a:br>
                      <a:r>
                        <a:rPr lang="en-GB" sz="1200" b="0" kern="1200" dirty="0">
                          <a:solidFill>
                            <a:schemeClr val="tx1"/>
                          </a:solidFill>
                          <a:latin typeface="+mn-lt"/>
                          <a:ea typeface="+mn-ea"/>
                          <a:cs typeface="+mn-cs"/>
                        </a:rPr>
                        <a:t>   claims) relative to existing rights and claims</a:t>
                      </a:r>
                    </a:p>
                    <a:p>
                      <a:pPr marL="171450" marR="0" lvl="0" indent="-1714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13231"/>
                          </a:solidFill>
                          <a:effectLst/>
                          <a:uLnTx/>
                          <a:uFillTx/>
                          <a:latin typeface="+mn-lt"/>
                          <a:ea typeface="+mn-ea"/>
                          <a:cs typeface="+mn-cs"/>
                        </a:rPr>
                        <a:t>As part of the restructuring framework: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sz="1200" b="0" kern="1200" dirty="0">
                          <a:solidFill>
                            <a:schemeClr val="tx1"/>
                          </a:solidFill>
                          <a:latin typeface="+mn-lt"/>
                          <a:ea typeface="+mn-ea"/>
                          <a:cs typeface="+mn-cs"/>
                        </a:rPr>
                        <a:t>     – </a:t>
                      </a:r>
                      <a:r>
                        <a:rPr kumimoji="0" lang="en-GB" sz="1200" b="0" i="0" u="none" strike="noStrike" kern="1200" cap="none" spc="0" normalizeH="0" baseline="0" noProof="0" dirty="0">
                          <a:ln>
                            <a:noFill/>
                          </a:ln>
                          <a:solidFill>
                            <a:srgbClr val="313231"/>
                          </a:solidFill>
                          <a:effectLst/>
                          <a:uLnTx/>
                          <a:uFillTx/>
                          <a:latin typeface="+mn-lt"/>
                          <a:ea typeface="+mn-ea"/>
                          <a:cs typeface="+mn-cs"/>
                        </a:rPr>
                        <a:t>all debt to be restated at par within current borrowing entities with a common maturity </a:t>
                      </a:r>
                      <a:br>
                        <a:rPr kumimoji="0" lang="en-GB" sz="1200" b="0" i="0" u="none" strike="noStrike" kern="1200" cap="none" spc="0" normalizeH="0" baseline="0" noProof="0" dirty="0">
                          <a:ln>
                            <a:noFill/>
                          </a:ln>
                          <a:solidFill>
                            <a:srgbClr val="313231"/>
                          </a:solidFill>
                          <a:effectLst/>
                          <a:uLnTx/>
                          <a:uFillTx/>
                          <a:latin typeface="+mn-lt"/>
                          <a:ea typeface="+mn-ea"/>
                          <a:cs typeface="+mn-cs"/>
                        </a:rPr>
                      </a:br>
                      <a:r>
                        <a:rPr kumimoji="0" lang="en-GB" sz="1200" b="0" i="0" u="none" strike="noStrike" kern="1200" cap="none" spc="0" normalizeH="0" baseline="0" noProof="0" dirty="0">
                          <a:ln>
                            <a:noFill/>
                          </a:ln>
                          <a:solidFill>
                            <a:srgbClr val="313231"/>
                          </a:solidFill>
                          <a:effectLst/>
                          <a:uLnTx/>
                          <a:uFillTx/>
                          <a:latin typeface="+mn-lt"/>
                          <a:ea typeface="+mn-ea"/>
                          <a:cs typeface="+mn-cs"/>
                        </a:rPr>
                        <a:t>        date for all loans three years from restructuring dat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sz="1200" b="0" kern="1200" dirty="0">
                          <a:solidFill>
                            <a:schemeClr val="tx1"/>
                          </a:solidFill>
                          <a:latin typeface="+mn-lt"/>
                          <a:ea typeface="+mn-ea"/>
                          <a:cs typeface="+mn-cs"/>
                        </a:rPr>
                        <a:t>     – </a:t>
                      </a:r>
                      <a:r>
                        <a:rPr kumimoji="0" lang="en-GB" sz="1200" b="0" i="0" u="none" strike="noStrike" kern="1200" cap="none" spc="0" normalizeH="0" baseline="0" noProof="0" dirty="0">
                          <a:ln>
                            <a:noFill/>
                          </a:ln>
                          <a:solidFill>
                            <a:srgbClr val="313231"/>
                          </a:solidFill>
                          <a:effectLst/>
                          <a:uLnTx/>
                          <a:uFillTx/>
                          <a:latin typeface="+mn-lt"/>
                          <a:ea typeface="+mn-ea"/>
                          <a:cs typeface="+mn-cs"/>
                        </a:rPr>
                        <a:t>no cash payment of interest on any debt (excluding Hemisphere, the sub group that </a:t>
                      </a:r>
                      <a:br>
                        <a:rPr kumimoji="0" lang="en-GB" sz="1200" b="0" i="0" u="none" strike="noStrike" kern="1200" cap="none" spc="0" normalizeH="0" baseline="0" noProof="0" dirty="0">
                          <a:ln>
                            <a:noFill/>
                          </a:ln>
                          <a:solidFill>
                            <a:srgbClr val="313231"/>
                          </a:solidFill>
                          <a:effectLst/>
                          <a:uLnTx/>
                          <a:uFillTx/>
                          <a:latin typeface="+mn-lt"/>
                          <a:ea typeface="+mn-ea"/>
                          <a:cs typeface="+mn-cs"/>
                        </a:rPr>
                      </a:br>
                      <a:r>
                        <a:rPr kumimoji="0" lang="en-GB" sz="1200" b="0" i="0" u="none" strike="noStrike" kern="1200" cap="none" spc="0" normalizeH="0" baseline="0" noProof="0" dirty="0">
                          <a:ln>
                            <a:noFill/>
                          </a:ln>
                          <a:solidFill>
                            <a:srgbClr val="313231"/>
                          </a:solidFill>
                          <a:effectLst/>
                          <a:uLnTx/>
                          <a:uFillTx/>
                          <a:latin typeface="+mn-lt"/>
                          <a:ea typeface="+mn-ea"/>
                          <a:cs typeface="+mn-cs"/>
                        </a:rPr>
                        <a:t>        owns European property)</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sz="1200" b="0" kern="1200" dirty="0">
                          <a:solidFill>
                            <a:schemeClr val="tx1"/>
                          </a:solidFill>
                          <a:latin typeface="+mn-lt"/>
                          <a:ea typeface="+mn-ea"/>
                          <a:cs typeface="+mn-cs"/>
                        </a:rPr>
                        <a:t>     – </a:t>
                      </a:r>
                      <a:r>
                        <a:rPr kumimoji="0" lang="en-GB" sz="1200" b="0" i="0" u="none" strike="noStrike" kern="1200" cap="none" spc="0" normalizeH="0" baseline="0" noProof="0" dirty="0">
                          <a:ln>
                            <a:noFill/>
                          </a:ln>
                          <a:solidFill>
                            <a:srgbClr val="313231"/>
                          </a:solidFill>
                          <a:effectLst/>
                          <a:uLnTx/>
                          <a:uFillTx/>
                          <a:latin typeface="+mn-lt"/>
                          <a:ea typeface="+mn-ea"/>
                          <a:cs typeface="+mn-cs"/>
                        </a:rPr>
                        <a:t>appropriate asset security at current borrowing entity level where feasible and permissibl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sz="1200" b="0" kern="1200" dirty="0">
                          <a:solidFill>
                            <a:schemeClr val="tx1"/>
                          </a:solidFill>
                          <a:latin typeface="+mn-lt"/>
                          <a:ea typeface="+mn-ea"/>
                          <a:cs typeface="+mn-cs"/>
                        </a:rPr>
                        <a:t>     – </a:t>
                      </a:r>
                      <a:r>
                        <a:rPr kumimoji="0" lang="en-GB" sz="1200" b="0" i="0" u="none" strike="noStrike" kern="1200" cap="none" spc="0" normalizeH="0" baseline="0" noProof="0" dirty="0">
                          <a:ln>
                            <a:noFill/>
                          </a:ln>
                          <a:solidFill>
                            <a:srgbClr val="313231"/>
                          </a:solidFill>
                          <a:effectLst/>
                          <a:uLnTx/>
                          <a:uFillTx/>
                          <a:latin typeface="+mn-lt"/>
                          <a:ea typeface="+mn-ea"/>
                          <a:cs typeface="+mn-cs"/>
                        </a:rPr>
                        <a:t>all debt instruments retain existing guarantee claim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sz="1200" b="0" kern="1200" dirty="0">
                          <a:solidFill>
                            <a:schemeClr val="tx1"/>
                          </a:solidFill>
                          <a:latin typeface="+mn-lt"/>
                          <a:ea typeface="+mn-ea"/>
                          <a:cs typeface="+mn-cs"/>
                        </a:rPr>
                        <a:t>     – </a:t>
                      </a:r>
                      <a:r>
                        <a:rPr kumimoji="0" lang="en-GB" sz="1200" b="0" i="0" u="none" strike="noStrike" kern="1200" cap="none" spc="0" normalizeH="0" baseline="0" noProof="0" dirty="0">
                          <a:ln>
                            <a:noFill/>
                          </a:ln>
                          <a:solidFill>
                            <a:srgbClr val="313231"/>
                          </a:solidFill>
                          <a:effectLst/>
                          <a:uLnTx/>
                          <a:uFillTx/>
                          <a:latin typeface="+mn-lt"/>
                          <a:ea typeface="+mn-ea"/>
                          <a:cs typeface="+mn-cs"/>
                        </a:rPr>
                        <a:t>retention of disposal proceeds basket to fund ongoing liquidity requirements to be agreed    </a:t>
                      </a:r>
                      <a:br>
                        <a:rPr kumimoji="0" lang="en-GB" sz="1200" b="0" i="0" u="none" strike="noStrike" kern="1200" cap="none" spc="0" normalizeH="0" baseline="0" noProof="0" dirty="0">
                          <a:ln>
                            <a:noFill/>
                          </a:ln>
                          <a:solidFill>
                            <a:srgbClr val="313231"/>
                          </a:solidFill>
                          <a:effectLst/>
                          <a:uLnTx/>
                          <a:uFillTx/>
                          <a:latin typeface="+mn-lt"/>
                          <a:ea typeface="+mn-ea"/>
                          <a:cs typeface="+mn-cs"/>
                        </a:rPr>
                      </a:br>
                      <a:r>
                        <a:rPr kumimoji="0" lang="en-GB" sz="1200" b="0" i="0" u="none" strike="noStrike" kern="1200" cap="none" spc="0" normalizeH="0" baseline="0" noProof="0" dirty="0">
                          <a:ln>
                            <a:noFill/>
                          </a:ln>
                          <a:solidFill>
                            <a:srgbClr val="313231"/>
                          </a:solidFill>
                          <a:effectLst/>
                          <a:uLnTx/>
                          <a:uFillTx/>
                          <a:latin typeface="+mn-lt"/>
                          <a:ea typeface="+mn-ea"/>
                          <a:cs typeface="+mn-cs"/>
                        </a:rPr>
                        <a:t>        with lender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sz="1200" b="0" kern="1200" dirty="0">
                          <a:solidFill>
                            <a:schemeClr val="tx1"/>
                          </a:solidFill>
                          <a:latin typeface="+mn-lt"/>
                          <a:ea typeface="+mn-ea"/>
                          <a:cs typeface="+mn-cs"/>
                        </a:rPr>
                        <a:t>     – </a:t>
                      </a:r>
                      <a:r>
                        <a:rPr kumimoji="0" lang="en-GB" sz="1200" b="0" i="0" u="none" strike="noStrike" kern="1200" cap="none" spc="0" normalizeH="0" baseline="0" noProof="0" dirty="0">
                          <a:ln>
                            <a:noFill/>
                          </a:ln>
                          <a:solidFill>
                            <a:srgbClr val="313231"/>
                          </a:solidFill>
                          <a:effectLst/>
                          <a:uLnTx/>
                          <a:uFillTx/>
                          <a:latin typeface="+mn-lt"/>
                          <a:ea typeface="+mn-ea"/>
                          <a:cs typeface="+mn-cs"/>
                        </a:rPr>
                        <a:t>proposals on </a:t>
                      </a:r>
                      <a:r>
                        <a:rPr kumimoji="0" lang="en-GB" sz="1200" b="0" i="0" u="none" strike="noStrike" kern="1200" cap="none" spc="0" normalizeH="0" baseline="0" noProof="0" dirty="0" smtClean="0">
                          <a:ln>
                            <a:noFill/>
                          </a:ln>
                          <a:solidFill>
                            <a:srgbClr val="313231"/>
                          </a:solidFill>
                          <a:effectLst/>
                          <a:uLnTx/>
                          <a:uFillTx/>
                          <a:latin typeface="+mn-lt"/>
                          <a:ea typeface="+mn-ea"/>
                          <a:cs typeface="+mn-cs"/>
                        </a:rPr>
                        <a:t>group governance </a:t>
                      </a:r>
                      <a:r>
                        <a:rPr kumimoji="0" lang="en-GB" sz="1200" b="0" i="0" u="none" strike="noStrike" kern="1200" cap="none" spc="0" normalizeH="0" baseline="0" noProof="0" dirty="0">
                          <a:ln>
                            <a:noFill/>
                          </a:ln>
                          <a:solidFill>
                            <a:srgbClr val="313231"/>
                          </a:solidFill>
                          <a:effectLst/>
                          <a:uLnTx/>
                          <a:uFillTx/>
                          <a:latin typeface="+mn-lt"/>
                          <a:ea typeface="+mn-ea"/>
                          <a:cs typeface="+mn-cs"/>
                        </a:rPr>
                        <a:t>to be implemented</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sz="1200" b="0" kern="1200" dirty="0">
                          <a:solidFill>
                            <a:schemeClr val="tx1"/>
                          </a:solidFill>
                          <a:latin typeface="+mn-lt"/>
                          <a:ea typeface="+mn-ea"/>
                          <a:cs typeface="+mn-cs"/>
                        </a:rPr>
                        <a:t>     – </a:t>
                      </a:r>
                      <a:r>
                        <a:rPr kumimoji="0" lang="en-GB" sz="1200" b="0" i="0" u="none" strike="noStrike" kern="1200" cap="none" spc="0" normalizeH="0" baseline="0" noProof="0" dirty="0">
                          <a:ln>
                            <a:noFill/>
                          </a:ln>
                          <a:solidFill>
                            <a:srgbClr val="313231"/>
                          </a:solidFill>
                          <a:effectLst/>
                          <a:uLnTx/>
                          <a:uFillTx/>
                          <a:latin typeface="+mn-lt"/>
                          <a:ea typeface="+mn-ea"/>
                          <a:cs typeface="+mn-cs"/>
                        </a:rPr>
                        <a:t>future information and reporting arrangements to be agreed with lenders</a:t>
                      </a:r>
                    </a:p>
                  </a:txBody>
                  <a:tcPr marL="45720" marR="45720" anchor="ctr" horzOverflow="overflow">
                    <a:lnL w="381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1"/>
                  </a:ext>
                </a:extLst>
              </a:tr>
            </a:tbl>
          </a:graphicData>
        </a:graphic>
      </p:graphicFrame>
      <p:sp>
        <p:nvSpPr>
          <p:cNvPr id="7" name="Title 3">
            <a:extLst>
              <a:ext uri="{FF2B5EF4-FFF2-40B4-BE49-F238E27FC236}">
                <a16:creationId xmlns="" xmlns:a16="http://schemas.microsoft.com/office/drawing/2014/main" id="{A8C4B3BC-530B-41FB-A50E-E0205926B558}"/>
              </a:ext>
            </a:extLst>
          </p:cNvPr>
          <p:cNvSpPr>
            <a:spLocks noGrp="1"/>
          </p:cNvSpPr>
          <p:nvPr>
            <p:ph type="title"/>
          </p:nvPr>
        </p:nvSpPr>
        <p:spPr>
          <a:xfrm>
            <a:off x="178777" y="162898"/>
            <a:ext cx="7886700" cy="766196"/>
          </a:xfrm>
        </p:spPr>
        <p:txBody>
          <a:bodyPr/>
          <a:lstStyle/>
          <a:p>
            <a:r>
              <a:rPr lang="en-US" dirty="0"/>
              <a:t>Restructuring framework</a:t>
            </a:r>
          </a:p>
        </p:txBody>
      </p:sp>
      <p:pic>
        <p:nvPicPr>
          <p:cNvPr id="9" name="Picture 8">
            <a:extLst>
              <a:ext uri="{FF2B5EF4-FFF2-40B4-BE49-F238E27FC236}">
                <a16:creationId xmlns="" xmlns:a16="http://schemas.microsoft.com/office/drawing/2014/main" id="{2081FEDF-97A9-4997-BD1A-DA6CBE44155D}"/>
              </a:ext>
            </a:extLst>
          </p:cNvPr>
          <p:cNvPicPr>
            <a:picLocks noChangeAspect="1"/>
          </p:cNvPicPr>
          <p:nvPr/>
        </p:nvPicPr>
        <p:blipFill>
          <a:blip r:embed="rId3" cstate="screen">
            <a:extLst>
              <a:ext uri="{28A0092B-C50C-407E-A947-70E740481C1C}">
                <a14:useLocalDpi xmlns:a14="http://schemas.microsoft.com/office/drawing/2010/main" xmlns=""/>
              </a:ext>
            </a:extLst>
          </a:blip>
          <a:stretch>
            <a:fillRect/>
          </a:stretch>
        </p:blipFill>
        <p:spPr>
          <a:xfrm>
            <a:off x="6916615" y="-108396"/>
            <a:ext cx="2055449" cy="1263618"/>
          </a:xfrm>
          <a:prstGeom prst="rect">
            <a:avLst/>
          </a:prstGeom>
        </p:spPr>
      </p:pic>
    </p:spTree>
    <p:extLst>
      <p:ext uri="{BB962C8B-B14F-4D97-AF65-F5344CB8AC3E}">
        <p14:creationId xmlns:p14="http://schemas.microsoft.com/office/powerpoint/2010/main" xmlns="" val="286676982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5"/>
          </p:nvPr>
        </p:nvSpPr>
        <p:spPr/>
        <p:txBody>
          <a:bodyPr/>
          <a:lstStyle/>
          <a:p>
            <a:pPr>
              <a:defRPr/>
            </a:pPr>
            <a:fld id="{1A70C215-7FD4-F741-9EDD-C4BAF7BC3257}" type="slidenum">
              <a:rPr lang="en-US" smtClean="0">
                <a:solidFill>
                  <a:srgbClr val="313231">
                    <a:tint val="75000"/>
                  </a:srgbClr>
                </a:solidFill>
              </a:rPr>
              <a:pPr>
                <a:defRPr/>
              </a:pPr>
              <a:t>14</a:t>
            </a:fld>
            <a:endParaRPr lang="en-US" dirty="0">
              <a:solidFill>
                <a:srgbClr val="313231">
                  <a:tint val="75000"/>
                </a:srgbClr>
              </a:solidFill>
            </a:endParaRPr>
          </a:p>
        </p:txBody>
      </p:sp>
      <p:graphicFrame>
        <p:nvGraphicFramePr>
          <p:cNvPr id="5" name="Table 4"/>
          <p:cNvGraphicFramePr>
            <a:graphicFrameLocks noGrp="1"/>
          </p:cNvGraphicFramePr>
          <p:nvPr>
            <p:custDataLst>
              <p:tags r:id="rId1"/>
            </p:custDataLst>
            <p:extLst>
              <p:ext uri="{D42A27DB-BD31-4B8C-83A1-F6EECF244321}">
                <p14:modId xmlns:p14="http://schemas.microsoft.com/office/powerpoint/2010/main" xmlns="" val="2295073695"/>
              </p:ext>
            </p:extLst>
          </p:nvPr>
        </p:nvGraphicFramePr>
        <p:xfrm>
          <a:off x="257175" y="1529680"/>
          <a:ext cx="8636000" cy="2194560"/>
        </p:xfrm>
        <a:graphic>
          <a:graphicData uri="http://schemas.openxmlformats.org/drawingml/2006/table">
            <a:tbl>
              <a:tblPr firstRow="1" bandRow="1">
                <a:tableStyleId>{5C22544A-7EE6-4342-B048-85BDC9FD1C3A}</a:tableStyleId>
              </a:tblPr>
              <a:tblGrid>
                <a:gridCol w="1175198">
                  <a:extLst>
                    <a:ext uri="{9D8B030D-6E8A-4147-A177-3AD203B41FA5}">
                      <a16:colId xmlns="" xmlns:a16="http://schemas.microsoft.com/office/drawing/2014/main" val="20000"/>
                    </a:ext>
                  </a:extLst>
                </a:gridCol>
                <a:gridCol w="7460802">
                  <a:extLst>
                    <a:ext uri="{9D8B030D-6E8A-4147-A177-3AD203B41FA5}">
                      <a16:colId xmlns="" xmlns:a16="http://schemas.microsoft.com/office/drawing/2014/main" val="20001"/>
                    </a:ext>
                  </a:extLst>
                </a:gridCol>
              </a:tblGrid>
              <a:tr h="217554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1" cap="all" baseline="0" dirty="0">
                          <a:solidFill>
                            <a:schemeClr val="bg1"/>
                          </a:solidFill>
                        </a:rPr>
                        <a:t>PROGRESS</a:t>
                      </a:r>
                    </a:p>
                  </a:txBody>
                  <a:tcPr marL="45720" marR="4572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171450" marR="0" lvl="1"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GB" sz="1200" b="0" kern="1200" dirty="0">
                          <a:solidFill>
                            <a:schemeClr val="tx1"/>
                          </a:solidFill>
                          <a:latin typeface="+mn-lt"/>
                          <a:ea typeface="+mn-ea"/>
                          <a:cs typeface="+mn-cs"/>
                        </a:rPr>
                        <a:t>A lock-up agreement was concluded with </a:t>
                      </a:r>
                      <a:r>
                        <a:rPr lang="en-GB" sz="1200" b="0" kern="1200" dirty="0" smtClean="0">
                          <a:solidFill>
                            <a:schemeClr val="tx1"/>
                          </a:solidFill>
                          <a:latin typeface="+mn-lt"/>
                          <a:ea typeface="+mn-ea"/>
                          <a:cs typeface="+mn-cs"/>
                        </a:rPr>
                        <a:t>Steinhoff</a:t>
                      </a:r>
                      <a:r>
                        <a:rPr lang="en-GB" sz="1200" b="0" kern="1200" baseline="0" dirty="0" smtClean="0">
                          <a:solidFill>
                            <a:schemeClr val="tx1"/>
                          </a:solidFill>
                          <a:latin typeface="+mn-lt"/>
                          <a:ea typeface="+mn-ea"/>
                          <a:cs typeface="+mn-cs"/>
                        </a:rPr>
                        <a:t> Europe</a:t>
                      </a:r>
                      <a:r>
                        <a:rPr lang="en-GB" sz="1200" b="0" kern="1200" dirty="0" smtClean="0">
                          <a:solidFill>
                            <a:schemeClr val="tx1"/>
                          </a:solidFill>
                          <a:latin typeface="+mn-lt"/>
                          <a:ea typeface="+mn-ea"/>
                          <a:cs typeface="+mn-cs"/>
                        </a:rPr>
                        <a:t> </a:t>
                      </a:r>
                      <a:r>
                        <a:rPr lang="en-GB" sz="1200" b="0" kern="1200" dirty="0">
                          <a:solidFill>
                            <a:schemeClr val="tx1"/>
                          </a:solidFill>
                          <a:latin typeface="+mn-lt"/>
                          <a:ea typeface="+mn-ea"/>
                          <a:cs typeface="+mn-cs"/>
                        </a:rPr>
                        <a:t>and </a:t>
                      </a:r>
                      <a:r>
                        <a:rPr lang="en-GB" sz="1200" b="0" kern="1200" dirty="0" smtClean="0">
                          <a:solidFill>
                            <a:schemeClr val="tx1"/>
                          </a:solidFill>
                          <a:latin typeface="+mn-lt"/>
                          <a:ea typeface="+mn-ea"/>
                          <a:cs typeface="+mn-cs"/>
                        </a:rPr>
                        <a:t>Steinhoff Finance Holdings lenders </a:t>
                      </a:r>
                      <a:r>
                        <a:rPr lang="en-GB" sz="1200" b="0" kern="1200" dirty="0">
                          <a:solidFill>
                            <a:schemeClr val="tx1"/>
                          </a:solidFill>
                          <a:latin typeface="+mn-lt"/>
                          <a:ea typeface="+mn-ea"/>
                          <a:cs typeface="+mn-cs"/>
                        </a:rPr>
                        <a:t>on 20 July 2018</a:t>
                      </a:r>
                    </a:p>
                    <a:p>
                      <a:pPr marL="0" marR="0" lvl="1"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GB" sz="1200" b="0" kern="1200" dirty="0">
                          <a:solidFill>
                            <a:schemeClr val="tx1"/>
                          </a:solidFill>
                          <a:latin typeface="+mn-lt"/>
                          <a:ea typeface="+mn-ea"/>
                          <a:cs typeface="+mn-cs"/>
                        </a:rPr>
                        <a:t>    – The agreement provides for a three month period in which the group can implement </a:t>
                      </a:r>
                      <a:br>
                        <a:rPr lang="en-GB" sz="1200" b="0" kern="1200" dirty="0">
                          <a:solidFill>
                            <a:schemeClr val="tx1"/>
                          </a:solidFill>
                          <a:latin typeface="+mn-lt"/>
                          <a:ea typeface="+mn-ea"/>
                          <a:cs typeface="+mn-cs"/>
                        </a:rPr>
                      </a:br>
                      <a:r>
                        <a:rPr lang="en-GB" sz="1200" b="0" kern="1200" dirty="0">
                          <a:solidFill>
                            <a:schemeClr val="tx1"/>
                          </a:solidFill>
                          <a:latin typeface="+mn-lt"/>
                          <a:ea typeface="+mn-ea"/>
                          <a:cs typeface="+mn-cs"/>
                        </a:rPr>
                        <a:t>       the restructuring</a:t>
                      </a:r>
                    </a:p>
                    <a:p>
                      <a:pPr marL="0" marR="0" lvl="1"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endParaRPr lang="en-GB" sz="1200" b="0" kern="1200" dirty="0">
                        <a:solidFill>
                          <a:schemeClr val="tx1"/>
                        </a:solidFill>
                        <a:latin typeface="+mn-lt"/>
                        <a:ea typeface="+mn-ea"/>
                        <a:cs typeface="+mn-cs"/>
                      </a:endParaRPr>
                    </a:p>
                    <a:p>
                      <a:pPr marL="171450" marR="0" lvl="1"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GB" sz="1200" b="0" kern="1200" dirty="0">
                          <a:solidFill>
                            <a:schemeClr val="tx1"/>
                          </a:solidFill>
                          <a:latin typeface="+mn-lt"/>
                          <a:ea typeface="+mn-ea"/>
                          <a:cs typeface="+mn-cs"/>
                        </a:rPr>
                        <a:t>A lockup agreement was similarly concluded with the Hemisphere lenders on 26 July 2018</a:t>
                      </a:r>
                    </a:p>
                    <a:p>
                      <a:pPr marL="0" marR="0" lvl="1"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GB" sz="1200" b="0" kern="1200" dirty="0">
                          <a:solidFill>
                            <a:schemeClr val="tx1"/>
                          </a:solidFill>
                          <a:latin typeface="+mn-lt"/>
                          <a:ea typeface="+mn-ea"/>
                          <a:cs typeface="+mn-cs"/>
                        </a:rPr>
                        <a:t>    – In terms of that agreement the parties committed to implement before </a:t>
                      </a:r>
                      <a:r>
                        <a:rPr lang="en-GB" sz="1200" b="0" kern="1200" dirty="0" smtClean="0">
                          <a:solidFill>
                            <a:schemeClr val="tx1"/>
                          </a:solidFill>
                          <a:latin typeface="+mn-lt"/>
                          <a:ea typeface="+mn-ea"/>
                          <a:cs typeface="+mn-cs"/>
                        </a:rPr>
                        <a:t>31 </a:t>
                      </a:r>
                      <a:r>
                        <a:rPr lang="en-GB" sz="1200" b="0" kern="1200" dirty="0">
                          <a:solidFill>
                            <a:schemeClr val="tx1"/>
                          </a:solidFill>
                          <a:latin typeface="+mn-lt"/>
                          <a:ea typeface="+mn-ea"/>
                          <a:cs typeface="+mn-cs"/>
                        </a:rPr>
                        <a:t>August 2018</a:t>
                      </a:r>
                    </a:p>
                    <a:p>
                      <a:pPr marL="0" marR="0" lvl="1"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endParaRPr lang="en-GB" sz="1200" b="0" kern="1200" dirty="0">
                        <a:solidFill>
                          <a:schemeClr val="tx1"/>
                        </a:solidFill>
                        <a:latin typeface="+mn-lt"/>
                        <a:ea typeface="+mn-ea"/>
                        <a:cs typeface="+mn-cs"/>
                      </a:endParaRPr>
                    </a:p>
                    <a:p>
                      <a:pPr marL="171450" marR="0" lvl="1"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GB" sz="1200" b="0" kern="1200" dirty="0">
                          <a:solidFill>
                            <a:schemeClr val="tx1"/>
                          </a:solidFill>
                          <a:latin typeface="+mn-lt"/>
                          <a:ea typeface="+mn-ea"/>
                          <a:cs typeface="+mn-cs"/>
                        </a:rPr>
                        <a:t>Once implemented the terms of both restructures will remain in place until the end of 2021</a:t>
                      </a:r>
                    </a:p>
                  </a:txBody>
                  <a:tcPr marL="45720" marR="45720" anchor="ctr" horzOverflow="overflow">
                    <a:lnL w="381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1"/>
                  </a:ext>
                </a:extLst>
              </a:tr>
            </a:tbl>
          </a:graphicData>
        </a:graphic>
      </p:graphicFrame>
      <p:sp>
        <p:nvSpPr>
          <p:cNvPr id="9" name="Title 3">
            <a:extLst>
              <a:ext uri="{FF2B5EF4-FFF2-40B4-BE49-F238E27FC236}">
                <a16:creationId xmlns="" xmlns:a16="http://schemas.microsoft.com/office/drawing/2014/main" id="{0FBEBD27-FC19-4ED9-B7E7-410CF6136442}"/>
              </a:ext>
            </a:extLst>
          </p:cNvPr>
          <p:cNvSpPr>
            <a:spLocks noGrp="1"/>
          </p:cNvSpPr>
          <p:nvPr>
            <p:ph type="title"/>
          </p:nvPr>
        </p:nvSpPr>
        <p:spPr>
          <a:xfrm>
            <a:off x="178777" y="162898"/>
            <a:ext cx="7886700" cy="766196"/>
          </a:xfrm>
        </p:spPr>
        <p:txBody>
          <a:bodyPr/>
          <a:lstStyle/>
          <a:p>
            <a:r>
              <a:rPr lang="en-US" dirty="0"/>
              <a:t>Restructuring framework (continued)</a:t>
            </a:r>
          </a:p>
        </p:txBody>
      </p:sp>
      <p:pic>
        <p:nvPicPr>
          <p:cNvPr id="10" name="Picture 9">
            <a:extLst>
              <a:ext uri="{FF2B5EF4-FFF2-40B4-BE49-F238E27FC236}">
                <a16:creationId xmlns="" xmlns:a16="http://schemas.microsoft.com/office/drawing/2014/main" id="{DAA38EEF-F123-4E40-8703-7E55C528BDFC}"/>
              </a:ext>
            </a:extLst>
          </p:cNvPr>
          <p:cNvPicPr>
            <a:picLocks noChangeAspect="1"/>
          </p:cNvPicPr>
          <p:nvPr/>
        </p:nvPicPr>
        <p:blipFill>
          <a:blip r:embed="rId3" cstate="screen">
            <a:extLst>
              <a:ext uri="{28A0092B-C50C-407E-A947-70E740481C1C}">
                <a14:useLocalDpi xmlns:a14="http://schemas.microsoft.com/office/drawing/2010/main" xmlns=""/>
              </a:ext>
            </a:extLst>
          </a:blip>
          <a:stretch>
            <a:fillRect/>
          </a:stretch>
        </p:blipFill>
        <p:spPr>
          <a:xfrm>
            <a:off x="6916615" y="-108396"/>
            <a:ext cx="2055449" cy="1263618"/>
          </a:xfrm>
          <a:prstGeom prst="rect">
            <a:avLst/>
          </a:prstGeom>
        </p:spPr>
      </p:pic>
    </p:spTree>
    <p:extLst>
      <p:ext uri="{BB962C8B-B14F-4D97-AF65-F5344CB8AC3E}">
        <p14:creationId xmlns:p14="http://schemas.microsoft.com/office/powerpoint/2010/main" xmlns="" val="22590191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6787662" y="6356352"/>
            <a:ext cx="2057400" cy="365125"/>
          </a:xfrm>
          <a:prstGeom prst="rect">
            <a:avLst/>
          </a:prstGeom>
        </p:spPr>
        <p:txBody>
          <a:bodyPr/>
          <a:lstStyle/>
          <a:p>
            <a:pPr>
              <a:defRPr/>
            </a:pPr>
            <a:fld id="{1A70C215-7FD4-F741-9EDD-C4BAF7BC3257}" type="slidenum">
              <a:rPr lang="en-US" smtClean="0">
                <a:solidFill>
                  <a:srgbClr val="313231">
                    <a:tint val="75000"/>
                  </a:srgbClr>
                </a:solidFill>
              </a:rPr>
              <a:pPr>
                <a:defRPr/>
              </a:pPr>
              <a:t>15</a:t>
            </a:fld>
            <a:endParaRPr lang="en-US" dirty="0">
              <a:solidFill>
                <a:srgbClr val="313231">
                  <a:tint val="75000"/>
                </a:srgbClr>
              </a:solidFill>
            </a:endParaRPr>
          </a:p>
        </p:txBody>
      </p:sp>
      <p:graphicFrame>
        <p:nvGraphicFramePr>
          <p:cNvPr id="11" name="Table 10"/>
          <p:cNvGraphicFramePr>
            <a:graphicFrameLocks noGrp="1"/>
          </p:cNvGraphicFramePr>
          <p:nvPr>
            <p:custDataLst>
              <p:tags r:id="rId1"/>
            </p:custDataLst>
            <p:extLst>
              <p:ext uri="{D42A27DB-BD31-4B8C-83A1-F6EECF244321}">
                <p14:modId xmlns:p14="http://schemas.microsoft.com/office/powerpoint/2010/main" xmlns="" val="2438666107"/>
              </p:ext>
            </p:extLst>
          </p:nvPr>
        </p:nvGraphicFramePr>
        <p:xfrm>
          <a:off x="260612" y="1525388"/>
          <a:ext cx="8622776" cy="4684912"/>
        </p:xfrm>
        <a:graphic>
          <a:graphicData uri="http://schemas.openxmlformats.org/drawingml/2006/table">
            <a:tbl>
              <a:tblPr firstRow="1" bandRow="1">
                <a:tableStyleId>{5C22544A-7EE6-4342-B048-85BDC9FD1C3A}</a:tableStyleId>
              </a:tblPr>
              <a:tblGrid>
                <a:gridCol w="1152000">
                  <a:extLst>
                    <a:ext uri="{9D8B030D-6E8A-4147-A177-3AD203B41FA5}">
                      <a16:colId xmlns="" xmlns:a16="http://schemas.microsoft.com/office/drawing/2014/main" val="20000"/>
                    </a:ext>
                  </a:extLst>
                </a:gridCol>
                <a:gridCol w="7470776">
                  <a:extLst>
                    <a:ext uri="{9D8B030D-6E8A-4147-A177-3AD203B41FA5}">
                      <a16:colId xmlns="" xmlns:a16="http://schemas.microsoft.com/office/drawing/2014/main" val="20001"/>
                    </a:ext>
                  </a:extLst>
                </a:gridCol>
              </a:tblGrid>
              <a:tr h="1670113">
                <a:tc>
                  <a:txBody>
                    <a:bodyPr/>
                    <a:lstStyle/>
                    <a:p>
                      <a:pPr marL="0" marR="0" indent="0" algn="ctr" defTabSz="914400" rtl="0" eaLnBrk="1" fontAlgn="auto" latinLnBrk="0" hangingPunct="1">
                        <a:lnSpc>
                          <a:spcPct val="100000"/>
                        </a:lnSpc>
                        <a:spcBef>
                          <a:spcPts val="200"/>
                        </a:spcBef>
                        <a:spcAft>
                          <a:spcPts val="200"/>
                        </a:spcAft>
                        <a:buClrTx/>
                        <a:buSzTx/>
                        <a:buFontTx/>
                        <a:buNone/>
                        <a:tabLst/>
                        <a:defRPr/>
                      </a:pPr>
                      <a:r>
                        <a:rPr lang="en-GB" sz="1100" b="1" kern="1200" cap="all" baseline="0" dirty="0">
                          <a:solidFill>
                            <a:schemeClr val="bg1"/>
                          </a:solidFill>
                          <a:latin typeface="Century Gothic" panose="020B0502020202020204" pitchFamily="34" charset="0"/>
                          <a:ea typeface="+mn-ea"/>
                          <a:cs typeface="+mn-cs"/>
                        </a:rPr>
                        <a:t>Shareholder claims</a:t>
                      </a:r>
                    </a:p>
                  </a:txBody>
                  <a:tcPr marL="68580" marR="68580" marT="0" marB="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180975" marR="0" lvl="1" indent="-180975" algn="l" defTabSz="957263" rtl="0" eaLnBrk="1" fontAlgn="base" latinLnBrk="0" hangingPunct="1">
                        <a:lnSpc>
                          <a:spcPct val="100000"/>
                        </a:lnSpc>
                        <a:spcBef>
                          <a:spcPts val="200"/>
                        </a:spcBef>
                        <a:spcAft>
                          <a:spcPts val="200"/>
                        </a:spcAft>
                        <a:buClrTx/>
                        <a:buSzPct val="110000"/>
                        <a:buFont typeface="Arial" pitchFamily="34" charset="0"/>
                        <a:buChar char="•"/>
                        <a:tabLst>
                          <a:tab pos="0" algn="l"/>
                          <a:tab pos="431800" algn="l"/>
                        </a:tabLst>
                        <a:defRPr/>
                      </a:pPr>
                      <a:r>
                        <a:rPr lang="en-GB" sz="1200" b="1" i="0" kern="1200" baseline="0" dirty="0">
                          <a:solidFill>
                            <a:schemeClr val="tx1"/>
                          </a:solidFill>
                          <a:latin typeface="Century Gothic" panose="020B0502020202020204" pitchFamily="34" charset="0"/>
                          <a:ea typeface="+mn-ea"/>
                          <a:cs typeface="+mn-cs"/>
                        </a:rPr>
                        <a:t>VEB</a:t>
                      </a:r>
                      <a:r>
                        <a:rPr lang="en-GB" sz="1200" b="0" i="0" kern="1200" baseline="0" dirty="0">
                          <a:solidFill>
                            <a:schemeClr val="tx1"/>
                          </a:solidFill>
                          <a:latin typeface="Century Gothic" panose="020B0502020202020204" pitchFamily="34" charset="0"/>
                          <a:ea typeface="+mn-ea"/>
                          <a:cs typeface="+mn-cs"/>
                        </a:rPr>
                        <a:t>: Several claims for declaratory relief in relation to damage alleged to have been suffered </a:t>
                      </a:r>
                      <a:br>
                        <a:rPr lang="en-GB" sz="1200" b="0" i="0" kern="1200" baseline="0" dirty="0">
                          <a:solidFill>
                            <a:schemeClr val="tx1"/>
                          </a:solidFill>
                          <a:latin typeface="Century Gothic" panose="020B0502020202020204" pitchFamily="34" charset="0"/>
                          <a:ea typeface="+mn-ea"/>
                          <a:cs typeface="+mn-cs"/>
                        </a:rPr>
                      </a:br>
                      <a:r>
                        <a:rPr lang="en-GB" sz="1200" b="0" i="0" kern="1200" baseline="0" dirty="0">
                          <a:solidFill>
                            <a:schemeClr val="tx1"/>
                          </a:solidFill>
                          <a:latin typeface="Century Gothic" panose="020B0502020202020204" pitchFamily="34" charset="0"/>
                          <a:ea typeface="+mn-ea"/>
                          <a:cs typeface="+mn-cs"/>
                        </a:rPr>
                        <a:t>by </a:t>
                      </a:r>
                      <a:r>
                        <a:rPr lang="en-GB" sz="1200" b="0" i="0" kern="1200" baseline="0" dirty="0" smtClean="0">
                          <a:solidFill>
                            <a:schemeClr val="tx1"/>
                          </a:solidFill>
                          <a:latin typeface="Century Gothic" panose="020B0502020202020204" pitchFamily="34" charset="0"/>
                          <a:ea typeface="+mn-ea"/>
                          <a:cs typeface="+mn-cs"/>
                        </a:rPr>
                        <a:t>shareholders </a:t>
                      </a:r>
                      <a:r>
                        <a:rPr lang="en-GB" sz="1200" b="0" i="0" kern="1200" baseline="0" dirty="0">
                          <a:solidFill>
                            <a:schemeClr val="tx1"/>
                          </a:solidFill>
                          <a:latin typeface="Century Gothic" panose="020B0502020202020204" pitchFamily="34" charset="0"/>
                          <a:ea typeface="+mn-ea"/>
                          <a:cs typeface="+mn-cs"/>
                        </a:rPr>
                        <a:t>due to investing in Steinhoff securities</a:t>
                      </a:r>
                    </a:p>
                    <a:p>
                      <a:pPr marL="180975" marR="0" lvl="1" indent="-180975" algn="l" defTabSz="957263" rtl="0" eaLnBrk="1" fontAlgn="base" latinLnBrk="0" hangingPunct="1">
                        <a:lnSpc>
                          <a:spcPct val="100000"/>
                        </a:lnSpc>
                        <a:spcBef>
                          <a:spcPts val="200"/>
                        </a:spcBef>
                        <a:spcAft>
                          <a:spcPts val="200"/>
                        </a:spcAft>
                        <a:buClrTx/>
                        <a:buSzPct val="110000"/>
                        <a:buFont typeface="Arial" pitchFamily="34" charset="0"/>
                        <a:buChar char="•"/>
                        <a:tabLst>
                          <a:tab pos="0" algn="l"/>
                          <a:tab pos="431800" algn="l"/>
                        </a:tabLst>
                        <a:defRPr/>
                      </a:pPr>
                      <a:r>
                        <a:rPr lang="en-GB" sz="1200" b="1" i="0" kern="1200" baseline="0" dirty="0">
                          <a:solidFill>
                            <a:schemeClr val="tx1"/>
                          </a:solidFill>
                          <a:latin typeface="Century Gothic" panose="020B0502020202020204" pitchFamily="34" charset="0"/>
                          <a:ea typeface="+mn-ea"/>
                          <a:cs typeface="+mn-cs"/>
                        </a:rPr>
                        <a:t>German group action</a:t>
                      </a:r>
                      <a:r>
                        <a:rPr lang="en-GB" sz="1200" b="0" i="0" kern="1200" baseline="0" dirty="0">
                          <a:solidFill>
                            <a:schemeClr val="tx1"/>
                          </a:solidFill>
                          <a:latin typeface="Century Gothic" panose="020B0502020202020204" pitchFamily="34" charset="0"/>
                          <a:ea typeface="+mn-ea"/>
                          <a:cs typeface="+mn-cs"/>
                        </a:rPr>
                        <a:t>: </a:t>
                      </a:r>
                      <a:r>
                        <a:rPr lang="en-GB" sz="1200" b="0" i="0" kern="1200" baseline="0" dirty="0" smtClean="0">
                          <a:solidFill>
                            <a:schemeClr val="tx1"/>
                          </a:solidFill>
                          <a:latin typeface="Century Gothic" panose="020B0502020202020204" pitchFamily="34" charset="0"/>
                          <a:ea typeface="+mn-ea"/>
                          <a:cs typeface="+mn-cs"/>
                        </a:rPr>
                        <a:t>Steinhoff International Holdings NV (“SIHNV”) </a:t>
                      </a:r>
                      <a:r>
                        <a:rPr lang="en-GB" sz="1200" b="0" i="0" kern="1200" baseline="0" dirty="0">
                          <a:solidFill>
                            <a:schemeClr val="tx1"/>
                          </a:solidFill>
                          <a:latin typeface="Century Gothic" panose="020B0502020202020204" pitchFamily="34" charset="0"/>
                          <a:ea typeface="+mn-ea"/>
                          <a:cs typeface="+mn-cs"/>
                        </a:rPr>
                        <a:t>has received legal proceedings (instituted by one shareholder) requesting the authorisation of model case proceedings (German class action</a:t>
                      </a:r>
                      <a:r>
                        <a:rPr lang="en-GB" sz="1200" b="0" i="0" kern="1200" baseline="0" dirty="0" smtClean="0">
                          <a:solidFill>
                            <a:schemeClr val="tx1"/>
                          </a:solidFill>
                          <a:latin typeface="Century Gothic" panose="020B0502020202020204" pitchFamily="34" charset="0"/>
                          <a:ea typeface="+mn-ea"/>
                          <a:cs typeface="+mn-cs"/>
                        </a:rPr>
                        <a:t>)</a:t>
                      </a:r>
                    </a:p>
                    <a:p>
                      <a:pPr marL="180975" marR="0" lvl="1" indent="-180975" algn="l" defTabSz="957263" rtl="0" eaLnBrk="1" fontAlgn="base" latinLnBrk="0" hangingPunct="1">
                        <a:lnSpc>
                          <a:spcPct val="100000"/>
                        </a:lnSpc>
                        <a:spcBef>
                          <a:spcPts val="200"/>
                        </a:spcBef>
                        <a:spcAft>
                          <a:spcPts val="200"/>
                        </a:spcAft>
                        <a:buClrTx/>
                        <a:buSzPct val="110000"/>
                        <a:buFont typeface="Arial" pitchFamily="34" charset="0"/>
                        <a:buChar char="•"/>
                        <a:tabLst>
                          <a:tab pos="0" algn="l"/>
                          <a:tab pos="431800" algn="l"/>
                        </a:tabLst>
                        <a:defRPr/>
                      </a:pPr>
                      <a:r>
                        <a:rPr lang="en-GB" sz="1200" b="0" i="0" kern="1200" baseline="0" dirty="0" smtClean="0">
                          <a:solidFill>
                            <a:schemeClr val="tx1"/>
                          </a:solidFill>
                          <a:latin typeface="Century Gothic" panose="020B0502020202020204" pitchFamily="34" charset="0"/>
                          <a:ea typeface="+mn-ea"/>
                          <a:cs typeface="+mn-cs"/>
                        </a:rPr>
                        <a:t>A retail shareholder instituted proceedings requesting the authorisation of a </a:t>
                      </a:r>
                      <a:r>
                        <a:rPr lang="en-GB" sz="1200" b="1" i="0" kern="1200" baseline="0" dirty="0" smtClean="0">
                          <a:solidFill>
                            <a:schemeClr val="tx1"/>
                          </a:solidFill>
                          <a:latin typeface="Century Gothic" panose="020B0502020202020204" pitchFamily="34" charset="0"/>
                          <a:ea typeface="+mn-ea"/>
                          <a:cs typeface="+mn-cs"/>
                        </a:rPr>
                        <a:t>South African class action</a:t>
                      </a:r>
                      <a:endParaRPr lang="en-GB" sz="1200" b="1" i="0" kern="1200" baseline="0" dirty="0">
                        <a:solidFill>
                          <a:schemeClr val="tx1"/>
                        </a:solidFill>
                        <a:latin typeface="Century Gothic" panose="020B0502020202020204" pitchFamily="34" charset="0"/>
                        <a:ea typeface="+mn-ea"/>
                        <a:cs typeface="+mn-cs"/>
                      </a:endParaRPr>
                    </a:p>
                  </a:txBody>
                  <a:tcPr marL="68580" marR="6858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1565731">
                <a:tc>
                  <a:txBody>
                    <a:bodyPr/>
                    <a:lstStyle/>
                    <a:p>
                      <a:pPr marL="0" marR="0" indent="0" algn="ctr" defTabSz="914400" rtl="0" eaLnBrk="1" fontAlgn="auto" latinLnBrk="0" hangingPunct="1">
                        <a:lnSpc>
                          <a:spcPct val="100000"/>
                        </a:lnSpc>
                        <a:spcBef>
                          <a:spcPts val="200"/>
                        </a:spcBef>
                        <a:spcAft>
                          <a:spcPts val="200"/>
                        </a:spcAft>
                        <a:buClrTx/>
                        <a:buSzTx/>
                        <a:buFontTx/>
                        <a:buNone/>
                        <a:tabLst/>
                        <a:defRPr/>
                      </a:pPr>
                      <a:r>
                        <a:rPr lang="en-GB" sz="1100" b="1" kern="1200" cap="all" baseline="0" dirty="0">
                          <a:solidFill>
                            <a:schemeClr val="bg1"/>
                          </a:solidFill>
                          <a:latin typeface="Century Gothic" panose="020B0502020202020204" pitchFamily="34" charset="0"/>
                          <a:ea typeface="+mn-ea"/>
                          <a:cs typeface="+mn-cs"/>
                        </a:rPr>
                        <a:t>Vendor claims</a:t>
                      </a:r>
                    </a:p>
                  </a:txBody>
                  <a:tcPr marL="68580" marR="68580" marT="0" marB="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180975" marR="0" lvl="1" indent="-180975" algn="l" defTabSz="957263" rtl="0" eaLnBrk="1" fontAlgn="base" latinLnBrk="0" hangingPunct="1">
                        <a:lnSpc>
                          <a:spcPct val="100000"/>
                        </a:lnSpc>
                        <a:spcBef>
                          <a:spcPts val="200"/>
                        </a:spcBef>
                        <a:spcAft>
                          <a:spcPts val="200"/>
                        </a:spcAft>
                        <a:buClrTx/>
                        <a:buSzPct val="110000"/>
                        <a:buFont typeface="Arial" pitchFamily="34" charset="0"/>
                        <a:buChar char="•"/>
                        <a:tabLst>
                          <a:tab pos="0" algn="l"/>
                          <a:tab pos="431800" algn="l"/>
                        </a:tabLst>
                        <a:defRPr/>
                      </a:pPr>
                      <a:r>
                        <a:rPr lang="en-GB" sz="1200" b="1" i="0" kern="1200" baseline="0" dirty="0" smtClean="0">
                          <a:solidFill>
                            <a:schemeClr val="tx1"/>
                          </a:solidFill>
                          <a:latin typeface="Century Gothic" panose="020B0502020202020204" pitchFamily="34" charset="0"/>
                          <a:ea typeface="+mn-ea"/>
                          <a:cs typeface="+mn-cs"/>
                        </a:rPr>
                        <a:t>Titan related </a:t>
                      </a:r>
                      <a:r>
                        <a:rPr lang="en-GB" sz="1200" b="1" i="0" kern="1200" baseline="0" dirty="0">
                          <a:solidFill>
                            <a:schemeClr val="tx1"/>
                          </a:solidFill>
                          <a:latin typeface="Century Gothic" panose="020B0502020202020204" pitchFamily="34" charset="0"/>
                          <a:ea typeface="+mn-ea"/>
                          <a:cs typeface="+mn-cs"/>
                        </a:rPr>
                        <a:t>companies:</a:t>
                      </a:r>
                      <a:r>
                        <a:rPr lang="en-GB" sz="1200" b="0" i="0" kern="1200" baseline="0" dirty="0">
                          <a:solidFill>
                            <a:schemeClr val="tx1"/>
                          </a:solidFill>
                          <a:latin typeface="Century Gothic" panose="020B0502020202020204" pitchFamily="34" charset="0"/>
                          <a:ea typeface="+mn-ea"/>
                          <a:cs typeface="+mn-cs"/>
                        </a:rPr>
                        <a:t> Summons received for claim at </a:t>
                      </a:r>
                      <a:r>
                        <a:rPr lang="en-GB" sz="1200" b="0" i="0" kern="1200" baseline="0" dirty="0" smtClean="0">
                          <a:solidFill>
                            <a:schemeClr val="tx1"/>
                          </a:solidFill>
                          <a:latin typeface="Century Gothic" panose="020B0502020202020204" pitchFamily="34" charset="0"/>
                          <a:ea typeface="+mn-ea"/>
                          <a:cs typeface="+mn-cs"/>
                        </a:rPr>
                        <a:t>Steinhoff International Holdings Proprietary Limited (“SIHPL”) </a:t>
                      </a:r>
                      <a:r>
                        <a:rPr lang="en-GB" sz="1200" b="0" i="0" kern="1200" baseline="0" dirty="0">
                          <a:solidFill>
                            <a:schemeClr val="tx1"/>
                          </a:solidFill>
                          <a:latin typeface="Century Gothic" panose="020B0502020202020204" pitchFamily="34" charset="0"/>
                          <a:ea typeface="+mn-ea"/>
                          <a:cs typeface="+mn-cs"/>
                        </a:rPr>
                        <a:t>as well as a reversal </a:t>
                      </a:r>
                      <a:r>
                        <a:rPr lang="en-GB" sz="1200" b="0" i="0" kern="1200" baseline="0" dirty="0" smtClean="0">
                          <a:solidFill>
                            <a:schemeClr val="tx1"/>
                          </a:solidFill>
                          <a:latin typeface="Century Gothic" panose="020B0502020202020204" pitchFamily="34" charset="0"/>
                          <a:ea typeface="+mn-ea"/>
                          <a:cs typeface="+mn-cs"/>
                        </a:rPr>
                        <a:t>of </a:t>
                      </a:r>
                      <a:r>
                        <a:rPr lang="en-GB" sz="1200" b="0" i="0" kern="1200" baseline="0" dirty="0">
                          <a:solidFill>
                            <a:schemeClr val="tx1"/>
                          </a:solidFill>
                          <a:latin typeface="Century Gothic" panose="020B0502020202020204" pitchFamily="34" charset="0"/>
                          <a:ea typeface="+mn-ea"/>
                          <a:cs typeface="+mn-cs"/>
                        </a:rPr>
                        <a:t>the transfer of the European assets effected in 2016 and a damages claim at SIHNV</a:t>
                      </a:r>
                    </a:p>
                    <a:p>
                      <a:pPr marL="180975" marR="0" lvl="1" indent="-180975" algn="l" defTabSz="957263" rtl="0" eaLnBrk="1" fontAlgn="base" latinLnBrk="0" hangingPunct="1">
                        <a:lnSpc>
                          <a:spcPct val="100000"/>
                        </a:lnSpc>
                        <a:spcBef>
                          <a:spcPts val="200"/>
                        </a:spcBef>
                        <a:spcAft>
                          <a:spcPts val="200"/>
                        </a:spcAft>
                        <a:buClrTx/>
                        <a:buSzPct val="110000"/>
                        <a:buFont typeface="Arial" pitchFamily="34" charset="0"/>
                        <a:buChar char="•"/>
                        <a:tabLst>
                          <a:tab pos="0" algn="l"/>
                          <a:tab pos="431800" algn="l"/>
                        </a:tabLst>
                        <a:defRPr/>
                      </a:pPr>
                      <a:r>
                        <a:rPr lang="en-GB" sz="1200" b="1" i="0" kern="1200" baseline="0" dirty="0">
                          <a:solidFill>
                            <a:schemeClr val="tx1"/>
                          </a:solidFill>
                          <a:latin typeface="Century Gothic" panose="020B0502020202020204" pitchFamily="34" charset="0"/>
                          <a:ea typeface="+mn-ea"/>
                          <a:cs typeface="+mn-cs"/>
                        </a:rPr>
                        <a:t>GT Ferreira / Tokara BEE Trust: </a:t>
                      </a:r>
                      <a:r>
                        <a:rPr lang="en-GB" sz="1200" b="0" i="0" kern="1200" baseline="0" dirty="0">
                          <a:solidFill>
                            <a:schemeClr val="tx1"/>
                          </a:solidFill>
                          <a:latin typeface="Century Gothic" panose="020B0502020202020204" pitchFamily="34" charset="0"/>
                          <a:ea typeface="+mn-ea"/>
                          <a:cs typeface="+mn-cs"/>
                        </a:rPr>
                        <a:t>Claim at SIHPL </a:t>
                      </a:r>
                    </a:p>
                    <a:p>
                      <a:pPr marL="180975" marR="0" lvl="1" indent="-180975" algn="l" defTabSz="957263" rtl="0" eaLnBrk="1" fontAlgn="base" latinLnBrk="0" hangingPunct="1">
                        <a:lnSpc>
                          <a:spcPct val="100000"/>
                        </a:lnSpc>
                        <a:spcBef>
                          <a:spcPts val="200"/>
                        </a:spcBef>
                        <a:spcAft>
                          <a:spcPts val="200"/>
                        </a:spcAft>
                        <a:buClrTx/>
                        <a:buSzPct val="110000"/>
                        <a:buFont typeface="Arial" pitchFamily="34" charset="0"/>
                        <a:buChar char="•"/>
                        <a:tabLst>
                          <a:tab pos="0" algn="l"/>
                          <a:tab pos="431800" algn="l"/>
                        </a:tabLst>
                        <a:defRPr/>
                      </a:pPr>
                      <a:r>
                        <a:rPr lang="en-GB" sz="1200" b="1" i="0" kern="1200" baseline="0" dirty="0">
                          <a:solidFill>
                            <a:schemeClr val="tx1"/>
                          </a:solidFill>
                          <a:latin typeface="Century Gothic" panose="020B0502020202020204" pitchFamily="34" charset="0"/>
                          <a:ea typeface="+mn-ea"/>
                          <a:cs typeface="+mn-cs"/>
                        </a:rPr>
                        <a:t>Other PSG vendors</a:t>
                      </a:r>
                    </a:p>
                    <a:p>
                      <a:pPr marL="180975" marR="0" lvl="1" indent="-180975" algn="l" defTabSz="957263" rtl="0" eaLnBrk="1" fontAlgn="base" latinLnBrk="0" hangingPunct="1">
                        <a:lnSpc>
                          <a:spcPct val="100000"/>
                        </a:lnSpc>
                        <a:spcBef>
                          <a:spcPts val="200"/>
                        </a:spcBef>
                        <a:spcAft>
                          <a:spcPts val="200"/>
                        </a:spcAft>
                        <a:buClrTx/>
                        <a:buSzPct val="110000"/>
                        <a:buFont typeface="Arial" pitchFamily="34" charset="0"/>
                        <a:buChar char="•"/>
                        <a:tabLst>
                          <a:tab pos="0" algn="l"/>
                          <a:tab pos="431800" algn="l"/>
                        </a:tabLst>
                        <a:defRPr/>
                      </a:pPr>
                      <a:r>
                        <a:rPr lang="en-GB" sz="1200" b="1" i="0" kern="1200" baseline="0" dirty="0">
                          <a:solidFill>
                            <a:schemeClr val="tx1"/>
                          </a:solidFill>
                          <a:latin typeface="Century Gothic" panose="020B0502020202020204" pitchFamily="34" charset="0"/>
                          <a:ea typeface="+mn-ea"/>
                          <a:cs typeface="+mn-cs"/>
                        </a:rPr>
                        <a:t>Tekkie Town: </a:t>
                      </a:r>
                      <a:r>
                        <a:rPr lang="en-GB" sz="1200" b="0" i="0" kern="1200" baseline="0" dirty="0">
                          <a:solidFill>
                            <a:schemeClr val="tx1"/>
                          </a:solidFill>
                          <a:latin typeface="Century Gothic" panose="020B0502020202020204" pitchFamily="34" charset="0"/>
                          <a:ea typeface="+mn-ea"/>
                          <a:cs typeface="+mn-cs"/>
                        </a:rPr>
                        <a:t>Summons received for SIHNV</a:t>
                      </a:r>
                    </a:p>
                  </a:txBody>
                  <a:tcPr marL="68580" marR="6858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1"/>
                  </a:ext>
                </a:extLst>
              </a:tr>
              <a:tr h="1449068">
                <a:tc>
                  <a:txBody>
                    <a:bodyPr/>
                    <a:lstStyle/>
                    <a:p>
                      <a:pPr marL="0" marR="0" indent="0" algn="ctr" defTabSz="914400" rtl="0" eaLnBrk="1" fontAlgn="auto" latinLnBrk="0" hangingPunct="1">
                        <a:lnSpc>
                          <a:spcPct val="100000"/>
                        </a:lnSpc>
                        <a:spcBef>
                          <a:spcPts val="200"/>
                        </a:spcBef>
                        <a:spcAft>
                          <a:spcPts val="200"/>
                        </a:spcAft>
                        <a:buClrTx/>
                        <a:buSzTx/>
                        <a:buFontTx/>
                        <a:buNone/>
                        <a:tabLst/>
                        <a:defRPr/>
                      </a:pPr>
                      <a:r>
                        <a:rPr lang="en-GB" sz="1100" b="1" kern="1200" cap="all" baseline="0" dirty="0">
                          <a:solidFill>
                            <a:schemeClr val="bg1"/>
                          </a:solidFill>
                          <a:latin typeface="Century Gothic" panose="020B0502020202020204" pitchFamily="34" charset="0"/>
                          <a:ea typeface="+mn-ea"/>
                          <a:cs typeface="+mn-cs"/>
                        </a:rPr>
                        <a:t>Other claims</a:t>
                      </a:r>
                    </a:p>
                  </a:txBody>
                  <a:tcPr marL="68580" marR="68580" marT="0" marB="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180975" marR="0" lvl="1" indent="-180975" algn="l" defTabSz="957263" rtl="0" eaLnBrk="1" fontAlgn="base" latinLnBrk="0" hangingPunct="1">
                        <a:lnSpc>
                          <a:spcPct val="100000"/>
                        </a:lnSpc>
                        <a:spcBef>
                          <a:spcPts val="200"/>
                        </a:spcBef>
                        <a:spcAft>
                          <a:spcPts val="200"/>
                        </a:spcAft>
                        <a:buClrTx/>
                        <a:buSzPct val="110000"/>
                        <a:buFont typeface="Arial" pitchFamily="34" charset="0"/>
                        <a:buChar char="•"/>
                        <a:tabLst>
                          <a:tab pos="0" algn="l"/>
                          <a:tab pos="431800" algn="l"/>
                        </a:tabLst>
                        <a:defRPr/>
                      </a:pPr>
                      <a:r>
                        <a:rPr lang="en-GB" sz="1200" b="1" i="0" kern="1200" baseline="0" dirty="0">
                          <a:solidFill>
                            <a:schemeClr val="tx1"/>
                          </a:solidFill>
                          <a:latin typeface="Century Gothic" panose="020B0502020202020204" pitchFamily="34" charset="0"/>
                          <a:ea typeface="+mn-ea"/>
                          <a:cs typeface="+mn-cs"/>
                        </a:rPr>
                        <a:t>POCO:</a:t>
                      </a:r>
                      <a:r>
                        <a:rPr lang="en-GB" sz="1200" b="0" i="0" kern="1200" baseline="0" dirty="0">
                          <a:solidFill>
                            <a:schemeClr val="tx1"/>
                          </a:solidFill>
                          <a:latin typeface="Century Gothic" panose="020B0502020202020204" pitchFamily="34" charset="0"/>
                          <a:ea typeface="+mn-ea"/>
                          <a:cs typeface="+mn-cs"/>
                        </a:rPr>
                        <a:t> Joint venture dispute with possible settlement. However, co-shareholders have declared a dispute regarding the distribution of any settlement proceeds</a:t>
                      </a:r>
                    </a:p>
                    <a:p>
                      <a:pPr marL="180975" marR="0" lvl="1" indent="-180975" algn="l" defTabSz="957263" rtl="0" eaLnBrk="1" fontAlgn="base" latinLnBrk="0" hangingPunct="1">
                        <a:lnSpc>
                          <a:spcPct val="100000"/>
                        </a:lnSpc>
                        <a:spcBef>
                          <a:spcPts val="200"/>
                        </a:spcBef>
                        <a:spcAft>
                          <a:spcPts val="200"/>
                        </a:spcAft>
                        <a:buClrTx/>
                        <a:buSzPct val="110000"/>
                        <a:buFont typeface="Arial" pitchFamily="34" charset="0"/>
                        <a:buChar char="•"/>
                        <a:tabLst>
                          <a:tab pos="0" algn="l"/>
                          <a:tab pos="431800" algn="l"/>
                        </a:tabLst>
                        <a:defRPr/>
                      </a:pPr>
                      <a:r>
                        <a:rPr lang="en-GB" sz="1200" b="1" i="0" kern="1200" baseline="0" dirty="0">
                          <a:solidFill>
                            <a:schemeClr val="tx1"/>
                          </a:solidFill>
                          <a:latin typeface="Century Gothic" panose="020B0502020202020204" pitchFamily="34" charset="0"/>
                          <a:ea typeface="+mn-ea"/>
                          <a:cs typeface="+mn-cs"/>
                        </a:rPr>
                        <a:t>AIH:</a:t>
                      </a:r>
                      <a:r>
                        <a:rPr lang="en-GB" sz="1200" b="0" i="0" kern="1200" baseline="0" dirty="0">
                          <a:solidFill>
                            <a:schemeClr val="tx1"/>
                          </a:solidFill>
                          <a:latin typeface="Century Gothic" panose="020B0502020202020204" pitchFamily="34" charset="0"/>
                          <a:ea typeface="+mn-ea"/>
                          <a:cs typeface="+mn-cs"/>
                        </a:rPr>
                        <a:t> Loan claim proceedings ongoing, next hearing scheduled for September 2018. Court date has been set for 5 December 2018 to determine further case directions in </a:t>
                      </a:r>
                      <a:r>
                        <a:rPr lang="en-GB" sz="1200" b="0" i="0" kern="1200" baseline="0" dirty="0" smtClean="0">
                          <a:solidFill>
                            <a:schemeClr val="tx1"/>
                          </a:solidFill>
                          <a:latin typeface="Century Gothic" panose="020B0502020202020204" pitchFamily="34" charset="0"/>
                          <a:ea typeface="+mn-ea"/>
                          <a:cs typeface="+mn-cs"/>
                        </a:rPr>
                        <a:t>the conversion </a:t>
                      </a:r>
                      <a:r>
                        <a:rPr lang="en-GB" sz="1200" b="0" i="0" kern="1200" baseline="0" dirty="0">
                          <a:solidFill>
                            <a:schemeClr val="tx1"/>
                          </a:solidFill>
                          <a:latin typeface="Century Gothic" panose="020B0502020202020204" pitchFamily="34" charset="0"/>
                          <a:ea typeface="+mn-ea"/>
                          <a:cs typeface="+mn-cs"/>
                        </a:rPr>
                        <a:t>proceedings</a:t>
                      </a:r>
                    </a:p>
                    <a:p>
                      <a:pPr marL="180975" marR="0" lvl="1" indent="-180975" algn="l" defTabSz="957263" rtl="0" eaLnBrk="1" fontAlgn="base" latinLnBrk="0" hangingPunct="1">
                        <a:lnSpc>
                          <a:spcPct val="100000"/>
                        </a:lnSpc>
                        <a:spcBef>
                          <a:spcPts val="200"/>
                        </a:spcBef>
                        <a:spcAft>
                          <a:spcPts val="200"/>
                        </a:spcAft>
                        <a:buClrTx/>
                        <a:buSzPct val="110000"/>
                        <a:buFont typeface="Arial" pitchFamily="34" charset="0"/>
                        <a:buChar char="•"/>
                        <a:tabLst>
                          <a:tab pos="0" algn="l"/>
                          <a:tab pos="431800" algn="l"/>
                        </a:tabLst>
                        <a:defRPr/>
                      </a:pPr>
                      <a:r>
                        <a:rPr lang="en-GB" sz="1200" b="1" i="0" kern="1200" baseline="0" dirty="0">
                          <a:solidFill>
                            <a:schemeClr val="tx1"/>
                          </a:solidFill>
                          <a:latin typeface="Century Gothic" panose="020B0502020202020204" pitchFamily="34" charset="0"/>
                          <a:ea typeface="+mn-ea"/>
                          <a:cs typeface="+mn-cs"/>
                        </a:rPr>
                        <a:t>Other:</a:t>
                      </a:r>
                      <a:r>
                        <a:rPr lang="en-GB" sz="1200" b="0" i="0" kern="1200" baseline="0" dirty="0">
                          <a:solidFill>
                            <a:schemeClr val="tx1"/>
                          </a:solidFill>
                          <a:latin typeface="Century Gothic" panose="020B0502020202020204" pitchFamily="34" charset="0"/>
                          <a:ea typeface="+mn-ea"/>
                          <a:cs typeface="+mn-cs"/>
                        </a:rPr>
                        <a:t> 1) Tax authorities, 2) BaFin penalty, 3) JSE penalty  </a:t>
                      </a:r>
                    </a:p>
                  </a:txBody>
                  <a:tcPr marL="68580" marR="6858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bl>
          </a:graphicData>
        </a:graphic>
      </p:graphicFrame>
      <p:sp>
        <p:nvSpPr>
          <p:cNvPr id="7" name="Title 3">
            <a:extLst>
              <a:ext uri="{FF2B5EF4-FFF2-40B4-BE49-F238E27FC236}">
                <a16:creationId xmlns="" xmlns:a16="http://schemas.microsoft.com/office/drawing/2014/main" id="{C3F23373-7E65-4FED-B92A-FEFA13411F72}"/>
              </a:ext>
            </a:extLst>
          </p:cNvPr>
          <p:cNvSpPr txBox="1">
            <a:spLocks/>
          </p:cNvSpPr>
          <p:nvPr/>
        </p:nvSpPr>
        <p:spPr>
          <a:xfrm>
            <a:off x="178777" y="162898"/>
            <a:ext cx="7886700" cy="766196"/>
          </a:xfrm>
          <a:prstGeom prst="rect">
            <a:avLst/>
          </a:prstGeom>
        </p:spPr>
        <p:txBody>
          <a:bodyPr vert="horz" lIns="91435" tIns="45718" rIns="91435" bIns="45718" rtlCol="0" anchor="ctr">
            <a:normAutofit/>
          </a:bodyPr>
          <a:lstStyle>
            <a:lvl1pPr algn="l" defTabSz="844040" rtl="0" eaLnBrk="1" latinLnBrk="0" hangingPunct="1">
              <a:lnSpc>
                <a:spcPct val="90000"/>
              </a:lnSpc>
              <a:spcBef>
                <a:spcPct val="0"/>
              </a:spcBef>
              <a:buNone/>
              <a:defRPr sz="2600" b="1" kern="1200">
                <a:solidFill>
                  <a:schemeClr val="tx1"/>
                </a:solidFill>
                <a:latin typeface="+mj-lt"/>
                <a:ea typeface="+mj-ea"/>
                <a:cs typeface="+mj-cs"/>
              </a:defRPr>
            </a:lvl1pPr>
          </a:lstStyle>
          <a:p>
            <a:r>
              <a:rPr lang="en-US" dirty="0"/>
              <a:t>Litigation and claims update</a:t>
            </a:r>
          </a:p>
        </p:txBody>
      </p:sp>
      <p:pic>
        <p:nvPicPr>
          <p:cNvPr id="8" name="Picture 7">
            <a:extLst>
              <a:ext uri="{FF2B5EF4-FFF2-40B4-BE49-F238E27FC236}">
                <a16:creationId xmlns="" xmlns:a16="http://schemas.microsoft.com/office/drawing/2014/main" id="{D0913A83-2E38-4654-A0EF-164DA62FA393}"/>
              </a:ext>
            </a:extLst>
          </p:cNvPr>
          <p:cNvPicPr>
            <a:picLocks noChangeAspect="1"/>
          </p:cNvPicPr>
          <p:nvPr/>
        </p:nvPicPr>
        <p:blipFill>
          <a:blip r:embed="rId3" cstate="screen">
            <a:extLst>
              <a:ext uri="{28A0092B-C50C-407E-A947-70E740481C1C}">
                <a14:useLocalDpi xmlns:a14="http://schemas.microsoft.com/office/drawing/2010/main" xmlns=""/>
              </a:ext>
            </a:extLst>
          </a:blip>
          <a:stretch>
            <a:fillRect/>
          </a:stretch>
        </p:blipFill>
        <p:spPr>
          <a:xfrm>
            <a:off x="6916615" y="-108396"/>
            <a:ext cx="2055449" cy="1263618"/>
          </a:xfrm>
          <a:prstGeom prst="rect">
            <a:avLst/>
          </a:prstGeom>
        </p:spPr>
      </p:pic>
    </p:spTree>
    <p:extLst>
      <p:ext uri="{BB962C8B-B14F-4D97-AF65-F5344CB8AC3E}">
        <p14:creationId xmlns:p14="http://schemas.microsoft.com/office/powerpoint/2010/main" xmlns="" val="40071766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6787662" y="6356352"/>
            <a:ext cx="2057400" cy="365125"/>
          </a:xfrm>
          <a:prstGeom prst="rect">
            <a:avLst/>
          </a:prstGeom>
        </p:spPr>
        <p:txBody>
          <a:bodyPr/>
          <a:lstStyle/>
          <a:p>
            <a:pPr>
              <a:defRPr/>
            </a:pPr>
            <a:fld id="{1A70C215-7FD4-F741-9EDD-C4BAF7BC3257}" type="slidenum">
              <a:rPr lang="en-US" smtClean="0">
                <a:solidFill>
                  <a:srgbClr val="313231">
                    <a:tint val="75000"/>
                  </a:srgbClr>
                </a:solidFill>
              </a:rPr>
              <a:pPr>
                <a:defRPr/>
              </a:pPr>
              <a:t>16</a:t>
            </a:fld>
            <a:endParaRPr lang="en-US" dirty="0">
              <a:solidFill>
                <a:srgbClr val="313231">
                  <a:tint val="75000"/>
                </a:srgbClr>
              </a:solidFill>
            </a:endParaRPr>
          </a:p>
        </p:txBody>
      </p:sp>
      <p:graphicFrame>
        <p:nvGraphicFramePr>
          <p:cNvPr id="11" name="Table 10"/>
          <p:cNvGraphicFramePr>
            <a:graphicFrameLocks noGrp="1"/>
          </p:cNvGraphicFramePr>
          <p:nvPr>
            <p:custDataLst>
              <p:tags r:id="rId1"/>
            </p:custDataLst>
            <p:extLst>
              <p:ext uri="{D42A27DB-BD31-4B8C-83A1-F6EECF244321}">
                <p14:modId xmlns:p14="http://schemas.microsoft.com/office/powerpoint/2010/main" xmlns="" val="1700034642"/>
              </p:ext>
            </p:extLst>
          </p:nvPr>
        </p:nvGraphicFramePr>
        <p:xfrm>
          <a:off x="250825" y="1520825"/>
          <a:ext cx="8470408" cy="3510280"/>
        </p:xfrm>
        <a:graphic>
          <a:graphicData uri="http://schemas.openxmlformats.org/drawingml/2006/table">
            <a:tbl>
              <a:tblPr firstRow="1" bandRow="1">
                <a:tableStyleId>{5C22544A-7EE6-4342-B048-85BDC9FD1C3A}</a:tableStyleId>
              </a:tblPr>
              <a:tblGrid>
                <a:gridCol w="1152000">
                  <a:extLst>
                    <a:ext uri="{9D8B030D-6E8A-4147-A177-3AD203B41FA5}">
                      <a16:colId xmlns="" xmlns:a16="http://schemas.microsoft.com/office/drawing/2014/main" val="20000"/>
                    </a:ext>
                  </a:extLst>
                </a:gridCol>
                <a:gridCol w="7318408">
                  <a:extLst>
                    <a:ext uri="{9D8B030D-6E8A-4147-A177-3AD203B41FA5}">
                      <a16:colId xmlns="" xmlns:a16="http://schemas.microsoft.com/office/drawing/2014/main" val="20001"/>
                    </a:ext>
                  </a:extLst>
                </a:gridCol>
              </a:tblGrid>
              <a:tr h="1108074">
                <a:tc>
                  <a:txBody>
                    <a:bodyPr/>
                    <a:lstStyle/>
                    <a:p>
                      <a:pPr marL="0" marR="0" indent="0" algn="ctr" defTabSz="914400" rtl="0" eaLnBrk="1" fontAlgn="auto" latinLnBrk="0" hangingPunct="1">
                        <a:lnSpc>
                          <a:spcPct val="100000"/>
                        </a:lnSpc>
                        <a:spcBef>
                          <a:spcPts val="200"/>
                        </a:spcBef>
                        <a:spcAft>
                          <a:spcPts val="200"/>
                        </a:spcAft>
                        <a:buClrTx/>
                        <a:buSzTx/>
                        <a:buFontTx/>
                        <a:buNone/>
                        <a:tabLst/>
                        <a:defRPr/>
                      </a:pPr>
                      <a:r>
                        <a:rPr lang="en-GB" sz="1100" b="1" kern="1200" cap="all" baseline="0" dirty="0">
                          <a:solidFill>
                            <a:schemeClr val="bg1"/>
                          </a:solidFill>
                          <a:latin typeface="Century Gothic" panose="020B0502020202020204" pitchFamily="34" charset="0"/>
                          <a:ea typeface="+mn-ea"/>
                          <a:cs typeface="+mn-cs"/>
                        </a:rPr>
                        <a:t>PURPOSE AND APPROACH</a:t>
                      </a:r>
                    </a:p>
                  </a:txBody>
                  <a:tcPr marL="68580" marR="68580" marT="0" marB="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180975" marR="0" lvl="1" indent="-180975" algn="l" defTabSz="957263" rtl="0" eaLnBrk="1" fontAlgn="base" latinLnBrk="0" hangingPunct="1">
                        <a:lnSpc>
                          <a:spcPct val="150000"/>
                        </a:lnSpc>
                        <a:spcBef>
                          <a:spcPts val="200"/>
                        </a:spcBef>
                        <a:spcAft>
                          <a:spcPts val="200"/>
                        </a:spcAft>
                        <a:buClrTx/>
                        <a:buSzPct val="110000"/>
                        <a:buFont typeface="Arial" pitchFamily="34" charset="0"/>
                        <a:buChar char="•"/>
                        <a:tabLst>
                          <a:tab pos="0" algn="l"/>
                          <a:tab pos="431800" algn="l"/>
                        </a:tabLst>
                        <a:defRPr/>
                      </a:pPr>
                      <a:r>
                        <a:rPr lang="en-GB" sz="1200" b="0" i="0" kern="1200" baseline="0" dirty="0">
                          <a:solidFill>
                            <a:schemeClr val="tx1"/>
                          </a:solidFill>
                          <a:latin typeface="Century Gothic" panose="020B0502020202020204" pitchFamily="34" charset="0"/>
                          <a:ea typeface="+mn-ea"/>
                          <a:cs typeface="+mn-cs"/>
                        </a:rPr>
                        <a:t>Key aims: 1) to determine what happened, 2) financial </a:t>
                      </a:r>
                      <a:r>
                        <a:rPr lang="en-GB" sz="1200" b="0" i="0" kern="1200" baseline="0" dirty="0" smtClean="0">
                          <a:solidFill>
                            <a:schemeClr val="tx1"/>
                          </a:solidFill>
                          <a:latin typeface="Century Gothic" panose="020B0502020202020204" pitchFamily="34" charset="0"/>
                          <a:ea typeface="+mn-ea"/>
                          <a:cs typeface="+mn-cs"/>
                        </a:rPr>
                        <a:t>investigation, </a:t>
                      </a:r>
                      <a:r>
                        <a:rPr lang="en-GB" sz="1200" b="0" i="0" kern="1200" baseline="0" dirty="0">
                          <a:solidFill>
                            <a:schemeClr val="tx1"/>
                          </a:solidFill>
                          <a:latin typeface="Century Gothic" panose="020B0502020202020204" pitchFamily="34" charset="0"/>
                          <a:ea typeface="+mn-ea"/>
                          <a:cs typeface="+mn-cs"/>
                        </a:rPr>
                        <a:t>3) responsibility</a:t>
                      </a:r>
                    </a:p>
                    <a:p>
                      <a:pPr marL="180975" marR="0" lvl="1" indent="-180975" algn="l" defTabSz="957263" rtl="0" eaLnBrk="1" fontAlgn="base" latinLnBrk="0" hangingPunct="1">
                        <a:lnSpc>
                          <a:spcPct val="150000"/>
                        </a:lnSpc>
                        <a:spcBef>
                          <a:spcPts val="200"/>
                        </a:spcBef>
                        <a:spcAft>
                          <a:spcPts val="200"/>
                        </a:spcAft>
                        <a:buClrTx/>
                        <a:buSzPct val="110000"/>
                        <a:buFont typeface="Arial" pitchFamily="34" charset="0"/>
                        <a:buChar char="•"/>
                        <a:tabLst>
                          <a:tab pos="0" algn="l"/>
                          <a:tab pos="431800" algn="l"/>
                        </a:tabLst>
                        <a:defRPr/>
                      </a:pPr>
                      <a:r>
                        <a:rPr lang="en-GB" sz="1200" b="0" i="0" kern="1200" baseline="0" dirty="0">
                          <a:solidFill>
                            <a:schemeClr val="tx1"/>
                          </a:solidFill>
                          <a:latin typeface="Century Gothic" panose="020B0502020202020204" pitchFamily="34" charset="0"/>
                          <a:ea typeface="+mn-ea"/>
                          <a:cs typeface="+mn-cs"/>
                        </a:rPr>
                        <a:t>Appointed by and reporting to the supervisory board</a:t>
                      </a:r>
                    </a:p>
                    <a:p>
                      <a:pPr marL="180975" marR="0" lvl="1" indent="-180975" algn="l" defTabSz="957263" rtl="0" eaLnBrk="1" fontAlgn="base" latinLnBrk="0" hangingPunct="1">
                        <a:lnSpc>
                          <a:spcPct val="150000"/>
                        </a:lnSpc>
                        <a:spcBef>
                          <a:spcPts val="200"/>
                        </a:spcBef>
                        <a:spcAft>
                          <a:spcPts val="200"/>
                        </a:spcAft>
                        <a:buClrTx/>
                        <a:buSzPct val="110000"/>
                        <a:buFont typeface="Arial" pitchFamily="34" charset="0"/>
                        <a:buChar char="•"/>
                        <a:tabLst>
                          <a:tab pos="0" algn="l"/>
                          <a:tab pos="431800" algn="l"/>
                        </a:tabLst>
                        <a:defRPr/>
                      </a:pPr>
                      <a:r>
                        <a:rPr lang="en-GB" sz="1200" b="0" i="0" kern="1200" baseline="0" dirty="0">
                          <a:solidFill>
                            <a:schemeClr val="tx1"/>
                          </a:solidFill>
                          <a:latin typeface="Century Gothic" panose="020B0502020202020204" pitchFamily="34" charset="0"/>
                          <a:ea typeface="+mn-ea"/>
                          <a:cs typeface="+mn-cs"/>
                        </a:rPr>
                        <a:t>Unrestricted scope and unhindered process</a:t>
                      </a:r>
                    </a:p>
                  </a:txBody>
                  <a:tcPr marL="68580" marR="6858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1268731">
                <a:tc>
                  <a:txBody>
                    <a:bodyPr/>
                    <a:lstStyle/>
                    <a:p>
                      <a:pPr marL="0" marR="0" indent="0" algn="ctr" defTabSz="914400" rtl="0" eaLnBrk="1" fontAlgn="auto" latinLnBrk="0" hangingPunct="1">
                        <a:lnSpc>
                          <a:spcPct val="100000"/>
                        </a:lnSpc>
                        <a:spcBef>
                          <a:spcPts val="200"/>
                        </a:spcBef>
                        <a:spcAft>
                          <a:spcPts val="200"/>
                        </a:spcAft>
                        <a:buClrTx/>
                        <a:buSzTx/>
                        <a:buFontTx/>
                        <a:buNone/>
                        <a:tabLst/>
                        <a:defRPr/>
                      </a:pPr>
                      <a:r>
                        <a:rPr lang="en-GB" sz="1100" b="1" kern="1200" cap="all" baseline="0" dirty="0">
                          <a:solidFill>
                            <a:schemeClr val="bg1"/>
                          </a:solidFill>
                          <a:latin typeface="Century Gothic" panose="020B0502020202020204" pitchFamily="34" charset="0"/>
                          <a:ea typeface="+mn-ea"/>
                          <a:cs typeface="+mn-cs"/>
                        </a:rPr>
                        <a:t>PROGRESS </a:t>
                      </a:r>
                      <a:br>
                        <a:rPr lang="en-GB" sz="1100" b="1" kern="1200" cap="all" baseline="0" dirty="0">
                          <a:solidFill>
                            <a:schemeClr val="bg1"/>
                          </a:solidFill>
                          <a:latin typeface="Century Gothic" panose="020B0502020202020204" pitchFamily="34" charset="0"/>
                          <a:ea typeface="+mn-ea"/>
                          <a:cs typeface="+mn-cs"/>
                        </a:rPr>
                      </a:br>
                      <a:r>
                        <a:rPr lang="en-GB" sz="1100" b="1" kern="1200" cap="all" baseline="0" dirty="0">
                          <a:solidFill>
                            <a:schemeClr val="bg1"/>
                          </a:solidFill>
                          <a:latin typeface="Century Gothic" panose="020B0502020202020204" pitchFamily="34" charset="0"/>
                          <a:ea typeface="+mn-ea"/>
                          <a:cs typeface="+mn-cs"/>
                        </a:rPr>
                        <a:t>TO DATE</a:t>
                      </a:r>
                    </a:p>
                  </a:txBody>
                  <a:tcPr marL="68580" marR="68580" marT="0" marB="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180975" marR="0" lvl="1" indent="-180975" algn="l" defTabSz="957263" rtl="0" eaLnBrk="1" fontAlgn="base" latinLnBrk="0" hangingPunct="1">
                        <a:lnSpc>
                          <a:spcPct val="150000"/>
                        </a:lnSpc>
                        <a:spcBef>
                          <a:spcPts val="200"/>
                        </a:spcBef>
                        <a:spcAft>
                          <a:spcPts val="200"/>
                        </a:spcAft>
                        <a:buClrTx/>
                        <a:buSzPct val="110000"/>
                        <a:buFont typeface="Arial" pitchFamily="34" charset="0"/>
                        <a:buChar char="•"/>
                        <a:tabLst>
                          <a:tab pos="0" algn="l"/>
                          <a:tab pos="431800" algn="l"/>
                        </a:tabLst>
                        <a:defRPr/>
                      </a:pPr>
                      <a:r>
                        <a:rPr lang="en-GB" sz="1200" b="0" i="0" kern="1200" baseline="0" dirty="0">
                          <a:solidFill>
                            <a:schemeClr val="tx1"/>
                          </a:solidFill>
                          <a:latin typeface="Century Gothic" panose="020B0502020202020204" pitchFamily="34" charset="0"/>
                          <a:ea typeface="+mn-ea"/>
                          <a:cs typeface="+mn-cs"/>
                        </a:rPr>
                        <a:t>Good progress has been made, and the investigation is ongoing</a:t>
                      </a:r>
                    </a:p>
                    <a:p>
                      <a:pPr marL="180975" marR="0" lvl="1" indent="-180975" algn="l" defTabSz="957263" rtl="0" eaLnBrk="1" fontAlgn="base" latinLnBrk="0" hangingPunct="1">
                        <a:lnSpc>
                          <a:spcPct val="150000"/>
                        </a:lnSpc>
                        <a:spcBef>
                          <a:spcPts val="200"/>
                        </a:spcBef>
                        <a:spcAft>
                          <a:spcPts val="200"/>
                        </a:spcAft>
                        <a:buClrTx/>
                        <a:buSzPct val="110000"/>
                        <a:buFont typeface="Arial" pitchFamily="34" charset="0"/>
                        <a:buChar char="•"/>
                        <a:tabLst>
                          <a:tab pos="0" algn="l"/>
                          <a:tab pos="431800" algn="l"/>
                        </a:tabLst>
                        <a:defRPr/>
                      </a:pPr>
                      <a:r>
                        <a:rPr lang="en-GB" sz="1200" b="0" i="0" kern="1200" baseline="0" dirty="0">
                          <a:solidFill>
                            <a:schemeClr val="tx1"/>
                          </a:solidFill>
                          <a:latin typeface="Century Gothic" panose="020B0502020202020204" pitchFamily="34" charset="0"/>
                          <a:ea typeface="+mn-ea"/>
                          <a:cs typeface="+mn-cs"/>
                        </a:rPr>
                        <a:t>There has been good cooperation between PwC, Steinhoff and the regulators</a:t>
                      </a:r>
                    </a:p>
                    <a:p>
                      <a:pPr marL="180975" marR="0" lvl="1" indent="-180975" algn="l" defTabSz="957263" rtl="0" eaLnBrk="1" fontAlgn="base" latinLnBrk="0" hangingPunct="1">
                        <a:lnSpc>
                          <a:spcPct val="150000"/>
                        </a:lnSpc>
                        <a:spcBef>
                          <a:spcPts val="200"/>
                        </a:spcBef>
                        <a:spcAft>
                          <a:spcPts val="200"/>
                        </a:spcAft>
                        <a:buClrTx/>
                        <a:buSzPct val="110000"/>
                        <a:buFont typeface="Arial" pitchFamily="34" charset="0"/>
                        <a:buChar char="•"/>
                        <a:tabLst>
                          <a:tab pos="0" algn="l"/>
                          <a:tab pos="431800" algn="l"/>
                        </a:tabLst>
                        <a:defRPr/>
                      </a:pPr>
                      <a:r>
                        <a:rPr lang="en-GB" sz="1200" b="0" i="0" kern="1200" baseline="0" dirty="0" smtClean="0">
                          <a:solidFill>
                            <a:schemeClr val="tx1"/>
                          </a:solidFill>
                          <a:latin typeface="Century Gothic" panose="020B0502020202020204" pitchFamily="34" charset="0"/>
                          <a:ea typeface="+mn-ea"/>
                          <a:cs typeface="+mn-cs"/>
                        </a:rPr>
                        <a:t>Constant interaction with the group to ensure appropriate remedial steps can be taken at the right time</a:t>
                      </a:r>
                    </a:p>
                  </a:txBody>
                  <a:tcPr marL="68580" marR="6858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1"/>
                  </a:ext>
                </a:extLst>
              </a:tr>
              <a:tr h="1133475">
                <a:tc>
                  <a:txBody>
                    <a:bodyPr/>
                    <a:lstStyle/>
                    <a:p>
                      <a:pPr marL="0" marR="0" indent="0" algn="ctr" defTabSz="914400" rtl="0" eaLnBrk="1" fontAlgn="auto" latinLnBrk="0" hangingPunct="1">
                        <a:lnSpc>
                          <a:spcPct val="100000"/>
                        </a:lnSpc>
                        <a:spcBef>
                          <a:spcPts val="200"/>
                        </a:spcBef>
                        <a:spcAft>
                          <a:spcPts val="200"/>
                        </a:spcAft>
                        <a:buClrTx/>
                        <a:buSzTx/>
                        <a:buFontTx/>
                        <a:buNone/>
                        <a:tabLst/>
                        <a:defRPr/>
                      </a:pPr>
                      <a:r>
                        <a:rPr lang="en-GB" sz="1100" b="1" kern="1200" cap="all" baseline="0" dirty="0">
                          <a:solidFill>
                            <a:schemeClr val="bg1"/>
                          </a:solidFill>
                          <a:latin typeface="Century Gothic" panose="020B0502020202020204" pitchFamily="34" charset="0"/>
                          <a:ea typeface="+mn-ea"/>
                          <a:cs typeface="+mn-cs"/>
                        </a:rPr>
                        <a:t>completion</a:t>
                      </a:r>
                    </a:p>
                  </a:txBody>
                  <a:tcPr marL="68580" marR="68580" marT="0" marB="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180975" marR="0" lvl="1" indent="-180975" algn="l" defTabSz="957263" rtl="0" eaLnBrk="1" fontAlgn="base" latinLnBrk="0" hangingPunct="1">
                        <a:lnSpc>
                          <a:spcPct val="150000"/>
                        </a:lnSpc>
                        <a:spcBef>
                          <a:spcPts val="200"/>
                        </a:spcBef>
                        <a:spcAft>
                          <a:spcPts val="200"/>
                        </a:spcAft>
                        <a:buClrTx/>
                        <a:buSzPct val="110000"/>
                        <a:buFont typeface="Arial" pitchFamily="34" charset="0"/>
                        <a:buChar char="•"/>
                        <a:tabLst>
                          <a:tab pos="0" algn="l"/>
                          <a:tab pos="431800" algn="l"/>
                        </a:tabLst>
                        <a:defRPr/>
                      </a:pPr>
                      <a:r>
                        <a:rPr lang="en-GB" sz="1200" b="0" i="0" kern="1200" baseline="0" dirty="0">
                          <a:solidFill>
                            <a:schemeClr val="tx1"/>
                          </a:solidFill>
                          <a:latin typeface="Century Gothic" panose="020B0502020202020204" pitchFamily="34" charset="0"/>
                          <a:ea typeface="+mn-ea"/>
                          <a:cs typeface="+mn-cs"/>
                        </a:rPr>
                        <a:t>PwC expects the investigation to be substantially completed by the end of 2018</a:t>
                      </a:r>
                    </a:p>
                    <a:p>
                      <a:pPr marL="180975" marR="0" lvl="1" indent="-180975" algn="l" defTabSz="957263" rtl="0" eaLnBrk="1" fontAlgn="base" latinLnBrk="0" hangingPunct="1">
                        <a:lnSpc>
                          <a:spcPct val="100000"/>
                        </a:lnSpc>
                        <a:spcBef>
                          <a:spcPts val="200"/>
                        </a:spcBef>
                        <a:spcAft>
                          <a:spcPts val="200"/>
                        </a:spcAft>
                        <a:buClrTx/>
                        <a:buSzPct val="110000"/>
                        <a:buFont typeface="Arial" pitchFamily="34" charset="0"/>
                        <a:buChar char="•"/>
                        <a:tabLst>
                          <a:tab pos="0" algn="l"/>
                          <a:tab pos="431800" algn="l"/>
                        </a:tabLst>
                        <a:defRPr/>
                      </a:pPr>
                      <a:r>
                        <a:rPr lang="en-GB" sz="1200" b="0" i="0" kern="1200" baseline="0" dirty="0">
                          <a:solidFill>
                            <a:schemeClr val="tx1"/>
                          </a:solidFill>
                          <a:latin typeface="Century Gothic" panose="020B0502020202020204" pitchFamily="34" charset="0"/>
                          <a:ea typeface="+mn-ea"/>
                          <a:cs typeface="+mn-cs"/>
                        </a:rPr>
                        <a:t>The group will communicate any material developments at the appropriate time, while </a:t>
                      </a:r>
                      <a:br>
                        <a:rPr lang="en-GB" sz="1200" b="0" i="0" kern="1200" baseline="0" dirty="0">
                          <a:solidFill>
                            <a:schemeClr val="tx1"/>
                          </a:solidFill>
                          <a:latin typeface="Century Gothic" panose="020B0502020202020204" pitchFamily="34" charset="0"/>
                          <a:ea typeface="+mn-ea"/>
                          <a:cs typeface="+mn-cs"/>
                        </a:rPr>
                      </a:br>
                      <a:r>
                        <a:rPr lang="en-GB" sz="1200" b="0" i="0" kern="1200" baseline="0" dirty="0">
                          <a:solidFill>
                            <a:schemeClr val="tx1"/>
                          </a:solidFill>
                          <a:latin typeface="Century Gothic" panose="020B0502020202020204" pitchFamily="34" charset="0"/>
                          <a:ea typeface="+mn-ea"/>
                          <a:cs typeface="+mn-cs"/>
                        </a:rPr>
                        <a:t>being cognisant of the sensitivities around the investigation and possible legal proceedings</a:t>
                      </a:r>
                    </a:p>
                  </a:txBody>
                  <a:tcPr marL="68580" marR="6858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902814776"/>
                  </a:ext>
                </a:extLst>
              </a:tr>
            </a:tbl>
          </a:graphicData>
        </a:graphic>
      </p:graphicFrame>
      <p:sp>
        <p:nvSpPr>
          <p:cNvPr id="7" name="Title 3">
            <a:extLst>
              <a:ext uri="{FF2B5EF4-FFF2-40B4-BE49-F238E27FC236}">
                <a16:creationId xmlns="" xmlns:a16="http://schemas.microsoft.com/office/drawing/2014/main" id="{CF1D47F9-313B-4D42-B7CC-F6A34CAF1F71}"/>
              </a:ext>
            </a:extLst>
          </p:cNvPr>
          <p:cNvSpPr txBox="1">
            <a:spLocks/>
          </p:cNvSpPr>
          <p:nvPr/>
        </p:nvSpPr>
        <p:spPr>
          <a:xfrm>
            <a:off x="178777" y="162898"/>
            <a:ext cx="7886700" cy="766196"/>
          </a:xfrm>
          <a:prstGeom prst="rect">
            <a:avLst/>
          </a:prstGeom>
        </p:spPr>
        <p:txBody>
          <a:bodyPr vert="horz" lIns="91435" tIns="45718" rIns="91435" bIns="45718" rtlCol="0" anchor="ctr">
            <a:normAutofit/>
          </a:bodyPr>
          <a:lstStyle>
            <a:lvl1pPr algn="l" defTabSz="844040" rtl="0" eaLnBrk="1" latinLnBrk="0" hangingPunct="1">
              <a:lnSpc>
                <a:spcPct val="90000"/>
              </a:lnSpc>
              <a:spcBef>
                <a:spcPct val="0"/>
              </a:spcBef>
              <a:buNone/>
              <a:defRPr sz="2600" b="1" kern="1200">
                <a:solidFill>
                  <a:schemeClr val="tx1"/>
                </a:solidFill>
                <a:latin typeface="+mj-lt"/>
                <a:ea typeface="+mj-ea"/>
                <a:cs typeface="+mj-cs"/>
              </a:defRPr>
            </a:lvl1pPr>
          </a:lstStyle>
          <a:p>
            <a:r>
              <a:rPr lang="en-US" dirty="0"/>
              <a:t>PwC investigation</a:t>
            </a:r>
          </a:p>
        </p:txBody>
      </p:sp>
      <p:pic>
        <p:nvPicPr>
          <p:cNvPr id="8" name="Picture 7">
            <a:extLst>
              <a:ext uri="{FF2B5EF4-FFF2-40B4-BE49-F238E27FC236}">
                <a16:creationId xmlns="" xmlns:a16="http://schemas.microsoft.com/office/drawing/2014/main" id="{F8C253E1-05D9-4090-935F-7FF9CF1E5A7D}"/>
              </a:ext>
            </a:extLst>
          </p:cNvPr>
          <p:cNvPicPr>
            <a:picLocks noChangeAspect="1"/>
          </p:cNvPicPr>
          <p:nvPr/>
        </p:nvPicPr>
        <p:blipFill>
          <a:blip r:embed="rId3" cstate="screen">
            <a:extLst>
              <a:ext uri="{28A0092B-C50C-407E-A947-70E740481C1C}">
                <a14:useLocalDpi xmlns:a14="http://schemas.microsoft.com/office/drawing/2010/main" xmlns=""/>
              </a:ext>
            </a:extLst>
          </a:blip>
          <a:stretch>
            <a:fillRect/>
          </a:stretch>
        </p:blipFill>
        <p:spPr>
          <a:xfrm>
            <a:off x="6916615" y="-108396"/>
            <a:ext cx="2055449" cy="1263618"/>
          </a:xfrm>
          <a:prstGeom prst="rect">
            <a:avLst/>
          </a:prstGeom>
        </p:spPr>
      </p:pic>
    </p:spTree>
    <p:extLst>
      <p:ext uri="{BB962C8B-B14F-4D97-AF65-F5344CB8AC3E}">
        <p14:creationId xmlns:p14="http://schemas.microsoft.com/office/powerpoint/2010/main" xmlns="" val="23588157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B9F6E38-0256-4C4B-981B-FAA90C720E3E}" type="slidenum">
              <a:rPr lang="en-US" smtClean="0"/>
              <a:pPr/>
              <a:t>17</a:t>
            </a:fld>
            <a:endParaRPr lang="en-US" dirty="0"/>
          </a:p>
        </p:txBody>
      </p:sp>
      <p:sp>
        <p:nvSpPr>
          <p:cNvPr id="3" name="Content Placeholder 2"/>
          <p:cNvSpPr>
            <a:spLocks noGrp="1"/>
          </p:cNvSpPr>
          <p:nvPr>
            <p:ph sz="quarter" idx="14"/>
          </p:nvPr>
        </p:nvSpPr>
        <p:spPr>
          <a:xfrm>
            <a:off x="205371" y="1418428"/>
            <a:ext cx="8298171" cy="4929840"/>
          </a:xfrm>
        </p:spPr>
        <p:txBody>
          <a:bodyPr/>
          <a:lstStyle/>
          <a:p>
            <a:pPr marL="285750" indent="-285750">
              <a:lnSpc>
                <a:spcPts val="1700"/>
              </a:lnSpc>
              <a:buFont typeface="Arial"/>
              <a:buChar char="•"/>
            </a:pPr>
            <a:r>
              <a:rPr lang="en-US" dirty="0"/>
              <a:t>We appreciate the </a:t>
            </a:r>
            <a:r>
              <a:rPr lang="en-US" dirty="0" smtClean="0"/>
              <a:t>current impact </a:t>
            </a:r>
            <a:r>
              <a:rPr lang="en-US" dirty="0"/>
              <a:t>of events at Steinhoff on the company’s stakeholders (including pension funds); staff; the reputation of the company; and on South African business.</a:t>
            </a:r>
          </a:p>
          <a:p>
            <a:pPr marL="285750" indent="-285750">
              <a:lnSpc>
                <a:spcPts val="1700"/>
              </a:lnSpc>
              <a:buFont typeface="Arial"/>
              <a:buChar char="•"/>
            </a:pPr>
            <a:r>
              <a:rPr lang="en-US" dirty="0"/>
              <a:t>The PwC investigation is making good progress and those responsible will be held accountable.</a:t>
            </a:r>
          </a:p>
          <a:p>
            <a:pPr marL="285750" indent="-285750">
              <a:lnSpc>
                <a:spcPts val="1700"/>
              </a:lnSpc>
              <a:buFont typeface="Arial"/>
              <a:buChar char="•"/>
            </a:pPr>
            <a:r>
              <a:rPr lang="en-US" dirty="0"/>
              <a:t>We have reported half-year results, including:</a:t>
            </a:r>
            <a:endParaRPr lang="en-US" sz="2200" dirty="0"/>
          </a:p>
          <a:p>
            <a:pPr>
              <a:lnSpc>
                <a:spcPts val="1700"/>
              </a:lnSpc>
            </a:pPr>
            <a:r>
              <a:rPr lang="en-US" sz="2200" dirty="0"/>
              <a:t>    </a:t>
            </a:r>
            <a:r>
              <a:rPr lang="en-US" dirty="0"/>
              <a:t>–  Income statement for the six months ended 31 March 2018 and 2017 (restated)</a:t>
            </a:r>
          </a:p>
          <a:p>
            <a:pPr>
              <a:lnSpc>
                <a:spcPts val="1700"/>
              </a:lnSpc>
            </a:pPr>
            <a:r>
              <a:rPr lang="en-US" dirty="0"/>
              <a:t>       –  Balance sheet as at 31 March 2018, 31 March 2017 (restated), and 30 September 2017</a:t>
            </a:r>
          </a:p>
          <a:p>
            <a:pPr>
              <a:lnSpc>
                <a:spcPts val="1700"/>
              </a:lnSpc>
            </a:pPr>
            <a:r>
              <a:rPr lang="en-US" dirty="0"/>
              <a:t>       –   Cash flow statement for the six months ended 31 March 2018 and 31 March 2017 (restated)</a:t>
            </a:r>
          </a:p>
          <a:p>
            <a:pPr>
              <a:lnSpc>
                <a:spcPts val="1700"/>
              </a:lnSpc>
            </a:pPr>
            <a:r>
              <a:rPr lang="en-US" dirty="0"/>
              <a:t>       –   Trading update for the six months ended 31 March 2018 and restated 2017 comparatives</a:t>
            </a:r>
          </a:p>
          <a:p>
            <a:pPr marL="285750" indent="-285750">
              <a:lnSpc>
                <a:spcPts val="1700"/>
              </a:lnSpc>
              <a:buFont typeface="Arial"/>
              <a:buChar char="•"/>
            </a:pPr>
            <a:r>
              <a:rPr lang="en-US" dirty="0"/>
              <a:t>We are committed to releasing the audited 2017 results before the end of December 2018, and the audited 2018 results before the end of January 2019.</a:t>
            </a:r>
          </a:p>
          <a:p>
            <a:pPr marL="285750" indent="-285750">
              <a:lnSpc>
                <a:spcPts val="1700"/>
              </a:lnSpc>
              <a:buFont typeface="Arial"/>
              <a:buChar char="•"/>
            </a:pPr>
            <a:r>
              <a:rPr lang="en-US" dirty="0"/>
              <a:t>We have communicated with and are cooperating fully with regulators.</a:t>
            </a:r>
          </a:p>
          <a:p>
            <a:pPr marL="285750" indent="-285750">
              <a:lnSpc>
                <a:spcPts val="1700"/>
              </a:lnSpc>
              <a:buFont typeface="Arial"/>
              <a:buChar char="•"/>
            </a:pPr>
            <a:r>
              <a:rPr lang="en-US" dirty="0"/>
              <a:t>It remains important that Steinhoff remains listed.</a:t>
            </a:r>
          </a:p>
        </p:txBody>
      </p:sp>
      <p:sp>
        <p:nvSpPr>
          <p:cNvPr id="4" name="Title 3"/>
          <p:cNvSpPr>
            <a:spLocks noGrp="1"/>
          </p:cNvSpPr>
          <p:nvPr>
            <p:ph type="title"/>
          </p:nvPr>
        </p:nvSpPr>
        <p:spPr/>
        <p:txBody>
          <a:bodyPr/>
          <a:lstStyle/>
          <a:p>
            <a:r>
              <a:rPr lang="en-US" dirty="0"/>
              <a:t>Conclusion</a:t>
            </a:r>
          </a:p>
        </p:txBody>
      </p:sp>
    </p:spTree>
    <p:extLst>
      <p:ext uri="{BB962C8B-B14F-4D97-AF65-F5344CB8AC3E}">
        <p14:creationId xmlns:p14="http://schemas.microsoft.com/office/powerpoint/2010/main" xmlns="" val="24138915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B9F6E38-0256-4C4B-981B-FAA90C720E3E}" type="slidenum">
              <a:rPr lang="en-US" smtClean="0"/>
              <a:pPr/>
              <a:t>18</a:t>
            </a:fld>
            <a:endParaRPr lang="en-US" dirty="0"/>
          </a:p>
        </p:txBody>
      </p:sp>
      <p:sp>
        <p:nvSpPr>
          <p:cNvPr id="3" name="Content Placeholder 2"/>
          <p:cNvSpPr>
            <a:spLocks noGrp="1"/>
          </p:cNvSpPr>
          <p:nvPr>
            <p:ph sz="quarter" idx="14"/>
          </p:nvPr>
        </p:nvSpPr>
        <p:spPr>
          <a:xfrm>
            <a:off x="205371" y="1424199"/>
            <a:ext cx="8298171" cy="4929840"/>
          </a:xfrm>
        </p:spPr>
        <p:txBody>
          <a:bodyPr/>
          <a:lstStyle/>
          <a:p>
            <a:pPr marL="285750" indent="-285750">
              <a:lnSpc>
                <a:spcPts val="1700"/>
              </a:lnSpc>
              <a:buFont typeface="Arial"/>
              <a:buChar char="•"/>
            </a:pPr>
            <a:r>
              <a:rPr lang="en-US" dirty="0"/>
              <a:t>We are currently focusing on implementing a debt restructure that will result in financial stability for a period of three years (end 2021), during which time we need to focus on supporting and delivering value in the operating businesses.</a:t>
            </a:r>
          </a:p>
          <a:p>
            <a:pPr marL="285750" indent="-285750">
              <a:lnSpc>
                <a:spcPts val="1700"/>
              </a:lnSpc>
              <a:buFont typeface="Arial"/>
              <a:buChar char="•"/>
            </a:pPr>
            <a:r>
              <a:rPr lang="en-US" dirty="0"/>
              <a:t>We remain fully aware of the importance of regular communication with the public as we </a:t>
            </a:r>
            <a:br>
              <a:rPr lang="en-US" dirty="0"/>
            </a:br>
            <a:r>
              <a:rPr lang="en-US" dirty="0"/>
              <a:t>make progress in balancing the interests of all stakeholders (more than 75 SENS announcements </a:t>
            </a:r>
            <a:br>
              <a:rPr lang="en-US" dirty="0"/>
            </a:br>
            <a:r>
              <a:rPr lang="en-US" dirty="0"/>
              <a:t>in 2018).</a:t>
            </a:r>
          </a:p>
          <a:p>
            <a:endParaRPr lang="en-US" dirty="0"/>
          </a:p>
        </p:txBody>
      </p:sp>
      <p:sp>
        <p:nvSpPr>
          <p:cNvPr id="4" name="Title 3"/>
          <p:cNvSpPr>
            <a:spLocks noGrp="1"/>
          </p:cNvSpPr>
          <p:nvPr>
            <p:ph type="title"/>
          </p:nvPr>
        </p:nvSpPr>
        <p:spPr/>
        <p:txBody>
          <a:bodyPr/>
          <a:lstStyle/>
          <a:p>
            <a:r>
              <a:rPr lang="en-US" dirty="0"/>
              <a:t>Conclusion (continued)</a:t>
            </a:r>
          </a:p>
        </p:txBody>
      </p:sp>
    </p:spTree>
    <p:extLst>
      <p:ext uri="{BB962C8B-B14F-4D97-AF65-F5344CB8AC3E}">
        <p14:creationId xmlns:p14="http://schemas.microsoft.com/office/powerpoint/2010/main" xmlns="" val="23903735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B9F6E38-0256-4C4B-981B-FAA90C720E3E}" type="slidenum">
              <a:rPr lang="en-US" smtClean="0"/>
              <a:pPr/>
              <a:t>2</a:t>
            </a:fld>
            <a:endParaRPr lang="en-US" dirty="0"/>
          </a:p>
        </p:txBody>
      </p:sp>
      <p:sp>
        <p:nvSpPr>
          <p:cNvPr id="3" name="Content Placeholder 2"/>
          <p:cNvSpPr>
            <a:spLocks noGrp="1"/>
          </p:cNvSpPr>
          <p:nvPr>
            <p:ph sz="quarter" idx="14"/>
          </p:nvPr>
        </p:nvSpPr>
        <p:spPr>
          <a:xfrm>
            <a:off x="205372" y="1426515"/>
            <a:ext cx="7792336" cy="4990159"/>
          </a:xfrm>
        </p:spPr>
        <p:txBody>
          <a:bodyPr/>
          <a:lstStyle/>
          <a:p>
            <a:pPr marL="285750" lvl="0" indent="-285750">
              <a:lnSpc>
                <a:spcPts val="1700"/>
              </a:lnSpc>
              <a:buFont typeface="Arial"/>
              <a:buChar char="•"/>
            </a:pPr>
            <a:r>
              <a:rPr lang="en-US" dirty="0"/>
              <a:t>The Steinhoff </a:t>
            </a:r>
            <a:r>
              <a:rPr lang="en-US" dirty="0" smtClean="0"/>
              <a:t>delegation here today</a:t>
            </a:r>
            <a:endParaRPr lang="en-US" dirty="0"/>
          </a:p>
          <a:p>
            <a:pPr marL="285750" lvl="0" indent="-285750">
              <a:lnSpc>
                <a:spcPts val="1700"/>
              </a:lnSpc>
              <a:buFont typeface="Arial"/>
              <a:buChar char="•"/>
            </a:pPr>
            <a:r>
              <a:rPr lang="en-US" dirty="0"/>
              <a:t>Reminder of our </a:t>
            </a:r>
            <a:r>
              <a:rPr lang="en-US" dirty="0" smtClean="0"/>
              <a:t>commitment</a:t>
            </a:r>
          </a:p>
          <a:p>
            <a:pPr marL="285750" lvl="0" indent="-285750">
              <a:lnSpc>
                <a:spcPts val="1700"/>
              </a:lnSpc>
              <a:buFont typeface="Arial"/>
              <a:buChar char="•"/>
            </a:pPr>
            <a:r>
              <a:rPr lang="en-US" dirty="0"/>
              <a:t>Where we were in January 2018</a:t>
            </a:r>
          </a:p>
          <a:p>
            <a:pPr marL="285750" lvl="0" indent="-285750">
              <a:lnSpc>
                <a:spcPts val="1700"/>
              </a:lnSpc>
              <a:buFont typeface="Arial"/>
              <a:buChar char="•"/>
            </a:pPr>
            <a:r>
              <a:rPr lang="en-US" dirty="0"/>
              <a:t>Progress since January </a:t>
            </a:r>
            <a:r>
              <a:rPr lang="en-US" dirty="0" smtClean="0"/>
              <a:t>2018</a:t>
            </a:r>
            <a:endParaRPr lang="en-US" dirty="0"/>
          </a:p>
          <a:p>
            <a:pPr marL="285750" indent="-285750">
              <a:lnSpc>
                <a:spcPts val="1700"/>
              </a:lnSpc>
              <a:buFont typeface="Arial"/>
              <a:buChar char="•"/>
            </a:pPr>
            <a:r>
              <a:rPr lang="en-US" dirty="0" smtClean="0"/>
              <a:t>Reminder of Steinhoff </a:t>
            </a:r>
            <a:r>
              <a:rPr lang="en-US" dirty="0"/>
              <a:t>the company</a:t>
            </a:r>
          </a:p>
          <a:p>
            <a:pPr marL="285750" indent="-285750">
              <a:lnSpc>
                <a:spcPts val="1700"/>
              </a:lnSpc>
              <a:buFont typeface="Arial"/>
              <a:buChar char="•"/>
            </a:pPr>
            <a:r>
              <a:rPr lang="en-US" dirty="0"/>
              <a:t>Group overview (summarised)</a:t>
            </a:r>
          </a:p>
          <a:p>
            <a:pPr marL="285750" lvl="0" indent="-285750">
              <a:lnSpc>
                <a:spcPts val="1700"/>
              </a:lnSpc>
              <a:buFont typeface="Arial"/>
              <a:buChar char="•"/>
            </a:pPr>
            <a:r>
              <a:rPr lang="en-US" dirty="0" smtClean="0"/>
              <a:t>Half-year </a:t>
            </a:r>
            <a:r>
              <a:rPr lang="en-US" dirty="0"/>
              <a:t>results</a:t>
            </a:r>
          </a:p>
          <a:p>
            <a:pPr marL="285750" lvl="0" indent="-285750">
              <a:lnSpc>
                <a:spcPts val="1700"/>
              </a:lnSpc>
              <a:buFont typeface="Arial"/>
              <a:buChar char="•"/>
            </a:pPr>
            <a:r>
              <a:rPr lang="en-US" dirty="0"/>
              <a:t>Restructuring framework</a:t>
            </a:r>
          </a:p>
          <a:p>
            <a:pPr marL="285750" lvl="0" indent="-285750">
              <a:lnSpc>
                <a:spcPts val="1700"/>
              </a:lnSpc>
              <a:buFont typeface="Arial"/>
              <a:buChar char="•"/>
            </a:pPr>
            <a:r>
              <a:rPr lang="en-US" dirty="0"/>
              <a:t>Litigation and claims update</a:t>
            </a:r>
          </a:p>
          <a:p>
            <a:pPr marL="285750" lvl="0" indent="-285750">
              <a:lnSpc>
                <a:spcPts val="1700"/>
              </a:lnSpc>
              <a:buFont typeface="Arial"/>
              <a:buChar char="•"/>
            </a:pPr>
            <a:r>
              <a:rPr lang="en-US" dirty="0"/>
              <a:t>PwC investigation</a:t>
            </a:r>
          </a:p>
          <a:p>
            <a:pPr marL="285750" lvl="0" indent="-285750">
              <a:lnSpc>
                <a:spcPts val="1700"/>
              </a:lnSpc>
              <a:buFont typeface="Arial"/>
              <a:buChar char="•"/>
            </a:pPr>
            <a:r>
              <a:rPr lang="en-US" dirty="0"/>
              <a:t>Conclusion</a:t>
            </a:r>
          </a:p>
          <a:p>
            <a:endParaRPr lang="en-US" sz="1400" dirty="0"/>
          </a:p>
        </p:txBody>
      </p:sp>
      <p:sp>
        <p:nvSpPr>
          <p:cNvPr id="4" name="Title 3"/>
          <p:cNvSpPr>
            <a:spLocks noGrp="1"/>
          </p:cNvSpPr>
          <p:nvPr>
            <p:ph type="title"/>
          </p:nvPr>
        </p:nvSpPr>
        <p:spPr/>
        <p:txBody>
          <a:bodyPr/>
          <a:lstStyle/>
          <a:p>
            <a:r>
              <a:rPr lang="en-US" dirty="0"/>
              <a:t>Content</a:t>
            </a:r>
          </a:p>
        </p:txBody>
      </p:sp>
    </p:spTree>
    <p:extLst>
      <p:ext uri="{BB962C8B-B14F-4D97-AF65-F5344CB8AC3E}">
        <p14:creationId xmlns:p14="http://schemas.microsoft.com/office/powerpoint/2010/main" xmlns="" val="17305887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B9F6E38-0256-4C4B-981B-FAA90C720E3E}" type="slidenum">
              <a:rPr lang="en-US" smtClean="0"/>
              <a:pPr/>
              <a:t>3</a:t>
            </a:fld>
            <a:endParaRPr lang="en-US" dirty="0"/>
          </a:p>
        </p:txBody>
      </p:sp>
      <p:sp>
        <p:nvSpPr>
          <p:cNvPr id="3" name="Content Placeholder 2"/>
          <p:cNvSpPr>
            <a:spLocks noGrp="1"/>
          </p:cNvSpPr>
          <p:nvPr>
            <p:ph sz="quarter" idx="14"/>
          </p:nvPr>
        </p:nvSpPr>
        <p:spPr>
          <a:xfrm>
            <a:off x="205372" y="1426516"/>
            <a:ext cx="8639366" cy="4929840"/>
          </a:xfrm>
        </p:spPr>
        <p:txBody>
          <a:bodyPr/>
          <a:lstStyle/>
          <a:p>
            <a:pPr marL="285750" indent="-285750">
              <a:lnSpc>
                <a:spcPts val="1700"/>
              </a:lnSpc>
              <a:buFont typeface="Arial"/>
              <a:buChar char="•"/>
            </a:pPr>
            <a:r>
              <a:rPr lang="en-US" dirty="0"/>
              <a:t>Heather Sonn (chairperson of the supervisory board)</a:t>
            </a:r>
          </a:p>
          <a:p>
            <a:pPr marL="285750" indent="-285750">
              <a:lnSpc>
                <a:spcPts val="1700"/>
              </a:lnSpc>
              <a:buFont typeface="Arial"/>
              <a:buChar char="•"/>
            </a:pPr>
            <a:r>
              <a:rPr lang="en-US" dirty="0"/>
              <a:t>Louis du Preez (management board; commercial director)</a:t>
            </a:r>
          </a:p>
          <a:p>
            <a:endParaRPr lang="en-US" dirty="0"/>
          </a:p>
        </p:txBody>
      </p:sp>
      <p:sp>
        <p:nvSpPr>
          <p:cNvPr id="4" name="Title 3"/>
          <p:cNvSpPr>
            <a:spLocks noGrp="1"/>
          </p:cNvSpPr>
          <p:nvPr>
            <p:ph type="title"/>
          </p:nvPr>
        </p:nvSpPr>
        <p:spPr/>
        <p:txBody>
          <a:bodyPr/>
          <a:lstStyle/>
          <a:p>
            <a:r>
              <a:rPr lang="en-US" dirty="0"/>
              <a:t>The Steinhoff delegation here today</a:t>
            </a:r>
          </a:p>
        </p:txBody>
      </p:sp>
    </p:spTree>
    <p:extLst>
      <p:ext uri="{BB962C8B-B14F-4D97-AF65-F5344CB8AC3E}">
        <p14:creationId xmlns:p14="http://schemas.microsoft.com/office/powerpoint/2010/main" xmlns="" val="14880138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B9F6E38-0256-4C4B-981B-FAA90C720E3E}" type="slidenum">
              <a:rPr lang="en-US" smtClean="0"/>
              <a:pPr/>
              <a:t>4</a:t>
            </a:fld>
            <a:endParaRPr lang="en-US" dirty="0"/>
          </a:p>
        </p:txBody>
      </p:sp>
      <p:sp>
        <p:nvSpPr>
          <p:cNvPr id="3" name="Content Placeholder 2"/>
          <p:cNvSpPr>
            <a:spLocks noGrp="1"/>
          </p:cNvSpPr>
          <p:nvPr>
            <p:ph sz="quarter" idx="14"/>
          </p:nvPr>
        </p:nvSpPr>
        <p:spPr>
          <a:xfrm>
            <a:off x="205371" y="1426516"/>
            <a:ext cx="8298171" cy="4929840"/>
          </a:xfrm>
        </p:spPr>
        <p:txBody>
          <a:bodyPr/>
          <a:lstStyle/>
          <a:p>
            <a:pPr marL="285750" indent="-285750">
              <a:lnSpc>
                <a:spcPts val="1700"/>
              </a:lnSpc>
              <a:buFont typeface="Arial"/>
              <a:buChar char="•"/>
            </a:pPr>
            <a:r>
              <a:rPr lang="en-US" dirty="0"/>
              <a:t>We remain deeply aware of the </a:t>
            </a:r>
            <a:r>
              <a:rPr lang="en-US" dirty="0" smtClean="0"/>
              <a:t>current impact </a:t>
            </a:r>
            <a:r>
              <a:rPr lang="en-US" dirty="0"/>
              <a:t>of events at Steinhoff on the company’s stakeholders (including investments and pension funds) and the reputation of the company, </a:t>
            </a:r>
            <a:r>
              <a:rPr lang="en-US" dirty="0" smtClean="0"/>
              <a:t>its </a:t>
            </a:r>
            <a:r>
              <a:rPr lang="en-US" dirty="0"/>
              <a:t>business and the nation</a:t>
            </a:r>
          </a:p>
          <a:p>
            <a:pPr marL="285750" indent="-285750">
              <a:lnSpc>
                <a:spcPts val="1700"/>
              </a:lnSpc>
              <a:buFont typeface="Arial"/>
              <a:buChar char="•"/>
            </a:pPr>
            <a:r>
              <a:rPr lang="en-US" dirty="0"/>
              <a:t>We are doing our utmost to uncover the truth, to rectify </a:t>
            </a:r>
            <a:r>
              <a:rPr lang="en-US" dirty="0" smtClean="0"/>
              <a:t>any wrongdoings </a:t>
            </a:r>
            <a:r>
              <a:rPr lang="en-US" dirty="0"/>
              <a:t>and to communicate</a:t>
            </a:r>
            <a:br>
              <a:rPr lang="en-US" dirty="0"/>
            </a:br>
            <a:r>
              <a:rPr lang="en-US" dirty="0"/>
              <a:t>as fully as we can on an ongoing basis</a:t>
            </a:r>
          </a:p>
          <a:p>
            <a:pPr marL="285750" indent="-285750">
              <a:lnSpc>
                <a:spcPts val="1700"/>
              </a:lnSpc>
              <a:buFont typeface="Arial"/>
              <a:buChar char="•"/>
            </a:pPr>
            <a:r>
              <a:rPr lang="en-US" dirty="0"/>
              <a:t>We have cooperated fully with our regulators and will continue to do so</a:t>
            </a:r>
          </a:p>
          <a:p>
            <a:pPr marL="285750" indent="-285750">
              <a:lnSpc>
                <a:spcPts val="1700"/>
              </a:lnSpc>
              <a:buFont typeface="Arial"/>
              <a:buChar char="•"/>
            </a:pPr>
            <a:r>
              <a:rPr lang="en-US" dirty="0"/>
              <a:t>We are working constantly to restructure the group’s </a:t>
            </a:r>
            <a:r>
              <a:rPr lang="en-US" dirty="0" smtClean="0"/>
              <a:t>international debt</a:t>
            </a:r>
            <a:endParaRPr lang="en-US" dirty="0"/>
          </a:p>
          <a:p>
            <a:pPr marL="285750" indent="-285750">
              <a:lnSpc>
                <a:spcPts val="1700"/>
              </a:lnSpc>
              <a:buFont typeface="Arial"/>
              <a:buChar char="•"/>
            </a:pPr>
            <a:r>
              <a:rPr lang="en-US" dirty="0"/>
              <a:t>The company </a:t>
            </a:r>
            <a:r>
              <a:rPr lang="en-US" dirty="0" smtClean="0"/>
              <a:t>now employs 120 </a:t>
            </a:r>
            <a:r>
              <a:rPr lang="en-US" dirty="0"/>
              <a:t>000 people, 50 000 of whom are in South Africa. We are very conscious of the importance of the retention of those </a:t>
            </a:r>
            <a:r>
              <a:rPr lang="en-US" dirty="0" smtClean="0"/>
              <a:t>jobs</a:t>
            </a:r>
          </a:p>
          <a:p>
            <a:pPr marL="285750" indent="-285750">
              <a:lnSpc>
                <a:spcPts val="1700"/>
              </a:lnSpc>
              <a:buFont typeface="Arial"/>
              <a:buChar char="•"/>
            </a:pPr>
            <a:r>
              <a:rPr lang="en-ZA" dirty="0"/>
              <a:t>We are working hard to further stabilise the group, to finalise the audited financial statements and to ensure that the investigations are far enough advanced to enable us to proceed with legal and other necessary steps that we intend to take, based on the findings</a:t>
            </a:r>
            <a:endParaRPr lang="en-US" dirty="0"/>
          </a:p>
          <a:p>
            <a:pPr marL="285750" indent="-285750">
              <a:lnSpc>
                <a:spcPts val="1700"/>
              </a:lnSpc>
              <a:buFont typeface="Arial"/>
              <a:buChar char="•"/>
            </a:pPr>
            <a:r>
              <a:rPr lang="en-ZA" dirty="0"/>
              <a:t>Given the gravity of the situation, you will appreciate that the board (including the individuals present here) remains legally and otherwise quite constrained in what it is able to communicate publicly. We say this on the advice of the company’s </a:t>
            </a:r>
            <a:r>
              <a:rPr lang="en-ZA" dirty="0" smtClean="0"/>
              <a:t>lawyers</a:t>
            </a:r>
            <a:endParaRPr lang="en-ZA" dirty="0"/>
          </a:p>
          <a:p>
            <a:pPr marL="285750" indent="-285750">
              <a:lnSpc>
                <a:spcPts val="1700"/>
              </a:lnSpc>
              <a:buFont typeface="Arial"/>
              <a:buChar char="•"/>
            </a:pPr>
            <a:r>
              <a:rPr lang="en-ZA" dirty="0"/>
              <a:t>As a delegation we represent the company and are not here in our personal capacities</a:t>
            </a:r>
          </a:p>
        </p:txBody>
      </p:sp>
      <p:sp>
        <p:nvSpPr>
          <p:cNvPr id="4" name="Title 3"/>
          <p:cNvSpPr>
            <a:spLocks noGrp="1"/>
          </p:cNvSpPr>
          <p:nvPr>
            <p:ph type="title"/>
          </p:nvPr>
        </p:nvSpPr>
        <p:spPr/>
        <p:txBody>
          <a:bodyPr/>
          <a:lstStyle/>
          <a:p>
            <a:r>
              <a:rPr lang="en-US" dirty="0"/>
              <a:t>Reminder of our commitment</a:t>
            </a:r>
          </a:p>
        </p:txBody>
      </p:sp>
    </p:spTree>
    <p:extLst>
      <p:ext uri="{BB962C8B-B14F-4D97-AF65-F5344CB8AC3E}">
        <p14:creationId xmlns:p14="http://schemas.microsoft.com/office/powerpoint/2010/main" xmlns="" val="26087934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B9F6E38-0256-4C4B-981B-FAA90C720E3E}" type="slidenum">
              <a:rPr lang="en-US" smtClean="0"/>
              <a:pPr/>
              <a:t>5</a:t>
            </a:fld>
            <a:endParaRPr lang="en-US" dirty="0"/>
          </a:p>
        </p:txBody>
      </p:sp>
      <p:sp>
        <p:nvSpPr>
          <p:cNvPr id="3" name="Content Placeholder 2"/>
          <p:cNvSpPr>
            <a:spLocks noGrp="1"/>
          </p:cNvSpPr>
          <p:nvPr>
            <p:ph sz="quarter" idx="14"/>
          </p:nvPr>
        </p:nvSpPr>
        <p:spPr>
          <a:xfrm>
            <a:off x="205371" y="1420056"/>
            <a:ext cx="8796227" cy="4929840"/>
          </a:xfrm>
        </p:spPr>
        <p:txBody>
          <a:bodyPr>
            <a:noAutofit/>
          </a:bodyPr>
          <a:lstStyle/>
          <a:p>
            <a:pPr marL="285750" indent="-285750">
              <a:lnSpc>
                <a:spcPts val="1700"/>
              </a:lnSpc>
              <a:buFont typeface="Arial"/>
              <a:buChar char="•"/>
            </a:pPr>
            <a:r>
              <a:rPr lang="en-US" dirty="0"/>
              <a:t>The resignation of the CEO on 5 December 2017 and the postponement of financial statements triggered a significant share price decline and a liquidity crisis (both at group level and for individual operating companies)</a:t>
            </a:r>
          </a:p>
          <a:p>
            <a:pPr marL="285750" indent="-285750">
              <a:lnSpc>
                <a:spcPts val="1700"/>
              </a:lnSpc>
              <a:buFont typeface="Arial"/>
              <a:buChar char="•"/>
            </a:pPr>
            <a:r>
              <a:rPr lang="en-US" dirty="0"/>
              <a:t>In the announcement of 5 December 2017, the company confirmed that PwC was appointed </a:t>
            </a:r>
            <a:br>
              <a:rPr lang="en-US" dirty="0"/>
            </a:br>
            <a:r>
              <a:rPr lang="en-US" dirty="0"/>
              <a:t>to conduct an independent forensic investigation </a:t>
            </a:r>
          </a:p>
          <a:p>
            <a:pPr marL="285750" indent="-285750">
              <a:lnSpc>
                <a:spcPts val="1700"/>
              </a:lnSpc>
              <a:buFont typeface="Arial"/>
              <a:buChar char="•"/>
            </a:pPr>
            <a:r>
              <a:rPr lang="en-US" dirty="0"/>
              <a:t>Heather Sonn was appointed as acting chair on 15 December 2017</a:t>
            </a:r>
          </a:p>
          <a:p>
            <a:pPr marL="285750" indent="-285750">
              <a:lnSpc>
                <a:spcPts val="1700"/>
              </a:lnSpc>
              <a:buFont typeface="Arial"/>
              <a:buChar char="•"/>
            </a:pPr>
            <a:r>
              <a:rPr lang="en-US" dirty="0"/>
              <a:t>The supervisory board experienced several resignations and retirements</a:t>
            </a:r>
          </a:p>
          <a:p>
            <a:pPr marL="285750" indent="-285750">
              <a:lnSpc>
                <a:spcPts val="1700"/>
              </a:lnSpc>
              <a:buFont typeface="Arial"/>
              <a:buChar char="•"/>
            </a:pPr>
            <a:r>
              <a:rPr lang="en-US" dirty="0"/>
              <a:t>Much of the management team were newly appointed and were working around the clock </a:t>
            </a:r>
            <a:br>
              <a:rPr lang="en-US" dirty="0"/>
            </a:br>
            <a:r>
              <a:rPr lang="en-US" dirty="0"/>
              <a:t>to </a:t>
            </a:r>
            <a:r>
              <a:rPr lang="en-US" dirty="0" smtClean="0"/>
              <a:t>understand and contain </a:t>
            </a:r>
            <a:r>
              <a:rPr lang="en-US" dirty="0"/>
              <a:t>the nature and scale of the crisis</a:t>
            </a:r>
          </a:p>
          <a:p>
            <a:pPr marL="285750" indent="-285750">
              <a:lnSpc>
                <a:spcPts val="1700"/>
              </a:lnSpc>
              <a:buFont typeface="Arial"/>
              <a:buChar char="•"/>
            </a:pPr>
            <a:r>
              <a:rPr lang="en-US" dirty="0"/>
              <a:t>PwC had been given an unrestricted scope with unlimited access to the group</a:t>
            </a:r>
          </a:p>
          <a:p>
            <a:pPr marL="285750" indent="-285750">
              <a:lnSpc>
                <a:spcPct val="150000"/>
              </a:lnSpc>
              <a:buFont typeface="Arial"/>
              <a:buChar char="•"/>
            </a:pPr>
            <a:endParaRPr lang="en-US" dirty="0"/>
          </a:p>
        </p:txBody>
      </p:sp>
      <p:sp>
        <p:nvSpPr>
          <p:cNvPr id="4" name="Title 3"/>
          <p:cNvSpPr>
            <a:spLocks noGrp="1"/>
          </p:cNvSpPr>
          <p:nvPr>
            <p:ph type="title"/>
          </p:nvPr>
        </p:nvSpPr>
        <p:spPr/>
        <p:txBody>
          <a:bodyPr>
            <a:normAutofit/>
          </a:bodyPr>
          <a:lstStyle/>
          <a:p>
            <a:r>
              <a:rPr lang="en-US" dirty="0">
                <a:solidFill>
                  <a:prstClr val="black"/>
                </a:solidFill>
              </a:rPr>
              <a:t>Where we were in January 2018</a:t>
            </a:r>
            <a:endParaRPr lang="en-US" dirty="0"/>
          </a:p>
        </p:txBody>
      </p:sp>
    </p:spTree>
    <p:extLst>
      <p:ext uri="{BB962C8B-B14F-4D97-AF65-F5344CB8AC3E}">
        <p14:creationId xmlns:p14="http://schemas.microsoft.com/office/powerpoint/2010/main" xmlns="" val="34506284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B9F6E38-0256-4C4B-981B-FAA90C720E3E}" type="slidenum">
              <a:rPr lang="en-US" smtClean="0"/>
              <a:pPr/>
              <a:t>6</a:t>
            </a:fld>
            <a:endParaRPr lang="en-US" dirty="0"/>
          </a:p>
        </p:txBody>
      </p:sp>
      <p:sp>
        <p:nvSpPr>
          <p:cNvPr id="3" name="Content Placeholder 2"/>
          <p:cNvSpPr>
            <a:spLocks noGrp="1"/>
          </p:cNvSpPr>
          <p:nvPr>
            <p:ph sz="quarter" idx="14"/>
          </p:nvPr>
        </p:nvSpPr>
        <p:spPr>
          <a:xfrm>
            <a:off x="205371" y="1426516"/>
            <a:ext cx="8497419" cy="4929840"/>
          </a:xfrm>
        </p:spPr>
        <p:txBody>
          <a:bodyPr/>
          <a:lstStyle/>
          <a:p>
            <a:r>
              <a:rPr lang="en-US" b="1" dirty="0"/>
              <a:t>Overall</a:t>
            </a:r>
            <a:endParaRPr lang="en-US" dirty="0"/>
          </a:p>
          <a:p>
            <a:pPr marL="285750" indent="-285750">
              <a:lnSpc>
                <a:spcPts val="1700"/>
              </a:lnSpc>
              <a:buFont typeface="Arial"/>
              <a:buChar char="•"/>
            </a:pPr>
            <a:r>
              <a:rPr lang="en-US" dirty="0"/>
              <a:t>The group has been in ongoing dialogue and </a:t>
            </a:r>
            <a:r>
              <a:rPr lang="en-US" dirty="0" smtClean="0"/>
              <a:t>constructive </a:t>
            </a:r>
            <a:r>
              <a:rPr lang="en-US" dirty="0"/>
              <a:t>engagement with creditors, regulators, exchanges and other stakeholders and interested parties</a:t>
            </a:r>
          </a:p>
          <a:p>
            <a:pPr marL="285750" indent="-285750">
              <a:lnSpc>
                <a:spcPts val="1700"/>
              </a:lnSpc>
              <a:buFont typeface="Arial"/>
              <a:buChar char="•"/>
            </a:pPr>
            <a:r>
              <a:rPr lang="en-US" dirty="0"/>
              <a:t>Audits </a:t>
            </a:r>
            <a:r>
              <a:rPr lang="en-US" dirty="0" smtClean="0"/>
              <a:t>– a significant number of the </a:t>
            </a:r>
            <a:r>
              <a:rPr lang="en-US" dirty="0"/>
              <a:t>group companies' audits have already been cleared and completed</a:t>
            </a:r>
          </a:p>
          <a:p>
            <a:pPr marL="285750" indent="-285750">
              <a:lnSpc>
                <a:spcPts val="1700"/>
              </a:lnSpc>
              <a:buFont typeface="Arial"/>
              <a:buChar char="•"/>
            </a:pPr>
            <a:r>
              <a:rPr lang="en-US" dirty="0"/>
              <a:t>The PwC investigation remains on track </a:t>
            </a:r>
          </a:p>
          <a:p>
            <a:pPr marL="285750" indent="-285750">
              <a:lnSpc>
                <a:spcPts val="1700"/>
              </a:lnSpc>
              <a:buFont typeface="Arial"/>
              <a:buChar char="•"/>
            </a:pPr>
            <a:r>
              <a:rPr lang="en-US" dirty="0"/>
              <a:t>The group </a:t>
            </a:r>
            <a:r>
              <a:rPr lang="en-US" dirty="0" smtClean="0"/>
              <a:t>aims </a:t>
            </a:r>
            <a:r>
              <a:rPr lang="en-US" dirty="0"/>
              <a:t>to provide audited financials for the financial year 2017 before the end </a:t>
            </a:r>
            <a:br>
              <a:rPr lang="en-US" dirty="0"/>
            </a:br>
            <a:r>
              <a:rPr lang="en-US" dirty="0"/>
              <a:t>of December 2018, and for the current year by January 2019</a:t>
            </a:r>
          </a:p>
          <a:p>
            <a:pPr marL="285750" indent="-285750">
              <a:lnSpc>
                <a:spcPts val="1700"/>
              </a:lnSpc>
              <a:buFont typeface="Arial"/>
              <a:buChar char="•"/>
            </a:pPr>
            <a:r>
              <a:rPr lang="en-US" dirty="0"/>
              <a:t>The threats of imminent collapse have effectively been averted; interim arrangements have </a:t>
            </a:r>
            <a:br>
              <a:rPr lang="en-US" dirty="0"/>
            </a:br>
            <a:r>
              <a:rPr lang="en-US" dirty="0"/>
              <a:t>been made with creditors (e.g. the Lock-up Agreement); and there have been structured </a:t>
            </a:r>
            <a:br>
              <a:rPr lang="en-US" dirty="0"/>
            </a:br>
            <a:r>
              <a:rPr lang="en-US" dirty="0"/>
              <a:t>disposals of </a:t>
            </a:r>
            <a:r>
              <a:rPr lang="en-US" dirty="0" smtClean="0"/>
              <a:t>certain assets</a:t>
            </a:r>
            <a:endParaRPr lang="en-US" dirty="0"/>
          </a:p>
          <a:p>
            <a:pPr marL="285750" indent="-285750">
              <a:lnSpc>
                <a:spcPts val="1700"/>
              </a:lnSpc>
              <a:buFont typeface="Arial"/>
              <a:buChar char="•"/>
            </a:pPr>
            <a:r>
              <a:rPr lang="en-US" dirty="0"/>
              <a:t>Substantial debts have been repaid (e.g. the African debt)</a:t>
            </a:r>
          </a:p>
          <a:p>
            <a:pPr marL="285750" indent="-285750">
              <a:lnSpc>
                <a:spcPts val="1700"/>
              </a:lnSpc>
              <a:buFont typeface="Arial"/>
              <a:buChar char="•"/>
            </a:pPr>
            <a:r>
              <a:rPr lang="en-US" dirty="0"/>
              <a:t>Steinhoff has met with various regulators and dealt with their requests</a:t>
            </a:r>
          </a:p>
          <a:p>
            <a:pPr marL="285750" indent="-285750">
              <a:lnSpc>
                <a:spcPts val="1700"/>
              </a:lnSpc>
              <a:buFont typeface="Arial"/>
              <a:buChar char="•"/>
            </a:pPr>
            <a:r>
              <a:rPr lang="en-US" dirty="0" smtClean="0"/>
              <a:t>A Section </a:t>
            </a:r>
            <a:r>
              <a:rPr lang="en-US" dirty="0"/>
              <a:t>34 report (the Prevention and Combatting of Corrupt Activities Act) has been </a:t>
            </a:r>
            <a:r>
              <a:rPr lang="en-US" dirty="0" smtClean="0"/>
              <a:t>submitted, </a:t>
            </a:r>
            <a:r>
              <a:rPr lang="en-US" dirty="0"/>
              <a:t>and various interactions with law enforcement officials are ongoing</a:t>
            </a:r>
          </a:p>
          <a:p>
            <a:pPr marL="285750" indent="-285750">
              <a:lnSpc>
                <a:spcPts val="1700"/>
              </a:lnSpc>
              <a:buFont typeface="Arial"/>
              <a:buChar char="•"/>
            </a:pPr>
            <a:r>
              <a:rPr lang="en-US" altLang="en-US" dirty="0"/>
              <a:t>The group </a:t>
            </a:r>
            <a:r>
              <a:rPr lang="en-US" altLang="en-US" dirty="0" smtClean="0"/>
              <a:t>intends </a:t>
            </a:r>
            <a:r>
              <a:rPr lang="en-US" altLang="en-US" dirty="0"/>
              <a:t>to </a:t>
            </a:r>
            <a:r>
              <a:rPr lang="en-US" altLang="en-US" dirty="0" smtClean="0"/>
              <a:t>reclaim </a:t>
            </a:r>
            <a:r>
              <a:rPr lang="en-US" altLang="en-US" dirty="0"/>
              <a:t>bonuses paid in the past to certain senior executives under the relevant Dutch code (to the extent applicable and appropriate)</a:t>
            </a:r>
          </a:p>
          <a:p>
            <a:pPr marL="285750" indent="-285750">
              <a:lnSpc>
                <a:spcPts val="1700"/>
              </a:lnSpc>
              <a:buFont typeface="Arial"/>
              <a:buChar char="•"/>
            </a:pPr>
            <a:r>
              <a:rPr lang="en-US" dirty="0"/>
              <a:t>Virtually all of the group’s </a:t>
            </a:r>
            <a:r>
              <a:rPr lang="en-US" dirty="0" smtClean="0"/>
              <a:t>120 000</a:t>
            </a:r>
            <a:r>
              <a:rPr lang="en-US" dirty="0" smtClean="0">
                <a:solidFill>
                  <a:srgbClr val="FF0000"/>
                </a:solidFill>
              </a:rPr>
              <a:t> </a:t>
            </a:r>
            <a:r>
              <a:rPr lang="en-US" dirty="0"/>
              <a:t>jobs have been secured</a:t>
            </a:r>
          </a:p>
          <a:p>
            <a:pPr marL="285750" indent="-285750">
              <a:buFont typeface="Arial"/>
              <a:buChar char="•"/>
            </a:pPr>
            <a:endParaRPr lang="en-US" dirty="0"/>
          </a:p>
          <a:p>
            <a:pPr marL="285750" indent="-285750">
              <a:buFont typeface="Arial"/>
              <a:buChar char="•"/>
            </a:pPr>
            <a:endParaRPr lang="en-US" dirty="0"/>
          </a:p>
          <a:p>
            <a:r>
              <a:rPr lang="en-US" b="1" dirty="0"/>
              <a:t>      </a:t>
            </a:r>
            <a:endParaRPr lang="en-US" dirty="0"/>
          </a:p>
        </p:txBody>
      </p:sp>
      <p:sp>
        <p:nvSpPr>
          <p:cNvPr id="4" name="Title 3"/>
          <p:cNvSpPr>
            <a:spLocks noGrp="1"/>
          </p:cNvSpPr>
          <p:nvPr>
            <p:ph type="title"/>
          </p:nvPr>
        </p:nvSpPr>
        <p:spPr/>
        <p:txBody>
          <a:bodyPr>
            <a:normAutofit/>
          </a:bodyPr>
          <a:lstStyle/>
          <a:p>
            <a:r>
              <a:rPr lang="en-US" dirty="0">
                <a:solidFill>
                  <a:prstClr val="black"/>
                </a:solidFill>
              </a:rPr>
              <a:t>Progress since January 2018</a:t>
            </a:r>
            <a:endParaRPr lang="en-US" dirty="0"/>
          </a:p>
        </p:txBody>
      </p:sp>
    </p:spTree>
    <p:extLst>
      <p:ext uri="{BB962C8B-B14F-4D97-AF65-F5344CB8AC3E}">
        <p14:creationId xmlns:p14="http://schemas.microsoft.com/office/powerpoint/2010/main" xmlns="" val="11202487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B9F6E38-0256-4C4B-981B-FAA90C720E3E}" type="slidenum">
              <a:rPr lang="en-US" smtClean="0"/>
              <a:pPr/>
              <a:t>7</a:t>
            </a:fld>
            <a:endParaRPr lang="en-US" dirty="0"/>
          </a:p>
        </p:txBody>
      </p:sp>
      <p:sp>
        <p:nvSpPr>
          <p:cNvPr id="3" name="Content Placeholder 2"/>
          <p:cNvSpPr>
            <a:spLocks noGrp="1"/>
          </p:cNvSpPr>
          <p:nvPr>
            <p:ph sz="quarter" idx="14"/>
          </p:nvPr>
        </p:nvSpPr>
        <p:spPr>
          <a:xfrm>
            <a:off x="205371" y="1426516"/>
            <a:ext cx="8497419" cy="5268586"/>
          </a:xfrm>
        </p:spPr>
        <p:txBody>
          <a:bodyPr/>
          <a:lstStyle/>
          <a:p>
            <a:r>
              <a:rPr lang="en-US" b="1" dirty="0"/>
              <a:t>Governance</a:t>
            </a:r>
          </a:p>
          <a:p>
            <a:pPr marL="285750" indent="-285750">
              <a:lnSpc>
                <a:spcPts val="1700"/>
              </a:lnSpc>
              <a:buFont typeface="Arial"/>
              <a:buChar char="•"/>
            </a:pPr>
            <a:r>
              <a:rPr lang="en-US" dirty="0"/>
              <a:t>The supervisory board was strengthened with the appointment of five new directors with a broad range of diverse skills (AGM – April 2018)</a:t>
            </a:r>
          </a:p>
          <a:p>
            <a:pPr marL="285750" indent="-285750">
              <a:lnSpc>
                <a:spcPts val="1700"/>
              </a:lnSpc>
              <a:buFont typeface="Arial"/>
              <a:buChar char="•"/>
            </a:pPr>
            <a:r>
              <a:rPr lang="en-US" dirty="0"/>
              <a:t>Recent nomination of Paul Copley for appointment as independent supervisory director</a:t>
            </a:r>
          </a:p>
          <a:p>
            <a:pPr marL="285750" indent="-285750">
              <a:lnSpc>
                <a:spcPts val="1700"/>
              </a:lnSpc>
              <a:buFont typeface="Arial"/>
              <a:buChar char="•"/>
            </a:pPr>
            <a:r>
              <a:rPr lang="en-US" dirty="0" smtClean="0"/>
              <a:t>The </a:t>
            </a:r>
            <a:r>
              <a:rPr lang="en-US" dirty="0"/>
              <a:t>board’s sub-committees were reviewed and reconstituted</a:t>
            </a:r>
          </a:p>
          <a:p>
            <a:pPr marL="285750" indent="-285750">
              <a:lnSpc>
                <a:spcPts val="1700"/>
              </a:lnSpc>
              <a:buFont typeface="Arial"/>
              <a:buChar char="•"/>
            </a:pPr>
            <a:r>
              <a:rPr lang="en-US" dirty="0"/>
              <a:t>The management board was confirmed at the AGM with the appointment of four new members</a:t>
            </a:r>
          </a:p>
          <a:p>
            <a:pPr marL="285750" indent="-285750">
              <a:lnSpc>
                <a:spcPts val="1700"/>
              </a:lnSpc>
              <a:buFont typeface="Arial"/>
              <a:buChar char="•"/>
            </a:pPr>
            <a:r>
              <a:rPr lang="en-US" dirty="0"/>
              <a:t>The leadership team was strengthened with the appointment of an internationally experienced chief restructuring officer</a:t>
            </a:r>
          </a:p>
          <a:p>
            <a:pPr marL="285750" indent="-285750">
              <a:lnSpc>
                <a:spcPts val="1700"/>
              </a:lnSpc>
              <a:buFont typeface="Arial"/>
              <a:buChar char="•"/>
            </a:pPr>
            <a:r>
              <a:rPr lang="en-US" dirty="0"/>
              <a:t>The boards, management and staff have been working around the clock to keep the businesses </a:t>
            </a:r>
            <a:r>
              <a:rPr lang="en-US" dirty="0" smtClean="0"/>
              <a:t>running</a:t>
            </a:r>
          </a:p>
          <a:p>
            <a:pPr>
              <a:lnSpc>
                <a:spcPts val="1700"/>
              </a:lnSpc>
            </a:pPr>
            <a:endParaRPr lang="en-US" dirty="0"/>
          </a:p>
          <a:p>
            <a:r>
              <a:rPr lang="en-US" b="1" dirty="0"/>
              <a:t>Financial reporting</a:t>
            </a:r>
          </a:p>
          <a:p>
            <a:pPr marL="285750" indent="-285750">
              <a:lnSpc>
                <a:spcPts val="1700"/>
              </a:lnSpc>
              <a:buFont typeface="Arial"/>
              <a:buChar char="•"/>
            </a:pPr>
            <a:r>
              <a:rPr lang="en-US" dirty="0"/>
              <a:t>Detailed unaudited half-year results, including restated comparatives, were released in late June</a:t>
            </a:r>
          </a:p>
          <a:p>
            <a:pPr marL="285750" indent="-285750">
              <a:lnSpc>
                <a:spcPts val="1700"/>
              </a:lnSpc>
              <a:buFont typeface="Arial"/>
              <a:buChar char="•"/>
            </a:pPr>
            <a:r>
              <a:rPr lang="en-US" dirty="0"/>
              <a:t>The group is working with Deloitte to finalise the audited 2017 consolidated financial statements before the end of December 2018</a:t>
            </a:r>
          </a:p>
          <a:p>
            <a:pPr marL="285750" indent="-285750">
              <a:lnSpc>
                <a:spcPts val="1700"/>
              </a:lnSpc>
              <a:buFont typeface="Arial"/>
              <a:buChar char="•"/>
            </a:pPr>
            <a:r>
              <a:rPr lang="en-US" dirty="0"/>
              <a:t>The group is also committed to releasing the audited 2018 consolidated financial statements </a:t>
            </a:r>
            <a:br>
              <a:rPr lang="en-US" dirty="0"/>
            </a:br>
            <a:r>
              <a:rPr lang="en-US" dirty="0"/>
              <a:t>before the end of January 2019</a:t>
            </a:r>
          </a:p>
        </p:txBody>
      </p:sp>
      <p:sp>
        <p:nvSpPr>
          <p:cNvPr id="4" name="Title 3"/>
          <p:cNvSpPr>
            <a:spLocks noGrp="1"/>
          </p:cNvSpPr>
          <p:nvPr>
            <p:ph type="title"/>
          </p:nvPr>
        </p:nvSpPr>
        <p:spPr/>
        <p:txBody>
          <a:bodyPr>
            <a:normAutofit/>
          </a:bodyPr>
          <a:lstStyle/>
          <a:p>
            <a:r>
              <a:rPr lang="en-US" dirty="0">
                <a:solidFill>
                  <a:prstClr val="black"/>
                </a:solidFill>
              </a:rPr>
              <a:t>Progress since January 2018 (continued)</a:t>
            </a:r>
            <a:endParaRPr lang="en-US" dirty="0"/>
          </a:p>
        </p:txBody>
      </p:sp>
    </p:spTree>
    <p:extLst>
      <p:ext uri="{BB962C8B-B14F-4D97-AF65-F5344CB8AC3E}">
        <p14:creationId xmlns:p14="http://schemas.microsoft.com/office/powerpoint/2010/main" xmlns="" val="18084880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B9F6E38-0256-4C4B-981B-FAA90C720E3E}" type="slidenum">
              <a:rPr lang="en-US" smtClean="0"/>
              <a:pPr/>
              <a:t>8</a:t>
            </a:fld>
            <a:endParaRPr lang="en-US" dirty="0"/>
          </a:p>
        </p:txBody>
      </p:sp>
      <p:sp>
        <p:nvSpPr>
          <p:cNvPr id="3" name="Content Placeholder 2"/>
          <p:cNvSpPr>
            <a:spLocks noGrp="1"/>
          </p:cNvSpPr>
          <p:nvPr>
            <p:ph sz="quarter" idx="14"/>
          </p:nvPr>
        </p:nvSpPr>
        <p:spPr>
          <a:xfrm>
            <a:off x="205371" y="1426516"/>
            <a:ext cx="8497419" cy="4929840"/>
          </a:xfrm>
        </p:spPr>
        <p:txBody>
          <a:bodyPr/>
          <a:lstStyle/>
          <a:p>
            <a:pPr indent="-211010"/>
            <a:r>
              <a:rPr lang="en-US" b="1" dirty="0"/>
              <a:t>Lenders</a:t>
            </a:r>
            <a:endParaRPr lang="en-US" dirty="0"/>
          </a:p>
          <a:p>
            <a:pPr marL="285750" indent="-285750">
              <a:lnSpc>
                <a:spcPts val="1700"/>
              </a:lnSpc>
              <a:buFont typeface="Arial"/>
              <a:buChar char="•"/>
            </a:pPr>
            <a:r>
              <a:rPr lang="en-US" dirty="0"/>
              <a:t>Steinhoff has successfully repaid €2 billion of South African </a:t>
            </a:r>
            <a:r>
              <a:rPr lang="en-US" dirty="0" smtClean="0"/>
              <a:t>holding company debt</a:t>
            </a:r>
            <a:endParaRPr lang="en-US" dirty="0"/>
          </a:p>
          <a:p>
            <a:pPr marL="285750" indent="-285750">
              <a:lnSpc>
                <a:spcPts val="1700"/>
              </a:lnSpc>
              <a:buFont typeface="Arial"/>
              <a:buChar char="•"/>
            </a:pPr>
            <a:r>
              <a:rPr lang="en-US" dirty="0"/>
              <a:t>Save for Pepkor (previously STAR) debt and working capital, the group </a:t>
            </a:r>
            <a:r>
              <a:rPr lang="en-US" dirty="0" smtClean="0"/>
              <a:t>has very </a:t>
            </a:r>
            <a:r>
              <a:rPr lang="en-US" dirty="0"/>
              <a:t>limited African debt</a:t>
            </a:r>
          </a:p>
          <a:p>
            <a:pPr marL="285750" indent="-285750">
              <a:lnSpc>
                <a:spcPts val="1700"/>
              </a:lnSpc>
              <a:buFont typeface="Arial"/>
              <a:buChar char="•"/>
            </a:pPr>
            <a:r>
              <a:rPr lang="en-US" dirty="0"/>
              <a:t>There has been constant interaction with the international debt holders and w</a:t>
            </a:r>
            <a:r>
              <a:rPr lang="en-ZA" dirty="0"/>
              <a:t>e have received good support from the various lender groups</a:t>
            </a:r>
          </a:p>
          <a:p>
            <a:pPr marL="285750" indent="-285750">
              <a:lnSpc>
                <a:spcPts val="1700"/>
              </a:lnSpc>
              <a:buFont typeface="Arial"/>
              <a:buChar char="•"/>
            </a:pPr>
            <a:r>
              <a:rPr lang="en-US" dirty="0"/>
              <a:t>A lock-up agreement with creditors, including a standstill, was finalised in </a:t>
            </a:r>
            <a:r>
              <a:rPr lang="en-US" dirty="0" smtClean="0"/>
              <a:t>mid July </a:t>
            </a:r>
            <a:r>
              <a:rPr lang="en-US" dirty="0"/>
              <a:t>2018, and this </a:t>
            </a:r>
            <a:br>
              <a:rPr lang="en-US" dirty="0"/>
            </a:br>
            <a:r>
              <a:rPr lang="en-US" dirty="0"/>
              <a:t>is providing time for the g</a:t>
            </a:r>
            <a:r>
              <a:rPr lang="en-US" dirty="0" smtClean="0"/>
              <a:t>roup </a:t>
            </a:r>
            <a:r>
              <a:rPr lang="en-US" dirty="0"/>
              <a:t>to implement a debt restructure supported by a very high percentage of debt holders/lenders</a:t>
            </a:r>
          </a:p>
          <a:p>
            <a:pPr marL="285750" indent="-285750">
              <a:lnSpc>
                <a:spcPts val="1700"/>
              </a:lnSpc>
              <a:buFont typeface="Arial"/>
              <a:buChar char="•"/>
            </a:pPr>
            <a:r>
              <a:rPr lang="en-US" dirty="0"/>
              <a:t>The debt restructure </a:t>
            </a:r>
            <a:r>
              <a:rPr lang="en-US" dirty="0" smtClean="0"/>
              <a:t>will afford </a:t>
            </a:r>
            <a:r>
              <a:rPr lang="en-US" dirty="0"/>
              <a:t>the group financial stability until the end of 2021</a:t>
            </a:r>
          </a:p>
          <a:p>
            <a:endParaRPr lang="en-US" dirty="0"/>
          </a:p>
          <a:p>
            <a:r>
              <a:rPr lang="en-US" b="1" dirty="0"/>
              <a:t>Regulators</a:t>
            </a:r>
          </a:p>
          <a:p>
            <a:pPr marL="285750" indent="-285750">
              <a:lnSpc>
                <a:spcPts val="1700"/>
              </a:lnSpc>
              <a:buFont typeface="Arial"/>
              <a:buChar char="•"/>
            </a:pPr>
            <a:r>
              <a:rPr lang="en-US" dirty="0"/>
              <a:t>Steinhoff has had regular engagement and is cooperating fully with its various regulators in all relevant jurisdictions, and will continue to do so</a:t>
            </a:r>
          </a:p>
          <a:p>
            <a:pPr marL="285750" indent="-285750">
              <a:lnSpc>
                <a:spcPts val="1700"/>
              </a:lnSpc>
              <a:buFont typeface="Arial"/>
              <a:buChar char="•"/>
            </a:pPr>
            <a:r>
              <a:rPr lang="en-US" dirty="0"/>
              <a:t>The group’s ordinary shares continue to trade on the FSE and the JSE</a:t>
            </a:r>
          </a:p>
          <a:p>
            <a:pPr marL="285750" indent="-285750">
              <a:lnSpc>
                <a:spcPts val="1700"/>
              </a:lnSpc>
              <a:buFont typeface="Arial"/>
              <a:buChar char="•"/>
            </a:pPr>
            <a:endParaRPr lang="en-US" dirty="0"/>
          </a:p>
          <a:p>
            <a:pPr marL="285750" indent="-285750">
              <a:buFont typeface="Arial"/>
              <a:buChar char="•"/>
            </a:pPr>
            <a:endParaRPr lang="en-ZA" dirty="0"/>
          </a:p>
          <a:p>
            <a:pPr marL="285750" indent="-285750">
              <a:buFont typeface="Arial"/>
              <a:buChar char="•"/>
            </a:pPr>
            <a:endParaRPr lang="en-US" dirty="0"/>
          </a:p>
          <a:p>
            <a:endParaRPr lang="en-US" dirty="0"/>
          </a:p>
        </p:txBody>
      </p:sp>
      <p:sp>
        <p:nvSpPr>
          <p:cNvPr id="4" name="Title 3"/>
          <p:cNvSpPr>
            <a:spLocks noGrp="1"/>
          </p:cNvSpPr>
          <p:nvPr>
            <p:ph type="title"/>
          </p:nvPr>
        </p:nvSpPr>
        <p:spPr/>
        <p:txBody>
          <a:bodyPr>
            <a:normAutofit/>
          </a:bodyPr>
          <a:lstStyle/>
          <a:p>
            <a:r>
              <a:rPr lang="en-US" dirty="0">
                <a:solidFill>
                  <a:prstClr val="black"/>
                </a:solidFill>
              </a:rPr>
              <a:t>Progress since January 2018 (continued)</a:t>
            </a:r>
            <a:endParaRPr lang="en-US" dirty="0"/>
          </a:p>
        </p:txBody>
      </p:sp>
    </p:spTree>
    <p:extLst>
      <p:ext uri="{BB962C8B-B14F-4D97-AF65-F5344CB8AC3E}">
        <p14:creationId xmlns:p14="http://schemas.microsoft.com/office/powerpoint/2010/main" xmlns="" val="26965266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B9F6E38-0256-4C4B-981B-FAA90C720E3E}" type="slidenum">
              <a:rPr lang="en-US" smtClean="0"/>
              <a:pPr/>
              <a:t>9</a:t>
            </a:fld>
            <a:endParaRPr lang="en-US" dirty="0"/>
          </a:p>
        </p:txBody>
      </p:sp>
      <p:sp>
        <p:nvSpPr>
          <p:cNvPr id="3" name="Content Placeholder 2"/>
          <p:cNvSpPr>
            <a:spLocks noGrp="1"/>
          </p:cNvSpPr>
          <p:nvPr>
            <p:ph sz="quarter" idx="14"/>
          </p:nvPr>
        </p:nvSpPr>
        <p:spPr>
          <a:xfrm>
            <a:off x="205372" y="1433550"/>
            <a:ext cx="8639366" cy="5294965"/>
          </a:xfrm>
        </p:spPr>
        <p:txBody>
          <a:bodyPr>
            <a:normAutofit/>
          </a:bodyPr>
          <a:lstStyle/>
          <a:p>
            <a:r>
              <a:rPr lang="en-US" b="1" dirty="0"/>
              <a:t>History</a:t>
            </a:r>
          </a:p>
          <a:p>
            <a:pPr marL="285750" indent="-285750">
              <a:lnSpc>
                <a:spcPts val="1700"/>
              </a:lnSpc>
              <a:buFont typeface="Arial"/>
              <a:buChar char="•"/>
            </a:pPr>
            <a:r>
              <a:rPr lang="en-ZA" dirty="0"/>
              <a:t>Steinhoff was founded in Germany in 1964 by Bruno Steinhoff. He introduced the Steinhoff business to South Africa in 1997 and Steinhoff International listed on the Johannesburg Stock Exchange in 1998</a:t>
            </a:r>
          </a:p>
          <a:p>
            <a:pPr marL="285750" indent="-285750">
              <a:lnSpc>
                <a:spcPts val="1700"/>
              </a:lnSpc>
              <a:buFont typeface="Arial"/>
              <a:buChar char="•"/>
            </a:pPr>
            <a:r>
              <a:rPr lang="en-ZA" dirty="0"/>
              <a:t>In the years that followed, Steinhoff became a global group </a:t>
            </a:r>
            <a:r>
              <a:rPr lang="en-ZA" dirty="0" smtClean="0"/>
              <a:t>in </a:t>
            </a:r>
            <a:r>
              <a:rPr lang="en-ZA" dirty="0"/>
              <a:t>approximately 12 000 retail outlets in 30 countries</a:t>
            </a:r>
          </a:p>
          <a:p>
            <a:pPr marL="285750" indent="-285750">
              <a:lnSpc>
                <a:spcPts val="1700"/>
              </a:lnSpc>
              <a:buFont typeface="Arial"/>
              <a:buChar char="•"/>
            </a:pPr>
            <a:r>
              <a:rPr lang="en-US" dirty="0"/>
              <a:t>Steinhoff listed on the Frankfurt Stock Exchange in 2015</a:t>
            </a:r>
            <a:endParaRPr lang="en-ZA" dirty="0"/>
          </a:p>
          <a:p>
            <a:endParaRPr lang="en-ZA" b="1" dirty="0"/>
          </a:p>
          <a:p>
            <a:r>
              <a:rPr lang="en-ZA" b="1" dirty="0"/>
              <a:t>International company</a:t>
            </a:r>
          </a:p>
          <a:p>
            <a:pPr marL="285750" indent="-285750">
              <a:lnSpc>
                <a:spcPts val="1700"/>
              </a:lnSpc>
              <a:buFont typeface="Arial"/>
              <a:buChar char="•"/>
            </a:pPr>
            <a:r>
              <a:rPr lang="en-ZA" dirty="0"/>
              <a:t>Steinhoff International Holdings N.V., the ultimate parent company of the group, is a Dutch company, registered in the Netherlands. It is governed by a supervisory board and managed by a management board, in each case appointed by shareholders under Dutch law</a:t>
            </a:r>
          </a:p>
          <a:p>
            <a:pPr marL="285750" indent="-285750">
              <a:lnSpc>
                <a:spcPts val="1700"/>
              </a:lnSpc>
              <a:buFont typeface="Arial"/>
              <a:buChar char="•"/>
            </a:pPr>
            <a:r>
              <a:rPr lang="en-ZA" dirty="0"/>
              <a:t>Steinhoff’s primary listing is in Frankfurt, Germany</a:t>
            </a:r>
          </a:p>
          <a:p>
            <a:pPr marL="285750" indent="-285750">
              <a:lnSpc>
                <a:spcPts val="1700"/>
              </a:lnSpc>
              <a:buFont typeface="Arial"/>
              <a:buChar char="•"/>
            </a:pPr>
            <a:r>
              <a:rPr lang="en-ZA" dirty="0"/>
              <a:t>Steinhoff’s secondary listing is on the Johannesburg Stock Exchange</a:t>
            </a:r>
          </a:p>
          <a:p>
            <a:endParaRPr lang="en-ZA" b="1" dirty="0"/>
          </a:p>
          <a:p>
            <a:r>
              <a:rPr lang="en-ZA" b="1" dirty="0"/>
              <a:t>Steinhoff Investment Holdings</a:t>
            </a:r>
          </a:p>
          <a:p>
            <a:pPr marL="285750" indent="-285750">
              <a:lnSpc>
                <a:spcPts val="1700"/>
              </a:lnSpc>
              <a:buFont typeface="Arial"/>
              <a:buChar char="•"/>
            </a:pPr>
            <a:r>
              <a:rPr lang="en-ZA" dirty="0"/>
              <a:t>Steinhoff Investment Holdings is a South African company</a:t>
            </a:r>
          </a:p>
          <a:p>
            <a:pPr marL="285750" indent="-285750">
              <a:lnSpc>
                <a:spcPts val="1700"/>
              </a:lnSpc>
              <a:buFont typeface="Arial"/>
              <a:buChar char="•"/>
            </a:pPr>
            <a:r>
              <a:rPr lang="en-ZA" dirty="0"/>
              <a:t>It has issued perpetual preference shares that are listed (currently suspended) on the JSE</a:t>
            </a:r>
          </a:p>
        </p:txBody>
      </p:sp>
      <p:sp>
        <p:nvSpPr>
          <p:cNvPr id="4" name="Title 3"/>
          <p:cNvSpPr>
            <a:spLocks noGrp="1"/>
          </p:cNvSpPr>
          <p:nvPr>
            <p:ph type="title"/>
          </p:nvPr>
        </p:nvSpPr>
        <p:spPr/>
        <p:txBody>
          <a:bodyPr/>
          <a:lstStyle/>
          <a:p>
            <a:r>
              <a:rPr lang="en-US" dirty="0"/>
              <a:t>Reminder of Steinhoff the company</a:t>
            </a:r>
          </a:p>
        </p:txBody>
      </p:sp>
    </p:spTree>
    <p:extLst>
      <p:ext uri="{BB962C8B-B14F-4D97-AF65-F5344CB8AC3E}">
        <p14:creationId xmlns:p14="http://schemas.microsoft.com/office/powerpoint/2010/main" xmlns="" val="31347895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MS_TEMPLATE_ID" val=""/>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82.xml><?xml version="1.0" encoding="utf-8"?>
<p:tagLst xmlns:a="http://schemas.openxmlformats.org/drawingml/2006/main" xmlns:r="http://schemas.openxmlformats.org/officeDocument/2006/relationships" xmlns:p="http://schemas.openxmlformats.org/presentationml/2006/main">
  <p:tag name="DEFAULTTOP" val="141.3246"/>
  <p:tag name="DEFAULTLEFT" val="38.25"/>
  <p:tag name="DEFAULTHEIGHT" val="423.2061"/>
  <p:tag name="DEFAULTWIDTH" val="510.7736"/>
</p:tagLst>
</file>

<file path=ppt/tags/tag383.xml><?xml version="1.0" encoding="utf-8"?>
<p:tagLst xmlns:a="http://schemas.openxmlformats.org/drawingml/2006/main" xmlns:r="http://schemas.openxmlformats.org/officeDocument/2006/relationships" xmlns:p="http://schemas.openxmlformats.org/presentationml/2006/main">
  <p:tag name="DEFAULTTOP" val="141.3246"/>
  <p:tag name="DEFAULTLEFT" val="38.25"/>
  <p:tag name="DEFAULTHEIGHT" val="423.2061"/>
  <p:tag name="DEFAULTWIDTH" val="510.7736"/>
</p:tagLst>
</file>

<file path=ppt/tags/tag384.xml><?xml version="1.0" encoding="utf-8"?>
<p:tagLst xmlns:a="http://schemas.openxmlformats.org/drawingml/2006/main" xmlns:r="http://schemas.openxmlformats.org/officeDocument/2006/relationships" xmlns:p="http://schemas.openxmlformats.org/presentationml/2006/main">
  <p:tag name="DEFAULTTOP" val="141.3246"/>
  <p:tag name="DEFAULTLEFT" val="38.25"/>
  <p:tag name="DEFAULTHEIGHT" val="423.2061"/>
  <p:tag name="DEFAULTWIDTH" val="510.7736"/>
</p:tagLst>
</file>

<file path=ppt/tags/tag385.xml><?xml version="1.0" encoding="utf-8"?>
<p:tagLst xmlns:a="http://schemas.openxmlformats.org/drawingml/2006/main" xmlns:r="http://schemas.openxmlformats.org/officeDocument/2006/relationships" xmlns:p="http://schemas.openxmlformats.org/presentationml/2006/main">
  <p:tag name="DEFAULTTOP" val="141.3246"/>
  <p:tag name="DEFAULTLEFT" val="38.25"/>
  <p:tag name="DEFAULTHEIGHT" val="423.2061"/>
  <p:tag name="DEFAULTWIDTH" val="510.7736"/>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theme1.xml><?xml version="1.0" encoding="utf-8"?>
<a:theme xmlns:a="http://schemas.openxmlformats.org/drawingml/2006/main" name="Office Theme">
  <a:themeElements>
    <a:clrScheme name="Steinhoff">
      <a:dk1>
        <a:srgbClr val="313231"/>
      </a:dk1>
      <a:lt1>
        <a:srgbClr val="FFFFFF"/>
      </a:lt1>
      <a:dk2>
        <a:srgbClr val="72002A"/>
      </a:dk2>
      <a:lt2>
        <a:srgbClr val="AB0045"/>
      </a:lt2>
      <a:accent1>
        <a:srgbClr val="FED51E"/>
      </a:accent1>
      <a:accent2>
        <a:srgbClr val="CC006A"/>
      </a:accent2>
      <a:accent3>
        <a:srgbClr val="CD0920"/>
      </a:accent3>
      <a:accent4>
        <a:srgbClr val="8A8B8A"/>
      </a:accent4>
      <a:accent5>
        <a:srgbClr val="94A423"/>
      </a:accent5>
      <a:accent6>
        <a:srgbClr val="D3CF88"/>
      </a:accent6>
      <a:hlink>
        <a:srgbClr val="009192"/>
      </a:hlink>
      <a:folHlink>
        <a:srgbClr val="0096FF"/>
      </a:folHlink>
    </a:clrScheme>
    <a:fontScheme name="Century Gothic">
      <a:majorFont>
        <a:latin typeface="Century Gothic"/>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ce</Template>
  <TotalTime>8258</TotalTime>
  <Words>1537</Words>
  <Application>Microsoft Office PowerPoint</Application>
  <PresentationFormat>On-screen Show (4:3)</PresentationFormat>
  <Paragraphs>271</Paragraphs>
  <Slides>18</Slides>
  <Notes>1</Notes>
  <HiddenSlides>0</HiddenSlides>
  <MMClips>0</MMClips>
  <ScaleCrop>false</ScaleCrop>
  <HeadingPairs>
    <vt:vector size="4" baseType="variant">
      <vt:variant>
        <vt:lpstr>Theme</vt:lpstr>
      </vt:variant>
      <vt:variant>
        <vt:i4>1</vt:i4>
      </vt:variant>
      <vt:variant>
        <vt:lpstr>Slide Titles</vt:lpstr>
      </vt:variant>
      <vt:variant>
        <vt:i4>18</vt:i4>
      </vt:variant>
    </vt:vector>
  </HeadingPairs>
  <TitlesOfParts>
    <vt:vector size="19" baseType="lpstr">
      <vt:lpstr>Office Theme</vt:lpstr>
      <vt:lpstr>Slide 1</vt:lpstr>
      <vt:lpstr>Content</vt:lpstr>
      <vt:lpstr>The Steinhoff delegation here today</vt:lpstr>
      <vt:lpstr>Reminder of our commitment</vt:lpstr>
      <vt:lpstr>Where we were in January 2018</vt:lpstr>
      <vt:lpstr>Progress since January 2018</vt:lpstr>
      <vt:lpstr>Progress since January 2018 (continued)</vt:lpstr>
      <vt:lpstr>Progress since January 2018 (continued)</vt:lpstr>
      <vt:lpstr>Reminder of Steinhoff the company</vt:lpstr>
      <vt:lpstr>Group overview (summarised)</vt:lpstr>
      <vt:lpstr>Group overview* (summarised)</vt:lpstr>
      <vt:lpstr>Half-year results</vt:lpstr>
      <vt:lpstr>Restructuring framework</vt:lpstr>
      <vt:lpstr>Restructuring framework (continued)</vt:lpstr>
      <vt:lpstr>Slide 15</vt:lpstr>
      <vt:lpstr>Slide 16</vt:lpstr>
      <vt:lpstr>Conclusion</vt:lpstr>
      <vt:lpstr>Conclusion (continued)</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rin Henriques</dc:creator>
  <cp:lastModifiedBy>PUMZA</cp:lastModifiedBy>
  <cp:revision>413</cp:revision>
  <cp:lastPrinted>2018-08-28T15:12:47Z</cp:lastPrinted>
  <dcterms:created xsi:type="dcterms:W3CDTF">2016-02-05T05:31:21Z</dcterms:created>
  <dcterms:modified xsi:type="dcterms:W3CDTF">2018-08-31T11:08: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ient Code">
    <vt:lpwstr>10627597</vt:lpwstr>
  </property>
  <property fmtid="{D5CDD505-2E9C-101B-9397-08002B2CF9AE}" pid="3" name="DEDocumentLocation">
    <vt:lpwstr>C:\Users\jgrabine\AppData\Local\Linklaters\DocExplorer\Attachments\SHF Parliament Aug 2018 draft (3) 060818_LL comments_060818.pptx</vt:lpwstr>
  </property>
  <property fmtid="{D5CDD505-2E9C-101B-9397-08002B2CF9AE}" pid="4" name="Document Number">
    <vt:lpwstr>A37077664</vt:lpwstr>
  </property>
  <property fmtid="{D5CDD505-2E9C-101B-9397-08002B2CF9AE}" pid="5" name="Last Modified">
    <vt:lpwstr>08 Aug 2018</vt:lpwstr>
  </property>
  <property fmtid="{D5CDD505-2E9C-101B-9397-08002B2CF9AE}" pid="6" name="Matter Number">
    <vt:lpwstr>L-268276</vt:lpwstr>
  </property>
  <property fmtid="{D5CDD505-2E9C-101B-9397-08002B2CF9AE}" pid="7" name="Mode">
    <vt:lpwstr>SendAs</vt:lpwstr>
  </property>
  <property fmtid="{D5CDD505-2E9C-101B-9397-08002B2CF9AE}" pid="8" name="Version">
    <vt:lpwstr>0.5</vt:lpwstr>
  </property>
  <property fmtid="{D5CDD505-2E9C-101B-9397-08002B2CF9AE}" pid="9" name="ObjectID">
    <vt:lpwstr>09001dc89215f40d</vt:lpwstr>
  </property>
</Properties>
</file>